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heme/themeOverride1.xml" ContentType="application/vnd.openxmlformats-officedocument.themeOverride+xml"/>
  <Override PartName="/ppt/theme/theme4.xml" ContentType="application/vnd.openxmlformats-officedocument.theme+xml"/>
  <Override PartName="/ppt/theme/theme5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79" r:id="rId5"/>
    <p:sldMasterId id="2147483702" r:id="rId6"/>
  </p:sldMasterIdLst>
  <p:notesMasterIdLst>
    <p:notesMasterId r:id="rId38"/>
  </p:notesMasterIdLst>
  <p:handoutMasterIdLst>
    <p:handoutMasterId r:id="rId39"/>
  </p:handoutMasterIdLst>
  <p:sldIdLst>
    <p:sldId id="316" r:id="rId7"/>
    <p:sldId id="317" r:id="rId8"/>
    <p:sldId id="2134804701" r:id="rId9"/>
    <p:sldId id="2134804698" r:id="rId10"/>
    <p:sldId id="2134804689" r:id="rId11"/>
    <p:sldId id="2134804565" r:id="rId12"/>
    <p:sldId id="2134804599" r:id="rId13"/>
    <p:sldId id="2134804507" r:id="rId14"/>
    <p:sldId id="330" r:id="rId15"/>
    <p:sldId id="2134804688" r:id="rId16"/>
    <p:sldId id="261" r:id="rId17"/>
    <p:sldId id="2134804607" r:id="rId18"/>
    <p:sldId id="2134804690" r:id="rId19"/>
    <p:sldId id="319" r:id="rId20"/>
    <p:sldId id="2134804608" r:id="rId21"/>
    <p:sldId id="2134804609" r:id="rId22"/>
    <p:sldId id="315" r:id="rId23"/>
    <p:sldId id="2134804603" r:id="rId24"/>
    <p:sldId id="2134804604" r:id="rId25"/>
    <p:sldId id="2134804692" r:id="rId26"/>
    <p:sldId id="2134804605" r:id="rId27"/>
    <p:sldId id="2134804614" r:id="rId28"/>
    <p:sldId id="2134804610" r:id="rId29"/>
    <p:sldId id="2134804611" r:id="rId30"/>
    <p:sldId id="2134804695" r:id="rId31"/>
    <p:sldId id="2134804612" r:id="rId32"/>
    <p:sldId id="2134804613" r:id="rId33"/>
    <p:sldId id="2134804602" r:id="rId34"/>
    <p:sldId id="2134804691" r:id="rId35"/>
    <p:sldId id="2134804600" r:id="rId36"/>
    <p:sldId id="2134804601" r:id="rId37"/>
  </p:sldIdLst>
  <p:sldSz cx="12192000" cy="6858000"/>
  <p:notesSz cx="6858000" cy="9144000"/>
  <p:custDataLst>
    <p:tags r:id="rId4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a Paula De Almeida Aranha" initials="APDAA" lastIdx="1" clrIdx="0">
    <p:extLst>
      <p:ext uri="{19B8F6BF-5375-455C-9EA6-DF929625EA0E}">
        <p15:presenceInfo xmlns:p15="http://schemas.microsoft.com/office/powerpoint/2012/main" userId="S::ana.paula@cepi.net::6fb46378-b617-46b5-b041-effc0c6cb90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F4F6"/>
    <a:srgbClr val="001D44"/>
    <a:srgbClr val="00244F"/>
    <a:srgbClr val="BBC5D2"/>
    <a:srgbClr val="FF5F58"/>
    <a:srgbClr val="E8585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0" d="100"/>
          <a:sy n="80" d="100"/>
        </p:scale>
        <p:origin x="354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presProps" Target="presProps.xml"/><Relationship Id="rId47" Type="http://schemas.microsoft.com/office/2016/11/relationships/changesInfo" Target="changesInfos/changesInfo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tags" Target="tags/tag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alentina Bernasconi" userId="acfadff8-565c-406d-83c9-b8a23dc799e4" providerId="ADAL" clId="{68020125-31BC-4BF7-82B4-D552AE8BA9CA}"/>
    <pc:docChg chg="delSld modSld">
      <pc:chgData name="Valentina Bernasconi" userId="acfadff8-565c-406d-83c9-b8a23dc799e4" providerId="ADAL" clId="{68020125-31BC-4BF7-82B4-D552AE8BA9CA}" dt="2021-12-06T13:24:21.712" v="1"/>
      <pc:docMkLst>
        <pc:docMk/>
      </pc:docMkLst>
      <pc:sldChg chg="del">
        <pc:chgData name="Valentina Bernasconi" userId="acfadff8-565c-406d-83c9-b8a23dc799e4" providerId="ADAL" clId="{68020125-31BC-4BF7-82B4-D552AE8BA9CA}" dt="2021-12-06T13:24:09.715" v="0" actId="47"/>
        <pc:sldMkLst>
          <pc:docMk/>
          <pc:sldMk cId="4124643300" sldId="2134804697"/>
        </pc:sldMkLst>
      </pc:sldChg>
      <pc:sldChg chg="addSp modSp">
        <pc:chgData name="Valentina Bernasconi" userId="acfadff8-565c-406d-83c9-b8a23dc799e4" providerId="ADAL" clId="{68020125-31BC-4BF7-82B4-D552AE8BA9CA}" dt="2021-12-06T13:24:21.712" v="1"/>
        <pc:sldMkLst>
          <pc:docMk/>
          <pc:sldMk cId="986754999" sldId="2134804698"/>
        </pc:sldMkLst>
        <pc:graphicFrameChg chg="add mod">
          <ac:chgData name="Valentina Bernasconi" userId="acfadff8-565c-406d-83c9-b8a23dc799e4" providerId="ADAL" clId="{68020125-31BC-4BF7-82B4-D552AE8BA9CA}" dt="2021-12-06T13:24:21.712" v="1"/>
          <ac:graphicFrameMkLst>
            <pc:docMk/>
            <pc:sldMk cId="986754999" sldId="2134804698"/>
            <ac:graphicFrameMk id="3" creationId="{B86DFC46-7827-442E-AC21-B93ED5C6106C}"/>
          </ac:graphicFrameMkLst>
        </pc:graphicFrameChg>
        <pc:picChg chg="add mod">
          <ac:chgData name="Valentina Bernasconi" userId="acfadff8-565c-406d-83c9-b8a23dc799e4" providerId="ADAL" clId="{68020125-31BC-4BF7-82B4-D552AE8BA9CA}" dt="2021-12-06T13:24:21.712" v="1"/>
          <ac:picMkLst>
            <pc:docMk/>
            <pc:sldMk cId="986754999" sldId="2134804698"/>
            <ac:picMk id="4" creationId="{39BA0841-E24B-44EA-8708-E92E08612877}"/>
          </ac:picMkLst>
        </pc:picChg>
      </pc:sldChg>
      <pc:sldChg chg="del">
        <pc:chgData name="Valentina Bernasconi" userId="acfadff8-565c-406d-83c9-b8a23dc799e4" providerId="ADAL" clId="{68020125-31BC-4BF7-82B4-D552AE8BA9CA}" dt="2021-12-06T13:24:09.715" v="0" actId="47"/>
        <pc:sldMkLst>
          <pc:docMk/>
          <pc:sldMk cId="2876677021" sldId="2134804700"/>
        </pc:sldMkLst>
      </pc:sldChg>
    </pc:docChg>
  </pc:docChgLst>
  <pc:docChgLst>
    <pc:chgData name="Ana Paula De Almeida Aranha" userId="6fb46378-b617-46b5-b041-effc0c6cb90f" providerId="ADAL" clId="{A349B4B7-3A37-492F-B18E-B938D73E34C8}"/>
    <pc:docChg chg="modSld">
      <pc:chgData name="Ana Paula De Almeida Aranha" userId="6fb46378-b617-46b5-b041-effc0c6cb90f" providerId="ADAL" clId="{A349B4B7-3A37-492F-B18E-B938D73E34C8}" dt="2021-12-01T09:43:19.666" v="7" actId="1076"/>
      <pc:docMkLst>
        <pc:docMk/>
      </pc:docMkLst>
      <pc:sldChg chg="addSp delSp modSp mod">
        <pc:chgData name="Ana Paula De Almeida Aranha" userId="6fb46378-b617-46b5-b041-effc0c6cb90f" providerId="ADAL" clId="{A349B4B7-3A37-492F-B18E-B938D73E34C8}" dt="2021-12-01T09:43:19.666" v="7" actId="1076"/>
        <pc:sldMkLst>
          <pc:docMk/>
          <pc:sldMk cId="2636342224" sldId="2134804691"/>
        </pc:sldMkLst>
        <pc:picChg chg="del">
          <ac:chgData name="Ana Paula De Almeida Aranha" userId="6fb46378-b617-46b5-b041-effc0c6cb90f" providerId="ADAL" clId="{A349B4B7-3A37-492F-B18E-B938D73E34C8}" dt="2021-12-01T09:43:00.289" v="0" actId="478"/>
          <ac:picMkLst>
            <pc:docMk/>
            <pc:sldMk cId="2636342224" sldId="2134804691"/>
            <ac:picMk id="4" creationId="{F753DC6C-59B5-4CDF-B62A-7D2040628488}"/>
          </ac:picMkLst>
        </pc:picChg>
        <pc:picChg chg="add mod">
          <ac:chgData name="Ana Paula De Almeida Aranha" userId="6fb46378-b617-46b5-b041-effc0c6cb90f" providerId="ADAL" clId="{A349B4B7-3A37-492F-B18E-B938D73E34C8}" dt="2021-12-01T09:43:19.666" v="7" actId="1076"/>
          <ac:picMkLst>
            <pc:docMk/>
            <pc:sldMk cId="2636342224" sldId="2134804691"/>
            <ac:picMk id="6" creationId="{0A720E79-564A-446E-B727-4AFC3C889F5C}"/>
          </ac:picMkLst>
        </pc:picChg>
      </pc:sldChg>
    </pc:docChg>
  </pc:docChgLst>
  <pc:docChgLst>
    <pc:chgData name="Valentina Bernasconi" userId="acfadff8-565c-406d-83c9-b8a23dc799e4" providerId="ADAL" clId="{79B8782D-6048-450E-B85A-CA6AD49BD930}"/>
    <pc:docChg chg="undo redo custSel addSld delSld modSld sldOrd delMainMaster">
      <pc:chgData name="Valentina Bernasconi" userId="acfadff8-565c-406d-83c9-b8a23dc799e4" providerId="ADAL" clId="{79B8782D-6048-450E-B85A-CA6AD49BD930}" dt="2021-12-06T13:20:49.478" v="3965" actId="113"/>
      <pc:docMkLst>
        <pc:docMk/>
      </pc:docMkLst>
      <pc:sldChg chg="modSp add mod">
        <pc:chgData name="Valentina Bernasconi" userId="acfadff8-565c-406d-83c9-b8a23dc799e4" providerId="ADAL" clId="{79B8782D-6048-450E-B85A-CA6AD49BD930}" dt="2021-11-03T08:41:20.675" v="920" actId="20577"/>
        <pc:sldMkLst>
          <pc:docMk/>
          <pc:sldMk cId="1788822962" sldId="261"/>
        </pc:sldMkLst>
        <pc:spChg chg="mod">
          <ac:chgData name="Valentina Bernasconi" userId="acfadff8-565c-406d-83c9-b8a23dc799e4" providerId="ADAL" clId="{79B8782D-6048-450E-B85A-CA6AD49BD930}" dt="2021-11-03T08:41:20.675" v="920" actId="20577"/>
          <ac:spMkLst>
            <pc:docMk/>
            <pc:sldMk cId="1788822962" sldId="261"/>
            <ac:spMk id="2" creationId="{00000000-0000-0000-0000-000000000000}"/>
          </ac:spMkLst>
        </pc:spChg>
      </pc:sldChg>
      <pc:sldChg chg="modSp del mod">
        <pc:chgData name="Valentina Bernasconi" userId="acfadff8-565c-406d-83c9-b8a23dc799e4" providerId="ADAL" clId="{79B8782D-6048-450E-B85A-CA6AD49BD930}" dt="2021-11-03T08:11:22.358" v="8" actId="47"/>
        <pc:sldMkLst>
          <pc:docMk/>
          <pc:sldMk cId="812072345" sldId="314"/>
        </pc:sldMkLst>
        <pc:spChg chg="mod">
          <ac:chgData name="Valentina Bernasconi" userId="acfadff8-565c-406d-83c9-b8a23dc799e4" providerId="ADAL" clId="{79B8782D-6048-450E-B85A-CA6AD49BD930}" dt="2021-11-03T08:11:05.950" v="3" actId="20577"/>
          <ac:spMkLst>
            <pc:docMk/>
            <pc:sldMk cId="812072345" sldId="314"/>
            <ac:spMk id="46" creationId="{63754E9E-1C6A-4536-8EB9-FF925CA9CB35}"/>
          </ac:spMkLst>
        </pc:spChg>
      </pc:sldChg>
      <pc:sldChg chg="del">
        <pc:chgData name="Valentina Bernasconi" userId="acfadff8-565c-406d-83c9-b8a23dc799e4" providerId="ADAL" clId="{79B8782D-6048-450E-B85A-CA6AD49BD930}" dt="2021-11-03T08:11:01.622" v="0" actId="47"/>
        <pc:sldMkLst>
          <pc:docMk/>
          <pc:sldMk cId="25908592" sldId="315"/>
        </pc:sldMkLst>
      </pc:sldChg>
      <pc:sldChg chg="addSp delSp modSp add mod ord">
        <pc:chgData name="Valentina Bernasconi" userId="acfadff8-565c-406d-83c9-b8a23dc799e4" providerId="ADAL" clId="{79B8782D-6048-450E-B85A-CA6AD49BD930}" dt="2021-11-30T16:31:16.233" v="3248" actId="20577"/>
        <pc:sldMkLst>
          <pc:docMk/>
          <pc:sldMk cId="303578846" sldId="315"/>
        </pc:sldMkLst>
        <pc:spChg chg="add mod">
          <ac:chgData name="Valentina Bernasconi" userId="acfadff8-565c-406d-83c9-b8a23dc799e4" providerId="ADAL" clId="{79B8782D-6048-450E-B85A-CA6AD49BD930}" dt="2021-11-17T10:18:29.711" v="2219" actId="6549"/>
          <ac:spMkLst>
            <pc:docMk/>
            <pc:sldMk cId="303578846" sldId="315"/>
            <ac:spMk id="19" creationId="{9AB5BD81-1261-475B-AC5A-EB68134F18E6}"/>
          </ac:spMkLst>
        </pc:spChg>
        <pc:spChg chg="add mod">
          <ac:chgData name="Valentina Bernasconi" userId="acfadff8-565c-406d-83c9-b8a23dc799e4" providerId="ADAL" clId="{79B8782D-6048-450E-B85A-CA6AD49BD930}" dt="2021-11-17T10:18:30.747" v="2221" actId="6549"/>
          <ac:spMkLst>
            <pc:docMk/>
            <pc:sldMk cId="303578846" sldId="315"/>
            <ac:spMk id="20" creationId="{90363380-90C2-43C0-8722-9F3E5577C3CE}"/>
          </ac:spMkLst>
        </pc:spChg>
        <pc:spChg chg="del">
          <ac:chgData name="Valentina Bernasconi" userId="acfadff8-565c-406d-83c9-b8a23dc799e4" providerId="ADAL" clId="{79B8782D-6048-450E-B85A-CA6AD49BD930}" dt="2021-11-03T08:57:41.084" v="1140" actId="478"/>
          <ac:spMkLst>
            <pc:docMk/>
            <pc:sldMk cId="303578846" sldId="315"/>
            <ac:spMk id="35" creationId="{E70A1D0B-75C8-49ED-B784-A611E9EDACB4}"/>
          </ac:spMkLst>
        </pc:spChg>
        <pc:spChg chg="del">
          <ac:chgData name="Valentina Bernasconi" userId="acfadff8-565c-406d-83c9-b8a23dc799e4" providerId="ADAL" clId="{79B8782D-6048-450E-B85A-CA6AD49BD930}" dt="2021-11-03T08:57:41.084" v="1140" actId="478"/>
          <ac:spMkLst>
            <pc:docMk/>
            <pc:sldMk cId="303578846" sldId="315"/>
            <ac:spMk id="36" creationId="{F1432BB2-B91F-4A75-BE3E-A4EA8242628E}"/>
          </ac:spMkLst>
        </pc:spChg>
        <pc:spChg chg="mod topLvl">
          <ac:chgData name="Valentina Bernasconi" userId="acfadff8-565c-406d-83c9-b8a23dc799e4" providerId="ADAL" clId="{79B8782D-6048-450E-B85A-CA6AD49BD930}" dt="2021-11-03T08:58:15.741" v="1161" actId="165"/>
          <ac:spMkLst>
            <pc:docMk/>
            <pc:sldMk cId="303578846" sldId="315"/>
            <ac:spMk id="38" creationId="{928D9D17-8C39-42CA-A9C0-FD149FEF0C7F}"/>
          </ac:spMkLst>
        </pc:spChg>
        <pc:spChg chg="add mod">
          <ac:chgData name="Valentina Bernasconi" userId="acfadff8-565c-406d-83c9-b8a23dc799e4" providerId="ADAL" clId="{79B8782D-6048-450E-B85A-CA6AD49BD930}" dt="2021-11-03T09:42:00.507" v="1276" actId="13822"/>
          <ac:spMkLst>
            <pc:docMk/>
            <pc:sldMk cId="303578846" sldId="315"/>
            <ac:spMk id="39" creationId="{0D7F8E1C-EF50-407A-93FE-92208461972F}"/>
          </ac:spMkLst>
        </pc:spChg>
        <pc:spChg chg="mod topLvl">
          <ac:chgData name="Valentina Bernasconi" userId="acfadff8-565c-406d-83c9-b8a23dc799e4" providerId="ADAL" clId="{79B8782D-6048-450E-B85A-CA6AD49BD930}" dt="2021-11-03T09:00:15.719" v="1256" actId="1076"/>
          <ac:spMkLst>
            <pc:docMk/>
            <pc:sldMk cId="303578846" sldId="315"/>
            <ac:spMk id="45" creationId="{A05BC7C4-05C7-4447-8B72-264A841E5257}"/>
          </ac:spMkLst>
        </pc:spChg>
        <pc:spChg chg="mod">
          <ac:chgData name="Valentina Bernasconi" userId="acfadff8-565c-406d-83c9-b8a23dc799e4" providerId="ADAL" clId="{79B8782D-6048-450E-B85A-CA6AD49BD930}" dt="2021-11-03T08:16:41.980" v="258" actId="20577"/>
          <ac:spMkLst>
            <pc:docMk/>
            <pc:sldMk cId="303578846" sldId="315"/>
            <ac:spMk id="46" creationId="{63754E9E-1C6A-4536-8EB9-FF925CA9CB35}"/>
          </ac:spMkLst>
        </pc:spChg>
        <pc:spChg chg="del mod topLvl">
          <ac:chgData name="Valentina Bernasconi" userId="acfadff8-565c-406d-83c9-b8a23dc799e4" providerId="ADAL" clId="{79B8782D-6048-450E-B85A-CA6AD49BD930}" dt="2021-11-03T09:00:11.863" v="1255" actId="478"/>
          <ac:spMkLst>
            <pc:docMk/>
            <pc:sldMk cId="303578846" sldId="315"/>
            <ac:spMk id="53" creationId="{3B607AB5-A2A9-47F2-9B20-7410FD40AB6E}"/>
          </ac:spMkLst>
        </pc:spChg>
        <pc:spChg chg="mod topLvl">
          <ac:chgData name="Valentina Bernasconi" userId="acfadff8-565c-406d-83c9-b8a23dc799e4" providerId="ADAL" clId="{79B8782D-6048-450E-B85A-CA6AD49BD930}" dt="2021-11-03T08:58:15.741" v="1161" actId="165"/>
          <ac:spMkLst>
            <pc:docMk/>
            <pc:sldMk cId="303578846" sldId="315"/>
            <ac:spMk id="54" creationId="{F5D5BE12-D631-4DD8-8C43-4961C23D9000}"/>
          </ac:spMkLst>
        </pc:spChg>
        <pc:spChg chg="mod topLvl">
          <ac:chgData name="Valentina Bernasconi" userId="acfadff8-565c-406d-83c9-b8a23dc799e4" providerId="ADAL" clId="{79B8782D-6048-450E-B85A-CA6AD49BD930}" dt="2021-11-03T09:00:36.339" v="1261" actId="1076"/>
          <ac:spMkLst>
            <pc:docMk/>
            <pc:sldMk cId="303578846" sldId="315"/>
            <ac:spMk id="56" creationId="{1C833EFD-DF63-4657-8B86-2D29863210F4}"/>
          </ac:spMkLst>
        </pc:spChg>
        <pc:spChg chg="del mod topLvl">
          <ac:chgData name="Valentina Bernasconi" userId="acfadff8-565c-406d-83c9-b8a23dc799e4" providerId="ADAL" clId="{79B8782D-6048-450E-B85A-CA6AD49BD930}" dt="2021-11-03T08:59:36.208" v="1200" actId="478"/>
          <ac:spMkLst>
            <pc:docMk/>
            <pc:sldMk cId="303578846" sldId="315"/>
            <ac:spMk id="60" creationId="{FE740827-8831-4737-9E60-C8075E996811}"/>
          </ac:spMkLst>
        </pc:spChg>
        <pc:spChg chg="mod topLvl">
          <ac:chgData name="Valentina Bernasconi" userId="acfadff8-565c-406d-83c9-b8a23dc799e4" providerId="ADAL" clId="{79B8782D-6048-450E-B85A-CA6AD49BD930}" dt="2021-11-03T08:58:15.741" v="1161" actId="165"/>
          <ac:spMkLst>
            <pc:docMk/>
            <pc:sldMk cId="303578846" sldId="315"/>
            <ac:spMk id="61" creationId="{8C39733B-1C3E-46FB-B245-C6591C659571}"/>
          </ac:spMkLst>
        </pc:spChg>
        <pc:spChg chg="mod topLvl">
          <ac:chgData name="Valentina Bernasconi" userId="acfadff8-565c-406d-83c9-b8a23dc799e4" providerId="ADAL" clId="{79B8782D-6048-450E-B85A-CA6AD49BD930}" dt="2021-11-03T09:00:17.475" v="1257" actId="1076"/>
          <ac:spMkLst>
            <pc:docMk/>
            <pc:sldMk cId="303578846" sldId="315"/>
            <ac:spMk id="62" creationId="{7BC1A825-D0A3-4B44-8008-485DADDBAE2E}"/>
          </ac:spMkLst>
        </pc:spChg>
        <pc:spChg chg="mod topLvl">
          <ac:chgData name="Valentina Bernasconi" userId="acfadff8-565c-406d-83c9-b8a23dc799e4" providerId="ADAL" clId="{79B8782D-6048-450E-B85A-CA6AD49BD930}" dt="2021-11-30T16:31:16.233" v="3248" actId="20577"/>
          <ac:spMkLst>
            <pc:docMk/>
            <pc:sldMk cId="303578846" sldId="315"/>
            <ac:spMk id="64" creationId="{66C2F47A-08B3-402D-B40B-B1766482BD5A}"/>
          </ac:spMkLst>
        </pc:spChg>
        <pc:spChg chg="del mod">
          <ac:chgData name="Valentina Bernasconi" userId="acfadff8-565c-406d-83c9-b8a23dc799e4" providerId="ADAL" clId="{79B8782D-6048-450E-B85A-CA6AD49BD930}" dt="2021-11-03T08:58:09.754" v="1159" actId="478"/>
          <ac:spMkLst>
            <pc:docMk/>
            <pc:sldMk cId="303578846" sldId="315"/>
            <ac:spMk id="66" creationId="{91C1AE4A-66CC-4BEB-8876-7EEB6E24BB4F}"/>
          </ac:spMkLst>
        </pc:spChg>
        <pc:spChg chg="mod topLvl">
          <ac:chgData name="Valentina Bernasconi" userId="acfadff8-565c-406d-83c9-b8a23dc799e4" providerId="ADAL" clId="{79B8782D-6048-450E-B85A-CA6AD49BD930}" dt="2021-11-03T08:58:42.020" v="1164" actId="165"/>
          <ac:spMkLst>
            <pc:docMk/>
            <pc:sldMk cId="303578846" sldId="315"/>
            <ac:spMk id="67" creationId="{46E32BA8-F943-47E9-8E84-4E2C03CAEAC5}"/>
          </ac:spMkLst>
        </pc:spChg>
        <pc:spChg chg="mod topLvl">
          <ac:chgData name="Valentina Bernasconi" userId="acfadff8-565c-406d-83c9-b8a23dc799e4" providerId="ADAL" clId="{79B8782D-6048-450E-B85A-CA6AD49BD930}" dt="2021-11-03T08:58:34.252" v="1163" actId="165"/>
          <ac:spMkLst>
            <pc:docMk/>
            <pc:sldMk cId="303578846" sldId="315"/>
            <ac:spMk id="68" creationId="{02B89D05-6C81-47BE-A7ED-4140CAF55E61}"/>
          </ac:spMkLst>
        </pc:spChg>
        <pc:spChg chg="mod topLvl">
          <ac:chgData name="Valentina Bernasconi" userId="acfadff8-565c-406d-83c9-b8a23dc799e4" providerId="ADAL" clId="{79B8782D-6048-450E-B85A-CA6AD49BD930}" dt="2021-11-03T08:58:34.252" v="1163" actId="165"/>
          <ac:spMkLst>
            <pc:docMk/>
            <pc:sldMk cId="303578846" sldId="315"/>
            <ac:spMk id="69" creationId="{D11282A1-471C-4C7B-ACDF-595DA65273AE}"/>
          </ac:spMkLst>
        </pc:spChg>
        <pc:spChg chg="mod topLvl">
          <ac:chgData name="Valentina Bernasconi" userId="acfadff8-565c-406d-83c9-b8a23dc799e4" providerId="ADAL" clId="{79B8782D-6048-450E-B85A-CA6AD49BD930}" dt="2021-11-17T10:17:29.818" v="2116" actId="5793"/>
          <ac:spMkLst>
            <pc:docMk/>
            <pc:sldMk cId="303578846" sldId="315"/>
            <ac:spMk id="71" creationId="{5D362B55-4E6D-44F8-83EE-6B21EE12C2B8}"/>
          </ac:spMkLst>
        </pc:spChg>
        <pc:spChg chg="del">
          <ac:chgData name="Valentina Bernasconi" userId="acfadff8-565c-406d-83c9-b8a23dc799e4" providerId="ADAL" clId="{79B8782D-6048-450E-B85A-CA6AD49BD930}" dt="2021-11-03T08:57:47.062" v="1144" actId="478"/>
          <ac:spMkLst>
            <pc:docMk/>
            <pc:sldMk cId="303578846" sldId="315"/>
            <ac:spMk id="73" creationId="{72F14CEE-CB26-401B-A88A-8888EDF8C83F}"/>
          </ac:spMkLst>
        </pc:spChg>
        <pc:spChg chg="del">
          <ac:chgData name="Valentina Bernasconi" userId="acfadff8-565c-406d-83c9-b8a23dc799e4" providerId="ADAL" clId="{79B8782D-6048-450E-B85A-CA6AD49BD930}" dt="2021-11-03T08:57:45.299" v="1143" actId="478"/>
          <ac:spMkLst>
            <pc:docMk/>
            <pc:sldMk cId="303578846" sldId="315"/>
            <ac:spMk id="75" creationId="{53004FE8-B46F-4493-8740-E11D737DBA16}"/>
          </ac:spMkLst>
        </pc:spChg>
        <pc:spChg chg="del">
          <ac:chgData name="Valentina Bernasconi" userId="acfadff8-565c-406d-83c9-b8a23dc799e4" providerId="ADAL" clId="{79B8782D-6048-450E-B85A-CA6AD49BD930}" dt="2021-11-03T08:57:36.371" v="1139" actId="478"/>
          <ac:spMkLst>
            <pc:docMk/>
            <pc:sldMk cId="303578846" sldId="315"/>
            <ac:spMk id="78" creationId="{C9023ED9-70C8-421A-A2AE-1610B62A3917}"/>
          </ac:spMkLst>
        </pc:spChg>
        <pc:spChg chg="del">
          <ac:chgData name="Valentina Bernasconi" userId="acfadff8-565c-406d-83c9-b8a23dc799e4" providerId="ADAL" clId="{79B8782D-6048-450E-B85A-CA6AD49BD930}" dt="2021-11-03T08:57:36.371" v="1139" actId="478"/>
          <ac:spMkLst>
            <pc:docMk/>
            <pc:sldMk cId="303578846" sldId="315"/>
            <ac:spMk id="82" creationId="{3083D11B-250F-4F78-BCEB-E4C7DD98458C}"/>
          </ac:spMkLst>
        </pc:spChg>
        <pc:spChg chg="del">
          <ac:chgData name="Valentina Bernasconi" userId="acfadff8-565c-406d-83c9-b8a23dc799e4" providerId="ADAL" clId="{79B8782D-6048-450E-B85A-CA6AD49BD930}" dt="2021-11-03T08:57:36.371" v="1139" actId="478"/>
          <ac:spMkLst>
            <pc:docMk/>
            <pc:sldMk cId="303578846" sldId="315"/>
            <ac:spMk id="83" creationId="{A251A156-F6D1-4D67-A5CC-72EAA05E3C82}"/>
          </ac:spMkLst>
        </pc:spChg>
        <pc:spChg chg="del">
          <ac:chgData name="Valentina Bernasconi" userId="acfadff8-565c-406d-83c9-b8a23dc799e4" providerId="ADAL" clId="{79B8782D-6048-450E-B85A-CA6AD49BD930}" dt="2021-11-03T08:57:36.371" v="1139" actId="478"/>
          <ac:spMkLst>
            <pc:docMk/>
            <pc:sldMk cId="303578846" sldId="315"/>
            <ac:spMk id="84" creationId="{A6020661-7CCE-47AF-BE9B-A15A73F50634}"/>
          </ac:spMkLst>
        </pc:spChg>
        <pc:spChg chg="del">
          <ac:chgData name="Valentina Bernasconi" userId="acfadff8-565c-406d-83c9-b8a23dc799e4" providerId="ADAL" clId="{79B8782D-6048-450E-B85A-CA6AD49BD930}" dt="2021-11-03T08:57:36.371" v="1139" actId="478"/>
          <ac:spMkLst>
            <pc:docMk/>
            <pc:sldMk cId="303578846" sldId="315"/>
            <ac:spMk id="85" creationId="{DBF47FEB-B99D-4CD7-A36D-8D5711B628FC}"/>
          </ac:spMkLst>
        </pc:spChg>
        <pc:grpChg chg="del">
          <ac:chgData name="Valentina Bernasconi" userId="acfadff8-565c-406d-83c9-b8a23dc799e4" providerId="ADAL" clId="{79B8782D-6048-450E-B85A-CA6AD49BD930}" dt="2021-11-03T08:57:42.871" v="1141" actId="478"/>
          <ac:grpSpMkLst>
            <pc:docMk/>
            <pc:sldMk cId="303578846" sldId="315"/>
            <ac:grpSpMk id="31" creationId="{FEFF0F4F-80A6-4548-91B2-F7B0024A1C85}"/>
          </ac:grpSpMkLst>
        </pc:grpChg>
        <pc:grpChg chg="del mod topLvl">
          <ac:chgData name="Valentina Bernasconi" userId="acfadff8-565c-406d-83c9-b8a23dc799e4" providerId="ADAL" clId="{79B8782D-6048-450E-B85A-CA6AD49BD930}" dt="2021-11-03T08:58:15.741" v="1161" actId="165"/>
          <ac:grpSpMkLst>
            <pc:docMk/>
            <pc:sldMk cId="303578846" sldId="315"/>
            <ac:grpSpMk id="33" creationId="{83DF9C43-335B-486D-BF39-F17A97291D88}"/>
          </ac:grpSpMkLst>
        </pc:grpChg>
        <pc:grpChg chg="del mod topLvl">
          <ac:chgData name="Valentina Bernasconi" userId="acfadff8-565c-406d-83c9-b8a23dc799e4" providerId="ADAL" clId="{79B8782D-6048-450E-B85A-CA6AD49BD930}" dt="2021-11-03T08:58:34.252" v="1163" actId="165"/>
          <ac:grpSpMkLst>
            <pc:docMk/>
            <pc:sldMk cId="303578846" sldId="315"/>
            <ac:grpSpMk id="57" creationId="{75743E03-DAA0-4D80-A1F4-B79F911DF4AA}"/>
          </ac:grpSpMkLst>
        </pc:grpChg>
        <pc:grpChg chg="del mod topLvl">
          <ac:chgData name="Valentina Bernasconi" userId="acfadff8-565c-406d-83c9-b8a23dc799e4" providerId="ADAL" clId="{79B8782D-6048-450E-B85A-CA6AD49BD930}" dt="2021-11-03T08:58:42.020" v="1164" actId="165"/>
          <ac:grpSpMkLst>
            <pc:docMk/>
            <pc:sldMk cId="303578846" sldId="315"/>
            <ac:grpSpMk id="58" creationId="{6C5D9187-6612-424F-93F0-D190BDEA47A3}"/>
          </ac:grpSpMkLst>
        </pc:grpChg>
        <pc:cxnChg chg="del topLvl">
          <ac:chgData name="Valentina Bernasconi" userId="acfadff8-565c-406d-83c9-b8a23dc799e4" providerId="ADAL" clId="{79B8782D-6048-450E-B85A-CA6AD49BD930}" dt="2021-11-03T08:57:42.871" v="1141" actId="478"/>
          <ac:cxnSpMkLst>
            <pc:docMk/>
            <pc:sldMk cId="303578846" sldId="315"/>
            <ac:cxnSpMk id="34" creationId="{CD9125F5-39AD-4209-937B-7DF7BD01FD90}"/>
          </ac:cxnSpMkLst>
        </pc:cxnChg>
        <pc:cxnChg chg="add mod">
          <ac:chgData name="Valentina Bernasconi" userId="acfadff8-565c-406d-83c9-b8a23dc799e4" providerId="ADAL" clId="{79B8782D-6048-450E-B85A-CA6AD49BD930}" dt="2021-11-03T08:58:57.395" v="1170" actId="1076"/>
          <ac:cxnSpMkLst>
            <pc:docMk/>
            <pc:sldMk cId="303578846" sldId="315"/>
            <ac:cxnSpMk id="37" creationId="{628E9180-BE3F-4797-8E4F-91AE89511F1A}"/>
          </ac:cxnSpMkLst>
        </pc:cxnChg>
        <pc:cxnChg chg="add mod">
          <ac:chgData name="Valentina Bernasconi" userId="acfadff8-565c-406d-83c9-b8a23dc799e4" providerId="ADAL" clId="{79B8782D-6048-450E-B85A-CA6AD49BD930}" dt="2021-11-03T08:59:41.451" v="1202" actId="1076"/>
          <ac:cxnSpMkLst>
            <pc:docMk/>
            <pc:sldMk cId="303578846" sldId="315"/>
            <ac:cxnSpMk id="40" creationId="{D98CC14C-6799-401B-917F-77A864049EAD}"/>
          </ac:cxnSpMkLst>
        </pc:cxnChg>
        <pc:cxnChg chg="mod topLvl">
          <ac:chgData name="Valentina Bernasconi" userId="acfadff8-565c-406d-83c9-b8a23dc799e4" providerId="ADAL" clId="{79B8782D-6048-450E-B85A-CA6AD49BD930}" dt="2021-11-03T09:00:05.283" v="1251" actId="1076"/>
          <ac:cxnSpMkLst>
            <pc:docMk/>
            <pc:sldMk cId="303578846" sldId="315"/>
            <ac:cxnSpMk id="52" creationId="{A0A9A7C9-082E-4BB4-86DD-5478159F7047}"/>
          </ac:cxnSpMkLst>
        </pc:cxnChg>
        <pc:cxnChg chg="del mod topLvl">
          <ac:chgData name="Valentina Bernasconi" userId="acfadff8-565c-406d-83c9-b8a23dc799e4" providerId="ADAL" clId="{79B8782D-6048-450E-B85A-CA6AD49BD930}" dt="2021-11-03T08:59:42.680" v="1203" actId="478"/>
          <ac:cxnSpMkLst>
            <pc:docMk/>
            <pc:sldMk cId="303578846" sldId="315"/>
            <ac:cxnSpMk id="59" creationId="{ADB4EB7C-5A80-4077-9295-CBC149739024}"/>
          </ac:cxnSpMkLst>
        </pc:cxnChg>
        <pc:cxnChg chg="mod topLvl">
          <ac:chgData name="Valentina Bernasconi" userId="acfadff8-565c-406d-83c9-b8a23dc799e4" providerId="ADAL" clId="{79B8782D-6048-450E-B85A-CA6AD49BD930}" dt="2021-11-03T08:58:49.883" v="1166" actId="1076"/>
          <ac:cxnSpMkLst>
            <pc:docMk/>
            <pc:sldMk cId="303578846" sldId="315"/>
            <ac:cxnSpMk id="63" creationId="{2461159A-6BA7-4DD2-B167-8AABEF2172E1}"/>
          </ac:cxnSpMkLst>
        </pc:cxnChg>
        <pc:cxnChg chg="del mod topLvl">
          <ac:chgData name="Valentina Bernasconi" userId="acfadff8-565c-406d-83c9-b8a23dc799e4" providerId="ADAL" clId="{79B8782D-6048-450E-B85A-CA6AD49BD930}" dt="2021-11-03T08:59:34.972" v="1199" actId="478"/>
          <ac:cxnSpMkLst>
            <pc:docMk/>
            <pc:sldMk cId="303578846" sldId="315"/>
            <ac:cxnSpMk id="65" creationId="{E8FBAD2E-CDB7-489F-88E5-4A0EC6CD4377}"/>
          </ac:cxnSpMkLst>
        </pc:cxnChg>
        <pc:cxnChg chg="del mod topLvl">
          <ac:chgData name="Valentina Bernasconi" userId="acfadff8-565c-406d-83c9-b8a23dc799e4" providerId="ADAL" clId="{79B8782D-6048-450E-B85A-CA6AD49BD930}" dt="2021-11-03T08:58:53.373" v="1168" actId="478"/>
          <ac:cxnSpMkLst>
            <pc:docMk/>
            <pc:sldMk cId="303578846" sldId="315"/>
            <ac:cxnSpMk id="70" creationId="{DB0035FE-34F2-41AF-BA9B-8F80FD0970FC}"/>
          </ac:cxnSpMkLst>
        </pc:cxnChg>
        <pc:cxnChg chg="del">
          <ac:chgData name="Valentina Bernasconi" userId="acfadff8-565c-406d-83c9-b8a23dc799e4" providerId="ADAL" clId="{79B8782D-6048-450E-B85A-CA6AD49BD930}" dt="2021-11-03T08:57:44.297" v="1142" actId="478"/>
          <ac:cxnSpMkLst>
            <pc:docMk/>
            <pc:sldMk cId="303578846" sldId="315"/>
            <ac:cxnSpMk id="74" creationId="{8E4F63C9-5324-4F80-98E6-77DE4EC55AF1}"/>
          </ac:cxnSpMkLst>
        </pc:cxnChg>
      </pc:sldChg>
      <pc:sldChg chg="modSp new mod ord">
        <pc:chgData name="Valentina Bernasconi" userId="acfadff8-565c-406d-83c9-b8a23dc799e4" providerId="ADAL" clId="{79B8782D-6048-450E-B85A-CA6AD49BD930}" dt="2021-11-03T08:22:56.294" v="452" actId="1076"/>
        <pc:sldMkLst>
          <pc:docMk/>
          <pc:sldMk cId="2126592859" sldId="316"/>
        </pc:sldMkLst>
        <pc:spChg chg="mod">
          <ac:chgData name="Valentina Bernasconi" userId="acfadff8-565c-406d-83c9-b8a23dc799e4" providerId="ADAL" clId="{79B8782D-6048-450E-B85A-CA6AD49BD930}" dt="2021-11-03T08:22:50.883" v="451" actId="14100"/>
          <ac:spMkLst>
            <pc:docMk/>
            <pc:sldMk cId="2126592859" sldId="316"/>
            <ac:spMk id="2" creationId="{5043B4E3-8390-4D7F-8069-701FAFEE05C7}"/>
          </ac:spMkLst>
        </pc:spChg>
        <pc:spChg chg="mod">
          <ac:chgData name="Valentina Bernasconi" userId="acfadff8-565c-406d-83c9-b8a23dc799e4" providerId="ADAL" clId="{79B8782D-6048-450E-B85A-CA6AD49BD930}" dt="2021-11-03T08:22:56.294" v="452" actId="1076"/>
          <ac:spMkLst>
            <pc:docMk/>
            <pc:sldMk cId="2126592859" sldId="316"/>
            <ac:spMk id="3" creationId="{6E79D2EA-ED04-4C3E-AAF7-F972F4E5F724}"/>
          </ac:spMkLst>
        </pc:spChg>
        <pc:spChg chg="mod">
          <ac:chgData name="Valentina Bernasconi" userId="acfadff8-565c-406d-83c9-b8a23dc799e4" providerId="ADAL" clId="{79B8782D-6048-450E-B85A-CA6AD49BD930}" dt="2021-11-03T08:22:39.598" v="447" actId="14100"/>
          <ac:spMkLst>
            <pc:docMk/>
            <pc:sldMk cId="2126592859" sldId="316"/>
            <ac:spMk id="4" creationId="{4BCB3F8B-4950-4BE2-B3F6-8411C72C74E9}"/>
          </ac:spMkLst>
        </pc:spChg>
      </pc:sldChg>
      <pc:sldChg chg="del">
        <pc:chgData name="Valentina Bernasconi" userId="acfadff8-565c-406d-83c9-b8a23dc799e4" providerId="ADAL" clId="{79B8782D-6048-450E-B85A-CA6AD49BD930}" dt="2021-11-03T08:11:01.622" v="0" actId="47"/>
        <pc:sldMkLst>
          <pc:docMk/>
          <pc:sldMk cId="2738114434" sldId="316"/>
        </pc:sldMkLst>
      </pc:sldChg>
      <pc:sldChg chg="del">
        <pc:chgData name="Valentina Bernasconi" userId="acfadff8-565c-406d-83c9-b8a23dc799e4" providerId="ADAL" clId="{79B8782D-6048-450E-B85A-CA6AD49BD930}" dt="2021-11-03T08:11:01.622" v="0" actId="47"/>
        <pc:sldMkLst>
          <pc:docMk/>
          <pc:sldMk cId="470492980" sldId="317"/>
        </pc:sldMkLst>
      </pc:sldChg>
      <pc:sldChg chg="addSp delSp modSp new mod ord">
        <pc:chgData name="Valentina Bernasconi" userId="acfadff8-565c-406d-83c9-b8a23dc799e4" providerId="ADAL" clId="{79B8782D-6048-450E-B85A-CA6AD49BD930}" dt="2021-12-01T09:40:29.969" v="3258"/>
        <pc:sldMkLst>
          <pc:docMk/>
          <pc:sldMk cId="3372539275" sldId="317"/>
        </pc:sldMkLst>
        <pc:spChg chg="mod">
          <ac:chgData name="Valentina Bernasconi" userId="acfadff8-565c-406d-83c9-b8a23dc799e4" providerId="ADAL" clId="{79B8782D-6048-450E-B85A-CA6AD49BD930}" dt="2021-11-29T13:15:23.269" v="3151" actId="20577"/>
          <ac:spMkLst>
            <pc:docMk/>
            <pc:sldMk cId="3372539275" sldId="317"/>
            <ac:spMk id="2" creationId="{1802C112-98CC-421A-A3B0-FDC42B7E0F6D}"/>
          </ac:spMkLst>
        </pc:spChg>
        <pc:spChg chg="mod">
          <ac:chgData name="Valentina Bernasconi" userId="acfadff8-565c-406d-83c9-b8a23dc799e4" providerId="ADAL" clId="{79B8782D-6048-450E-B85A-CA6AD49BD930}" dt="2021-11-03T08:11:28.463" v="15" actId="20577"/>
          <ac:spMkLst>
            <pc:docMk/>
            <pc:sldMk cId="3372539275" sldId="317"/>
            <ac:spMk id="3" creationId="{CBE1C982-5120-4A6F-8BDC-1EC016B3197F}"/>
          </ac:spMkLst>
        </pc:spChg>
        <pc:spChg chg="add del mod">
          <ac:chgData name="Valentina Bernasconi" userId="acfadff8-565c-406d-83c9-b8a23dc799e4" providerId="ADAL" clId="{79B8782D-6048-450E-B85A-CA6AD49BD930}" dt="2021-11-29T13:10:33.857" v="3044" actId="478"/>
          <ac:spMkLst>
            <pc:docMk/>
            <pc:sldMk cId="3372539275" sldId="317"/>
            <ac:spMk id="4" creationId="{7DB41B17-51B8-4C90-8203-EE3BED1F102A}"/>
          </ac:spMkLst>
        </pc:spChg>
        <pc:spChg chg="add del mod">
          <ac:chgData name="Valentina Bernasconi" userId="acfadff8-565c-406d-83c9-b8a23dc799e4" providerId="ADAL" clId="{79B8782D-6048-450E-B85A-CA6AD49BD930}" dt="2021-11-29T13:11:00.639" v="3063" actId="478"/>
          <ac:spMkLst>
            <pc:docMk/>
            <pc:sldMk cId="3372539275" sldId="317"/>
            <ac:spMk id="5" creationId="{BA835E54-9E70-44BB-A134-F81DA0CAA3D7}"/>
          </ac:spMkLst>
        </pc:spChg>
        <pc:graphicFrameChg chg="add del mod">
          <ac:chgData name="Valentina Bernasconi" userId="acfadff8-565c-406d-83c9-b8a23dc799e4" providerId="ADAL" clId="{79B8782D-6048-450E-B85A-CA6AD49BD930}" dt="2021-12-01T09:40:29.969" v="3258"/>
          <ac:graphicFrameMkLst>
            <pc:docMk/>
            <pc:sldMk cId="3372539275" sldId="317"/>
            <ac:graphicFrameMk id="4" creationId="{92F632C4-5BBE-40BE-BEB7-7B433A7584FA}"/>
          </ac:graphicFrameMkLst>
        </pc:graphicFrameChg>
        <pc:picChg chg="add del mod">
          <ac:chgData name="Valentina Bernasconi" userId="acfadff8-565c-406d-83c9-b8a23dc799e4" providerId="ADAL" clId="{79B8782D-6048-450E-B85A-CA6AD49BD930}" dt="2021-12-01T09:40:29.969" v="3258"/>
          <ac:picMkLst>
            <pc:docMk/>
            <pc:sldMk cId="3372539275" sldId="317"/>
            <ac:picMk id="5" creationId="{ADC1F076-8EAB-4DB1-B0F5-755E0BD717F7}"/>
          </ac:picMkLst>
        </pc:picChg>
      </pc:sldChg>
      <pc:sldChg chg="modSp new del mod">
        <pc:chgData name="Valentina Bernasconi" userId="acfadff8-565c-406d-83c9-b8a23dc799e4" providerId="ADAL" clId="{79B8782D-6048-450E-B85A-CA6AD49BD930}" dt="2021-11-03T08:14:27.820" v="133" actId="47"/>
        <pc:sldMkLst>
          <pc:docMk/>
          <pc:sldMk cId="1284114248" sldId="318"/>
        </pc:sldMkLst>
        <pc:spChg chg="mod">
          <ac:chgData name="Valentina Bernasconi" userId="acfadff8-565c-406d-83c9-b8a23dc799e4" providerId="ADAL" clId="{79B8782D-6048-450E-B85A-CA6AD49BD930}" dt="2021-11-03T08:11:53.087" v="37" actId="20577"/>
          <ac:spMkLst>
            <pc:docMk/>
            <pc:sldMk cId="1284114248" sldId="318"/>
            <ac:spMk id="3" creationId="{C4932D70-C6EE-425C-9838-58E6377F8D64}"/>
          </ac:spMkLst>
        </pc:spChg>
      </pc:sldChg>
      <pc:sldChg chg="del">
        <pc:chgData name="Valentina Bernasconi" userId="acfadff8-565c-406d-83c9-b8a23dc799e4" providerId="ADAL" clId="{79B8782D-6048-450E-B85A-CA6AD49BD930}" dt="2021-11-03T08:11:01.622" v="0" actId="47"/>
        <pc:sldMkLst>
          <pc:docMk/>
          <pc:sldMk cId="3764614070" sldId="318"/>
        </pc:sldMkLst>
      </pc:sldChg>
      <pc:sldChg chg="del">
        <pc:chgData name="Valentina Bernasconi" userId="acfadff8-565c-406d-83c9-b8a23dc799e4" providerId="ADAL" clId="{79B8782D-6048-450E-B85A-CA6AD49BD930}" dt="2021-11-03T08:11:01.622" v="0" actId="47"/>
        <pc:sldMkLst>
          <pc:docMk/>
          <pc:sldMk cId="1338289092" sldId="319"/>
        </pc:sldMkLst>
      </pc:sldChg>
      <pc:sldChg chg="addSp modSp add mod">
        <pc:chgData name="Valentina Bernasconi" userId="acfadff8-565c-406d-83c9-b8a23dc799e4" providerId="ADAL" clId="{79B8782D-6048-450E-B85A-CA6AD49BD930}" dt="2021-12-01T13:15:00.495" v="3500" actId="20577"/>
        <pc:sldMkLst>
          <pc:docMk/>
          <pc:sldMk cId="2279826598" sldId="319"/>
        </pc:sldMkLst>
        <pc:spChg chg="mod">
          <ac:chgData name="Valentina Bernasconi" userId="acfadff8-565c-406d-83c9-b8a23dc799e4" providerId="ADAL" clId="{79B8782D-6048-450E-B85A-CA6AD49BD930}" dt="2021-12-01T13:15:00.495" v="3500" actId="20577"/>
          <ac:spMkLst>
            <pc:docMk/>
            <pc:sldMk cId="2279826598" sldId="319"/>
            <ac:spMk id="2" creationId="{25CF49E7-6E55-4B53-8D02-35EC31B2BB39}"/>
          </ac:spMkLst>
        </pc:spChg>
        <pc:spChg chg="mod">
          <ac:chgData name="Valentina Bernasconi" userId="acfadff8-565c-406d-83c9-b8a23dc799e4" providerId="ADAL" clId="{79B8782D-6048-450E-B85A-CA6AD49BD930}" dt="2021-11-03T08:42:55.035" v="934" actId="108"/>
          <ac:spMkLst>
            <pc:docMk/>
            <pc:sldMk cId="2279826598" sldId="319"/>
            <ac:spMk id="3" creationId="{C4932D70-C6EE-425C-9838-58E6377F8D64}"/>
          </ac:spMkLst>
        </pc:spChg>
        <pc:picChg chg="add mod">
          <ac:chgData name="Valentina Bernasconi" userId="acfadff8-565c-406d-83c9-b8a23dc799e4" providerId="ADAL" clId="{79B8782D-6048-450E-B85A-CA6AD49BD930}" dt="2021-11-03T08:29:15.468" v="604" actId="1076"/>
          <ac:picMkLst>
            <pc:docMk/>
            <pc:sldMk cId="2279826598" sldId="319"/>
            <ac:picMk id="7170" creationId="{3D550B86-6D50-414C-BCEC-54E5CF706EF7}"/>
          </ac:picMkLst>
        </pc:picChg>
      </pc:sldChg>
      <pc:sldChg chg="modSp add del mod">
        <pc:chgData name="Valentina Bernasconi" userId="acfadff8-565c-406d-83c9-b8a23dc799e4" providerId="ADAL" clId="{79B8782D-6048-450E-B85A-CA6AD49BD930}" dt="2021-12-01T13:11:50.861" v="3389" actId="313"/>
        <pc:sldMkLst>
          <pc:docMk/>
          <pc:sldMk cId="1547012370" sldId="330"/>
        </pc:sldMkLst>
        <pc:spChg chg="mod">
          <ac:chgData name="Valentina Bernasconi" userId="acfadff8-565c-406d-83c9-b8a23dc799e4" providerId="ADAL" clId="{79B8782D-6048-450E-B85A-CA6AD49BD930}" dt="2021-12-01T13:11:50.861" v="3389" actId="313"/>
          <ac:spMkLst>
            <pc:docMk/>
            <pc:sldMk cId="1547012370" sldId="330"/>
            <ac:spMk id="33" creationId="{5AE0DCE1-5B82-44ED-A2ED-341197E84AFB}"/>
          </ac:spMkLst>
        </pc:spChg>
        <pc:spChg chg="mod">
          <ac:chgData name="Valentina Bernasconi" userId="acfadff8-565c-406d-83c9-b8a23dc799e4" providerId="ADAL" clId="{79B8782D-6048-450E-B85A-CA6AD49BD930}" dt="2021-11-03T08:25:37.878" v="481" actId="1076"/>
          <ac:spMkLst>
            <pc:docMk/>
            <pc:sldMk cId="1547012370" sldId="330"/>
            <ac:spMk id="34" creationId="{722969D0-DBA0-4464-A1C2-610D4AD025AC}"/>
          </ac:spMkLst>
        </pc:spChg>
        <pc:spChg chg="mod">
          <ac:chgData name="Valentina Bernasconi" userId="acfadff8-565c-406d-83c9-b8a23dc799e4" providerId="ADAL" clId="{79B8782D-6048-450E-B85A-CA6AD49BD930}" dt="2021-11-03T08:26:14.037" v="491" actId="20577"/>
          <ac:spMkLst>
            <pc:docMk/>
            <pc:sldMk cId="1547012370" sldId="330"/>
            <ac:spMk id="45" creationId="{0AFD1CEB-3C96-4AEB-9E86-A173618D4023}"/>
          </ac:spMkLst>
        </pc:spChg>
        <pc:spChg chg="mod">
          <ac:chgData name="Valentina Bernasconi" userId="acfadff8-565c-406d-83c9-b8a23dc799e4" providerId="ADAL" clId="{79B8782D-6048-450E-B85A-CA6AD49BD930}" dt="2021-11-03T08:25:45.526" v="482" actId="1076"/>
          <ac:spMkLst>
            <pc:docMk/>
            <pc:sldMk cId="1547012370" sldId="330"/>
            <ac:spMk id="46" creationId="{C078463B-C070-45A5-BC1E-06AD43AA5A4C}"/>
          </ac:spMkLst>
        </pc:spChg>
        <pc:spChg chg="mod">
          <ac:chgData name="Valentina Bernasconi" userId="acfadff8-565c-406d-83c9-b8a23dc799e4" providerId="ADAL" clId="{79B8782D-6048-450E-B85A-CA6AD49BD930}" dt="2021-11-03T09:38:32.290" v="1265" actId="20577"/>
          <ac:spMkLst>
            <pc:docMk/>
            <pc:sldMk cId="1547012370" sldId="330"/>
            <ac:spMk id="51" creationId="{1915BE4D-87D3-47F0-960E-F7F2BECFF549}"/>
          </ac:spMkLst>
        </pc:spChg>
        <pc:spChg chg="mod">
          <ac:chgData name="Valentina Bernasconi" userId="acfadff8-565c-406d-83c9-b8a23dc799e4" providerId="ADAL" clId="{79B8782D-6048-450E-B85A-CA6AD49BD930}" dt="2021-12-01T13:11:28.019" v="3364" actId="20577"/>
          <ac:spMkLst>
            <pc:docMk/>
            <pc:sldMk cId="1547012370" sldId="330"/>
            <ac:spMk id="163" creationId="{CF470FDC-ABDE-4E5C-A10D-45BEA5F2CD57}"/>
          </ac:spMkLst>
        </pc:spChg>
      </pc:sldChg>
      <pc:sldChg chg="modSp add mod">
        <pc:chgData name="Valentina Bernasconi" userId="acfadff8-565c-406d-83c9-b8a23dc799e4" providerId="ADAL" clId="{79B8782D-6048-450E-B85A-CA6AD49BD930}" dt="2021-11-03T08:28:26.370" v="598" actId="20577"/>
        <pc:sldMkLst>
          <pc:docMk/>
          <pc:sldMk cId="3910271458" sldId="2134804507"/>
        </pc:sldMkLst>
        <pc:spChg chg="mod">
          <ac:chgData name="Valentina Bernasconi" userId="acfadff8-565c-406d-83c9-b8a23dc799e4" providerId="ADAL" clId="{79B8782D-6048-450E-B85A-CA6AD49BD930}" dt="2021-11-03T08:28:26.370" v="598" actId="20577"/>
          <ac:spMkLst>
            <pc:docMk/>
            <pc:sldMk cId="3910271458" sldId="2134804507"/>
            <ac:spMk id="52" creationId="{6E7D6FE5-36B2-4016-9D53-7F645BF110FE}"/>
          </ac:spMkLst>
        </pc:spChg>
      </pc:sldChg>
      <pc:sldChg chg="delSp modSp add del mod">
        <pc:chgData name="Valentina Bernasconi" userId="acfadff8-565c-406d-83c9-b8a23dc799e4" providerId="ADAL" clId="{79B8782D-6048-450E-B85A-CA6AD49BD930}" dt="2021-11-03T08:20:57.487" v="365" actId="47"/>
        <pc:sldMkLst>
          <pc:docMk/>
          <pc:sldMk cId="2655898300" sldId="2134804511"/>
        </pc:sldMkLst>
        <pc:spChg chg="mod">
          <ac:chgData name="Valentina Bernasconi" userId="acfadff8-565c-406d-83c9-b8a23dc799e4" providerId="ADAL" clId="{79B8782D-6048-450E-B85A-CA6AD49BD930}" dt="2021-11-03T08:16:30.231" v="252" actId="108"/>
          <ac:spMkLst>
            <pc:docMk/>
            <pc:sldMk cId="2655898300" sldId="2134804511"/>
            <ac:spMk id="2" creationId="{9B019C20-7F5F-4E4B-947A-96DC4B278442}"/>
          </ac:spMkLst>
        </pc:spChg>
        <pc:spChg chg="mod">
          <ac:chgData name="Valentina Bernasconi" userId="acfadff8-565c-406d-83c9-b8a23dc799e4" providerId="ADAL" clId="{79B8782D-6048-450E-B85A-CA6AD49BD930}" dt="2021-11-03T08:17:34.526" v="272" actId="21"/>
          <ac:spMkLst>
            <pc:docMk/>
            <pc:sldMk cId="2655898300" sldId="2134804511"/>
            <ac:spMk id="8" creationId="{7D696568-9824-4EB1-8012-44B301F514D7}"/>
          </ac:spMkLst>
        </pc:spChg>
        <pc:spChg chg="del">
          <ac:chgData name="Valentina Bernasconi" userId="acfadff8-565c-406d-83c9-b8a23dc799e4" providerId="ADAL" clId="{79B8782D-6048-450E-B85A-CA6AD49BD930}" dt="2021-11-03T08:17:26.276" v="266" actId="478"/>
          <ac:spMkLst>
            <pc:docMk/>
            <pc:sldMk cId="2655898300" sldId="2134804511"/>
            <ac:spMk id="9" creationId="{A3BDB91D-AA53-4C43-9313-2A8ECCB27E4F}"/>
          </ac:spMkLst>
        </pc:spChg>
        <pc:grpChg chg="del">
          <ac:chgData name="Valentina Bernasconi" userId="acfadff8-565c-406d-83c9-b8a23dc799e4" providerId="ADAL" clId="{79B8782D-6048-450E-B85A-CA6AD49BD930}" dt="2021-11-03T08:17:29.428" v="267" actId="478"/>
          <ac:grpSpMkLst>
            <pc:docMk/>
            <pc:sldMk cId="2655898300" sldId="2134804511"/>
            <ac:grpSpMk id="10" creationId="{5B9BC98D-CF20-4083-AEC8-A69FFABB9A18}"/>
          </ac:grpSpMkLst>
        </pc:grpChg>
      </pc:sldChg>
      <pc:sldChg chg="modSp add mod">
        <pc:chgData name="Valentina Bernasconi" userId="acfadff8-565c-406d-83c9-b8a23dc799e4" providerId="ADAL" clId="{79B8782D-6048-450E-B85A-CA6AD49BD930}" dt="2021-11-03T08:28:46.918" v="600" actId="1076"/>
        <pc:sldMkLst>
          <pc:docMk/>
          <pc:sldMk cId="1333997588" sldId="2134804565"/>
        </pc:sldMkLst>
        <pc:spChg chg="mod">
          <ac:chgData name="Valentina Bernasconi" userId="acfadff8-565c-406d-83c9-b8a23dc799e4" providerId="ADAL" clId="{79B8782D-6048-450E-B85A-CA6AD49BD930}" dt="2021-11-03T08:28:46.918" v="600" actId="1076"/>
          <ac:spMkLst>
            <pc:docMk/>
            <pc:sldMk cId="1333997588" sldId="2134804565"/>
            <ac:spMk id="2" creationId="{D56E4EFC-F6E2-4AAC-90E4-80EF6264C77D}"/>
          </ac:spMkLst>
        </pc:spChg>
        <pc:spChg chg="mod">
          <ac:chgData name="Valentina Bernasconi" userId="acfadff8-565c-406d-83c9-b8a23dc799e4" providerId="ADAL" clId="{79B8782D-6048-450E-B85A-CA6AD49BD930}" dt="2021-11-03T08:15:15.224" v="239" actId="404"/>
          <ac:spMkLst>
            <pc:docMk/>
            <pc:sldMk cId="1333997588" sldId="2134804565"/>
            <ac:spMk id="3" creationId="{235A513F-8D9D-452C-8BFF-E8AE4B91A2DB}"/>
          </ac:spMkLst>
        </pc:spChg>
      </pc:sldChg>
      <pc:sldChg chg="modSp add del mod ord">
        <pc:chgData name="Valentina Bernasconi" userId="acfadff8-565c-406d-83c9-b8a23dc799e4" providerId="ADAL" clId="{79B8782D-6048-450E-B85A-CA6AD49BD930}" dt="2021-11-03T08:26:33.573" v="493" actId="1076"/>
        <pc:sldMkLst>
          <pc:docMk/>
          <pc:sldMk cId="407682154" sldId="2134804599"/>
        </pc:sldMkLst>
        <pc:spChg chg="mod">
          <ac:chgData name="Valentina Bernasconi" userId="acfadff8-565c-406d-83c9-b8a23dc799e4" providerId="ADAL" clId="{79B8782D-6048-450E-B85A-CA6AD49BD930}" dt="2021-11-03T08:26:33.573" v="493" actId="1076"/>
          <ac:spMkLst>
            <pc:docMk/>
            <pc:sldMk cId="407682154" sldId="2134804599"/>
            <ac:spMk id="8" creationId="{F6500CAF-D4A1-4EC6-98B8-21A5BBCBD73E}"/>
          </ac:spMkLst>
        </pc:spChg>
        <pc:spChg chg="mod">
          <ac:chgData name="Valentina Bernasconi" userId="acfadff8-565c-406d-83c9-b8a23dc799e4" providerId="ADAL" clId="{79B8782D-6048-450E-B85A-CA6AD49BD930}" dt="2021-11-03T08:26:29.238" v="492" actId="1076"/>
          <ac:spMkLst>
            <pc:docMk/>
            <pc:sldMk cId="407682154" sldId="2134804599"/>
            <ac:spMk id="42" creationId="{D66B3FD0-2B1C-4E90-B8F9-AE7CEFB8146E}"/>
          </ac:spMkLst>
        </pc:spChg>
        <pc:spChg chg="mod">
          <ac:chgData name="Valentina Bernasconi" userId="acfadff8-565c-406d-83c9-b8a23dc799e4" providerId="ADAL" clId="{79B8782D-6048-450E-B85A-CA6AD49BD930}" dt="2021-11-03T08:25:01.846" v="475" actId="1076"/>
          <ac:spMkLst>
            <pc:docMk/>
            <pc:sldMk cId="407682154" sldId="2134804599"/>
            <ac:spMk id="59" creationId="{98068F2C-3561-4EE8-B256-DC0FD9D7CF96}"/>
          </ac:spMkLst>
        </pc:spChg>
        <pc:picChg chg="mod">
          <ac:chgData name="Valentina Bernasconi" userId="acfadff8-565c-406d-83c9-b8a23dc799e4" providerId="ADAL" clId="{79B8782D-6048-450E-B85A-CA6AD49BD930}" dt="2021-11-03T08:25:00.046" v="474" actId="1076"/>
          <ac:picMkLst>
            <pc:docMk/>
            <pc:sldMk cId="407682154" sldId="2134804599"/>
            <ac:picMk id="58" creationId="{9CCE58FE-5592-430A-9FBA-3B8EB6B0C212}"/>
          </ac:picMkLst>
        </pc:picChg>
      </pc:sldChg>
      <pc:sldChg chg="addSp delSp modSp add mod">
        <pc:chgData name="Valentina Bernasconi" userId="acfadff8-565c-406d-83c9-b8a23dc799e4" providerId="ADAL" clId="{79B8782D-6048-450E-B85A-CA6AD49BD930}" dt="2021-11-03T08:19:22.515" v="333" actId="478"/>
        <pc:sldMkLst>
          <pc:docMk/>
          <pc:sldMk cId="3063772549" sldId="2134804600"/>
        </pc:sldMkLst>
        <pc:spChg chg="add del">
          <ac:chgData name="Valentina Bernasconi" userId="acfadff8-565c-406d-83c9-b8a23dc799e4" providerId="ADAL" clId="{79B8782D-6048-450E-B85A-CA6AD49BD930}" dt="2021-11-03T08:19:20.527" v="332" actId="478"/>
          <ac:spMkLst>
            <pc:docMk/>
            <pc:sldMk cId="3063772549" sldId="2134804600"/>
            <ac:spMk id="2" creationId="{25CF49E7-6E55-4B53-8D02-35EC31B2BB39}"/>
          </ac:spMkLst>
        </pc:spChg>
        <pc:spChg chg="add del mod">
          <ac:chgData name="Valentina Bernasconi" userId="acfadff8-565c-406d-83c9-b8a23dc799e4" providerId="ADAL" clId="{79B8782D-6048-450E-B85A-CA6AD49BD930}" dt="2021-11-03T08:19:20.527" v="332" actId="478"/>
          <ac:spMkLst>
            <pc:docMk/>
            <pc:sldMk cId="3063772549" sldId="2134804600"/>
            <ac:spMk id="3" creationId="{C4932D70-C6EE-425C-9838-58E6377F8D64}"/>
          </ac:spMkLst>
        </pc:spChg>
        <pc:spChg chg="add del mod">
          <ac:chgData name="Valentina Bernasconi" userId="acfadff8-565c-406d-83c9-b8a23dc799e4" providerId="ADAL" clId="{79B8782D-6048-450E-B85A-CA6AD49BD930}" dt="2021-11-03T08:19:16.498" v="331" actId="478"/>
          <ac:spMkLst>
            <pc:docMk/>
            <pc:sldMk cId="3063772549" sldId="2134804600"/>
            <ac:spMk id="5" creationId="{C7165205-B567-4804-A8A4-A971B7A26F3C}"/>
          </ac:spMkLst>
        </pc:spChg>
        <pc:spChg chg="add del mod">
          <ac:chgData name="Valentina Bernasconi" userId="acfadff8-565c-406d-83c9-b8a23dc799e4" providerId="ADAL" clId="{79B8782D-6048-450E-B85A-CA6AD49BD930}" dt="2021-11-03T08:19:22.515" v="333" actId="478"/>
          <ac:spMkLst>
            <pc:docMk/>
            <pc:sldMk cId="3063772549" sldId="2134804600"/>
            <ac:spMk id="7" creationId="{187D2372-6F61-4952-9F79-D4EE39AD888A}"/>
          </ac:spMkLst>
        </pc:spChg>
        <pc:picChg chg="add del mod">
          <ac:chgData name="Valentina Bernasconi" userId="acfadff8-565c-406d-83c9-b8a23dc799e4" providerId="ADAL" clId="{79B8782D-6048-450E-B85A-CA6AD49BD930}" dt="2021-11-03T08:19:16.498" v="331" actId="478"/>
          <ac:picMkLst>
            <pc:docMk/>
            <pc:sldMk cId="3063772549" sldId="2134804600"/>
            <ac:picMk id="4" creationId="{25B6A983-FC0A-435D-BA02-B26ABBE0C8AC}"/>
          </ac:picMkLst>
        </pc:picChg>
      </pc:sldChg>
      <pc:sldChg chg="new del">
        <pc:chgData name="Valentina Bernasconi" userId="acfadff8-565c-406d-83c9-b8a23dc799e4" providerId="ADAL" clId="{79B8782D-6048-450E-B85A-CA6AD49BD930}" dt="2021-11-03T08:12:47.851" v="58" actId="680"/>
        <pc:sldMkLst>
          <pc:docMk/>
          <pc:sldMk cId="1732013752" sldId="2134804601"/>
        </pc:sldMkLst>
      </pc:sldChg>
      <pc:sldChg chg="addSp modSp new mod">
        <pc:chgData name="Valentina Bernasconi" userId="acfadff8-565c-406d-83c9-b8a23dc799e4" providerId="ADAL" clId="{79B8782D-6048-450E-B85A-CA6AD49BD930}" dt="2021-12-06T13:16:10.536" v="3580" actId="1076"/>
        <pc:sldMkLst>
          <pc:docMk/>
          <pc:sldMk cId="3736402856" sldId="2134804601"/>
        </pc:sldMkLst>
        <pc:spChg chg="add mod">
          <ac:chgData name="Valentina Bernasconi" userId="acfadff8-565c-406d-83c9-b8a23dc799e4" providerId="ADAL" clId="{79B8782D-6048-450E-B85A-CA6AD49BD930}" dt="2021-12-06T13:16:10.536" v="3580" actId="1076"/>
          <ac:spMkLst>
            <pc:docMk/>
            <pc:sldMk cId="3736402856" sldId="2134804601"/>
            <ac:spMk id="2" creationId="{1D1E30AF-D501-4823-B64F-4F931BABC9C3}"/>
          </ac:spMkLst>
        </pc:spChg>
      </pc:sldChg>
      <pc:sldChg chg="addSp modSp add mod">
        <pc:chgData name="Valentina Bernasconi" userId="acfadff8-565c-406d-83c9-b8a23dc799e4" providerId="ADAL" clId="{79B8782D-6048-450E-B85A-CA6AD49BD930}" dt="2021-11-29T09:37:39.739" v="3042" actId="1076"/>
        <pc:sldMkLst>
          <pc:docMk/>
          <pc:sldMk cId="2281405455" sldId="2134804602"/>
        </pc:sldMkLst>
        <pc:spChg chg="mod">
          <ac:chgData name="Valentina Bernasconi" userId="acfadff8-565c-406d-83c9-b8a23dc799e4" providerId="ADAL" clId="{79B8782D-6048-450E-B85A-CA6AD49BD930}" dt="2021-11-17T10:22:38.085" v="2343" actId="313"/>
          <ac:spMkLst>
            <pc:docMk/>
            <pc:sldMk cId="2281405455" sldId="2134804602"/>
            <ac:spMk id="2" creationId="{25CF49E7-6E55-4B53-8D02-35EC31B2BB39}"/>
          </ac:spMkLst>
        </pc:spChg>
        <pc:spChg chg="mod">
          <ac:chgData name="Valentina Bernasconi" userId="acfadff8-565c-406d-83c9-b8a23dc799e4" providerId="ADAL" clId="{79B8782D-6048-450E-B85A-CA6AD49BD930}" dt="2021-11-03T08:13:02.922" v="69" actId="20577"/>
          <ac:spMkLst>
            <pc:docMk/>
            <pc:sldMk cId="2281405455" sldId="2134804602"/>
            <ac:spMk id="3" creationId="{C4932D70-C6EE-425C-9838-58E6377F8D64}"/>
          </ac:spMkLst>
        </pc:spChg>
        <pc:spChg chg="add mod">
          <ac:chgData name="Valentina Bernasconi" userId="acfadff8-565c-406d-83c9-b8a23dc799e4" providerId="ADAL" clId="{79B8782D-6048-450E-B85A-CA6AD49BD930}" dt="2021-11-29T09:37:39.739" v="3042" actId="1076"/>
          <ac:spMkLst>
            <pc:docMk/>
            <pc:sldMk cId="2281405455" sldId="2134804602"/>
            <ac:spMk id="4" creationId="{DD338E82-880A-4C51-A9E5-2DA601C4833D}"/>
          </ac:spMkLst>
        </pc:spChg>
        <pc:spChg chg="add mod">
          <ac:chgData name="Valentina Bernasconi" userId="acfadff8-565c-406d-83c9-b8a23dc799e4" providerId="ADAL" clId="{79B8782D-6048-450E-B85A-CA6AD49BD930}" dt="2021-11-29T09:37:38.227" v="3041" actId="1076"/>
          <ac:spMkLst>
            <pc:docMk/>
            <pc:sldMk cId="2281405455" sldId="2134804602"/>
            <ac:spMk id="5" creationId="{0882FD01-5F25-4141-B17F-CD27891EE908}"/>
          </ac:spMkLst>
        </pc:spChg>
        <pc:picChg chg="add mod">
          <ac:chgData name="Valentina Bernasconi" userId="acfadff8-565c-406d-83c9-b8a23dc799e4" providerId="ADAL" clId="{79B8782D-6048-450E-B85A-CA6AD49BD930}" dt="2021-11-03T08:34:21.077" v="743" actId="1076"/>
          <ac:picMkLst>
            <pc:docMk/>
            <pc:sldMk cId="2281405455" sldId="2134804602"/>
            <ac:picMk id="8194" creationId="{F30C9984-96EC-48AB-B51C-04C3F67D92CD}"/>
          </ac:picMkLst>
        </pc:picChg>
      </pc:sldChg>
      <pc:sldChg chg="modSp add mod ord">
        <pc:chgData name="Valentina Bernasconi" userId="acfadff8-565c-406d-83c9-b8a23dc799e4" providerId="ADAL" clId="{79B8782D-6048-450E-B85A-CA6AD49BD930}" dt="2021-11-17T10:25:30.093" v="2377" actId="1076"/>
        <pc:sldMkLst>
          <pc:docMk/>
          <pc:sldMk cId="3331159171" sldId="2134804603"/>
        </pc:sldMkLst>
        <pc:spChg chg="mod">
          <ac:chgData name="Valentina Bernasconi" userId="acfadff8-565c-406d-83c9-b8a23dc799e4" providerId="ADAL" clId="{79B8782D-6048-450E-B85A-CA6AD49BD930}" dt="2021-11-17T10:25:30.093" v="2377" actId="1076"/>
          <ac:spMkLst>
            <pc:docMk/>
            <pc:sldMk cId="3331159171" sldId="2134804603"/>
            <ac:spMk id="2" creationId="{25CF49E7-6E55-4B53-8D02-35EC31B2BB39}"/>
          </ac:spMkLst>
        </pc:spChg>
        <pc:spChg chg="mod">
          <ac:chgData name="Valentina Bernasconi" userId="acfadff8-565c-406d-83c9-b8a23dc799e4" providerId="ADAL" clId="{79B8782D-6048-450E-B85A-CA6AD49BD930}" dt="2021-11-03T08:13:26.849" v="92" actId="20577"/>
          <ac:spMkLst>
            <pc:docMk/>
            <pc:sldMk cId="3331159171" sldId="2134804603"/>
            <ac:spMk id="3" creationId="{C4932D70-C6EE-425C-9838-58E6377F8D64}"/>
          </ac:spMkLst>
        </pc:spChg>
      </pc:sldChg>
      <pc:sldChg chg="modSp add mod ord">
        <pc:chgData name="Valentina Bernasconi" userId="acfadff8-565c-406d-83c9-b8a23dc799e4" providerId="ADAL" clId="{79B8782D-6048-450E-B85A-CA6AD49BD930}" dt="2021-11-17T10:25:36.189" v="2379" actId="1076"/>
        <pc:sldMkLst>
          <pc:docMk/>
          <pc:sldMk cId="1552385185" sldId="2134804604"/>
        </pc:sldMkLst>
        <pc:spChg chg="mod">
          <ac:chgData name="Valentina Bernasconi" userId="acfadff8-565c-406d-83c9-b8a23dc799e4" providerId="ADAL" clId="{79B8782D-6048-450E-B85A-CA6AD49BD930}" dt="2021-11-17T10:25:36.189" v="2379" actId="1076"/>
          <ac:spMkLst>
            <pc:docMk/>
            <pc:sldMk cId="1552385185" sldId="2134804604"/>
            <ac:spMk id="2" creationId="{25CF49E7-6E55-4B53-8D02-35EC31B2BB39}"/>
          </ac:spMkLst>
        </pc:spChg>
        <pc:spChg chg="mod">
          <ac:chgData name="Valentina Bernasconi" userId="acfadff8-565c-406d-83c9-b8a23dc799e4" providerId="ADAL" clId="{79B8782D-6048-450E-B85A-CA6AD49BD930}" dt="2021-11-03T08:13:32.946" v="103" actId="20577"/>
          <ac:spMkLst>
            <pc:docMk/>
            <pc:sldMk cId="1552385185" sldId="2134804604"/>
            <ac:spMk id="3" creationId="{C4932D70-C6EE-425C-9838-58E6377F8D64}"/>
          </ac:spMkLst>
        </pc:spChg>
      </pc:sldChg>
      <pc:sldChg chg="addSp delSp modSp add mod ord">
        <pc:chgData name="Valentina Bernasconi" userId="acfadff8-565c-406d-83c9-b8a23dc799e4" providerId="ADAL" clId="{79B8782D-6048-450E-B85A-CA6AD49BD930}" dt="2021-11-17T10:18:40.650" v="2223" actId="20577"/>
        <pc:sldMkLst>
          <pc:docMk/>
          <pc:sldMk cId="949761797" sldId="2134804605"/>
        </pc:sldMkLst>
        <pc:spChg chg="del">
          <ac:chgData name="Valentina Bernasconi" userId="acfadff8-565c-406d-83c9-b8a23dc799e4" providerId="ADAL" clId="{79B8782D-6048-450E-B85A-CA6AD49BD930}" dt="2021-11-03T08:35:09.554" v="745" actId="478"/>
          <ac:spMkLst>
            <pc:docMk/>
            <pc:sldMk cId="949761797" sldId="2134804605"/>
            <ac:spMk id="2" creationId="{25CF49E7-6E55-4B53-8D02-35EC31B2BB39}"/>
          </ac:spMkLst>
        </pc:spChg>
        <pc:spChg chg="mod">
          <ac:chgData name="Valentina Bernasconi" userId="acfadff8-565c-406d-83c9-b8a23dc799e4" providerId="ADAL" clId="{79B8782D-6048-450E-B85A-CA6AD49BD930}" dt="2021-11-03T08:13:55.372" v="131" actId="20577"/>
          <ac:spMkLst>
            <pc:docMk/>
            <pc:sldMk cId="949761797" sldId="2134804605"/>
            <ac:spMk id="3" creationId="{C4932D70-C6EE-425C-9838-58E6377F8D64}"/>
          </ac:spMkLst>
        </pc:spChg>
        <pc:spChg chg="add mod">
          <ac:chgData name="Valentina Bernasconi" userId="acfadff8-565c-406d-83c9-b8a23dc799e4" providerId="ADAL" clId="{79B8782D-6048-450E-B85A-CA6AD49BD930}" dt="2021-11-17T10:18:40.650" v="2223" actId="20577"/>
          <ac:spMkLst>
            <pc:docMk/>
            <pc:sldMk cId="949761797" sldId="2134804605"/>
            <ac:spMk id="8" creationId="{9494008C-D50B-4F4F-B6F7-6A714E591401}"/>
          </ac:spMkLst>
        </pc:spChg>
        <pc:picChg chg="add del mod modCrop">
          <ac:chgData name="Valentina Bernasconi" userId="acfadff8-565c-406d-83c9-b8a23dc799e4" providerId="ADAL" clId="{79B8782D-6048-450E-B85A-CA6AD49BD930}" dt="2021-11-03T08:37:37.415" v="790" actId="478"/>
          <ac:picMkLst>
            <pc:docMk/>
            <pc:sldMk cId="949761797" sldId="2134804605"/>
            <ac:picMk id="5" creationId="{1C5C4817-15A9-49E7-B70D-FAD1E4DEF871}"/>
          </ac:picMkLst>
        </pc:picChg>
        <pc:picChg chg="add del mod modCrop">
          <ac:chgData name="Valentina Bernasconi" userId="acfadff8-565c-406d-83c9-b8a23dc799e4" providerId="ADAL" clId="{79B8782D-6048-450E-B85A-CA6AD49BD930}" dt="2021-11-03T08:35:41.241" v="757" actId="478"/>
          <ac:picMkLst>
            <pc:docMk/>
            <pc:sldMk cId="949761797" sldId="2134804605"/>
            <ac:picMk id="7" creationId="{D3B329B0-279E-4377-97C2-AF4D67FAE439}"/>
          </ac:picMkLst>
        </pc:picChg>
        <pc:picChg chg="add mod">
          <ac:chgData name="Valentina Bernasconi" userId="acfadff8-565c-406d-83c9-b8a23dc799e4" providerId="ADAL" clId="{79B8782D-6048-450E-B85A-CA6AD49BD930}" dt="2021-11-03T08:38:53.724" v="876" actId="688"/>
          <ac:picMkLst>
            <pc:docMk/>
            <pc:sldMk cId="949761797" sldId="2134804605"/>
            <ac:picMk id="9218" creationId="{7D4CB99B-75E9-4D00-BE6D-5599158F1AB4}"/>
          </ac:picMkLst>
        </pc:picChg>
      </pc:sldChg>
      <pc:sldChg chg="add del ord">
        <pc:chgData name="Valentina Bernasconi" userId="acfadff8-565c-406d-83c9-b8a23dc799e4" providerId="ADAL" clId="{79B8782D-6048-450E-B85A-CA6AD49BD930}" dt="2021-11-03T08:39:02.961" v="877" actId="47"/>
        <pc:sldMkLst>
          <pc:docMk/>
          <pc:sldMk cId="3228469729" sldId="2134804606"/>
        </pc:sldMkLst>
      </pc:sldChg>
      <pc:sldChg chg="add del">
        <pc:chgData name="Valentina Bernasconi" userId="acfadff8-565c-406d-83c9-b8a23dc799e4" providerId="ADAL" clId="{79B8782D-6048-450E-B85A-CA6AD49BD930}" dt="2021-11-03T08:20:24.219" v="341"/>
        <pc:sldMkLst>
          <pc:docMk/>
          <pc:sldMk cId="2369180376" sldId="2134804607"/>
        </pc:sldMkLst>
      </pc:sldChg>
      <pc:sldChg chg="addSp modSp add mod">
        <pc:chgData name="Valentina Bernasconi" userId="acfadff8-565c-406d-83c9-b8a23dc799e4" providerId="ADAL" clId="{79B8782D-6048-450E-B85A-CA6AD49BD930}" dt="2021-12-01T13:14:47.115" v="3498" actId="14100"/>
        <pc:sldMkLst>
          <pc:docMk/>
          <pc:sldMk cId="3768821588" sldId="2134804607"/>
        </pc:sldMkLst>
        <pc:spChg chg="mod">
          <ac:chgData name="Valentina Bernasconi" userId="acfadff8-565c-406d-83c9-b8a23dc799e4" providerId="ADAL" clId="{79B8782D-6048-450E-B85A-CA6AD49BD930}" dt="2021-12-01T13:14:47.115" v="3498" actId="14100"/>
          <ac:spMkLst>
            <pc:docMk/>
            <pc:sldMk cId="3768821588" sldId="2134804607"/>
            <ac:spMk id="2" creationId="{25CF49E7-6E55-4B53-8D02-35EC31B2BB39}"/>
          </ac:spMkLst>
        </pc:spChg>
        <pc:spChg chg="mod">
          <ac:chgData name="Valentina Bernasconi" userId="acfadff8-565c-406d-83c9-b8a23dc799e4" providerId="ADAL" clId="{79B8782D-6048-450E-B85A-CA6AD49BD930}" dt="2021-12-01T13:12:55.939" v="3419" actId="14100"/>
          <ac:spMkLst>
            <pc:docMk/>
            <pc:sldMk cId="3768821588" sldId="2134804607"/>
            <ac:spMk id="3" creationId="{C4932D70-C6EE-425C-9838-58E6377F8D64}"/>
          </ac:spMkLst>
        </pc:spChg>
        <pc:picChg chg="add mod">
          <ac:chgData name="Valentina Bernasconi" userId="acfadff8-565c-406d-83c9-b8a23dc799e4" providerId="ADAL" clId="{79B8782D-6048-450E-B85A-CA6AD49BD930}" dt="2021-11-03T08:42:30.475" v="929" actId="1076"/>
          <ac:picMkLst>
            <pc:docMk/>
            <pc:sldMk cId="3768821588" sldId="2134804607"/>
            <ac:picMk id="10242" creationId="{3D01948F-3E56-49C9-9346-3259C1A28173}"/>
          </ac:picMkLst>
        </pc:picChg>
      </pc:sldChg>
      <pc:sldChg chg="addSp delSp modSp new mod">
        <pc:chgData name="Valentina Bernasconi" userId="acfadff8-565c-406d-83c9-b8a23dc799e4" providerId="ADAL" clId="{79B8782D-6048-450E-B85A-CA6AD49BD930}" dt="2021-12-01T13:16:07.163" v="3517" actId="20577"/>
        <pc:sldMkLst>
          <pc:docMk/>
          <pc:sldMk cId="2596047255" sldId="2134804608"/>
        </pc:sldMkLst>
        <pc:spChg chg="add mod">
          <ac:chgData name="Valentina Bernasconi" userId="acfadff8-565c-406d-83c9-b8a23dc799e4" providerId="ADAL" clId="{79B8782D-6048-450E-B85A-CA6AD49BD930}" dt="2021-12-01T13:16:07.163" v="3517" actId="20577"/>
          <ac:spMkLst>
            <pc:docMk/>
            <pc:sldMk cId="2596047255" sldId="2134804608"/>
            <ac:spMk id="2" creationId="{4BD4B3FC-7BCA-46BD-A719-D4AC6D036CB7}"/>
          </ac:spMkLst>
        </pc:spChg>
        <pc:spChg chg="del">
          <ac:chgData name="Valentina Bernasconi" userId="acfadff8-565c-406d-83c9-b8a23dc799e4" providerId="ADAL" clId="{79B8782D-6048-450E-B85A-CA6AD49BD930}" dt="2021-11-03T08:30:55.259" v="614" actId="478"/>
          <ac:spMkLst>
            <pc:docMk/>
            <pc:sldMk cId="2596047255" sldId="2134804608"/>
            <ac:spMk id="2" creationId="{AF3A8EB5-CF0E-4B73-B280-75127BC05408}"/>
          </ac:spMkLst>
        </pc:spChg>
        <pc:spChg chg="mod">
          <ac:chgData name="Valentina Bernasconi" userId="acfadff8-565c-406d-83c9-b8a23dc799e4" providerId="ADAL" clId="{79B8782D-6048-450E-B85A-CA6AD49BD930}" dt="2021-11-03T08:46:02.687" v="1024" actId="20577"/>
          <ac:spMkLst>
            <pc:docMk/>
            <pc:sldMk cId="2596047255" sldId="2134804608"/>
            <ac:spMk id="3" creationId="{37229616-EC80-43A2-B486-54DFF6D5872A}"/>
          </ac:spMkLst>
        </pc:spChg>
        <pc:spChg chg="add del mod">
          <ac:chgData name="Valentina Bernasconi" userId="acfadff8-565c-406d-83c9-b8a23dc799e4" providerId="ADAL" clId="{79B8782D-6048-450E-B85A-CA6AD49BD930}" dt="2021-11-03T08:56:35.291" v="1126"/>
          <ac:spMkLst>
            <pc:docMk/>
            <pc:sldMk cId="2596047255" sldId="2134804608"/>
            <ac:spMk id="7" creationId="{4717AED7-1601-45B4-ABBF-02913A92E918}"/>
          </ac:spMkLst>
        </pc:spChg>
        <pc:grpChg chg="add mod">
          <ac:chgData name="Valentina Bernasconi" userId="acfadff8-565c-406d-83c9-b8a23dc799e4" providerId="ADAL" clId="{79B8782D-6048-450E-B85A-CA6AD49BD930}" dt="2021-11-03T08:32:27.517" v="632" actId="1076"/>
          <ac:grpSpMkLst>
            <pc:docMk/>
            <pc:sldMk cId="2596047255" sldId="2134804608"/>
            <ac:grpSpMk id="6" creationId="{E1FD1AC1-03BF-45A3-8B7B-00CF4437ABCF}"/>
          </ac:grpSpMkLst>
        </pc:grpChg>
        <pc:picChg chg="add mod modCrop">
          <ac:chgData name="Valentina Bernasconi" userId="acfadff8-565c-406d-83c9-b8a23dc799e4" providerId="ADAL" clId="{79B8782D-6048-450E-B85A-CA6AD49BD930}" dt="2021-11-03T08:32:22.209" v="630" actId="164"/>
          <ac:picMkLst>
            <pc:docMk/>
            <pc:sldMk cId="2596047255" sldId="2134804608"/>
            <ac:picMk id="4" creationId="{C22BB6BB-692F-4F95-873C-8EDF401C0432}"/>
          </ac:picMkLst>
        </pc:picChg>
        <pc:picChg chg="add mod modCrop">
          <ac:chgData name="Valentina Bernasconi" userId="acfadff8-565c-406d-83c9-b8a23dc799e4" providerId="ADAL" clId="{79B8782D-6048-450E-B85A-CA6AD49BD930}" dt="2021-11-03T08:32:22.209" v="630" actId="164"/>
          <ac:picMkLst>
            <pc:docMk/>
            <pc:sldMk cId="2596047255" sldId="2134804608"/>
            <ac:picMk id="5" creationId="{74FB5DBD-6142-4FF9-BEC4-A4D8F65F1148}"/>
          </ac:picMkLst>
        </pc:picChg>
        <pc:picChg chg="add del mod">
          <ac:chgData name="Valentina Bernasconi" userId="acfadff8-565c-406d-83c9-b8a23dc799e4" providerId="ADAL" clId="{79B8782D-6048-450E-B85A-CA6AD49BD930}" dt="2021-11-03T08:56:36.214" v="1127" actId="478"/>
          <ac:picMkLst>
            <pc:docMk/>
            <pc:sldMk cId="2596047255" sldId="2134804608"/>
            <ac:picMk id="1026" creationId="{55E3EE07-A643-425C-9624-DFDA227C26AD}"/>
          </ac:picMkLst>
        </pc:picChg>
      </pc:sldChg>
      <pc:sldChg chg="addSp modSp add mod">
        <pc:chgData name="Valentina Bernasconi" userId="acfadff8-565c-406d-83c9-b8a23dc799e4" providerId="ADAL" clId="{79B8782D-6048-450E-B85A-CA6AD49BD930}" dt="2021-12-01T13:16:02.645" v="3516" actId="20577"/>
        <pc:sldMkLst>
          <pc:docMk/>
          <pc:sldMk cId="3354865971" sldId="2134804609"/>
        </pc:sldMkLst>
        <pc:spChg chg="mod">
          <ac:chgData name="Valentina Bernasconi" userId="acfadff8-565c-406d-83c9-b8a23dc799e4" providerId="ADAL" clId="{79B8782D-6048-450E-B85A-CA6AD49BD930}" dt="2021-12-01T13:16:02.645" v="3516" actId="20577"/>
          <ac:spMkLst>
            <pc:docMk/>
            <pc:sldMk cId="3354865971" sldId="2134804609"/>
            <ac:spMk id="2" creationId="{AF3A8EB5-CF0E-4B73-B280-75127BC05408}"/>
          </ac:spMkLst>
        </pc:spChg>
        <pc:spChg chg="mod">
          <ac:chgData name="Valentina Bernasconi" userId="acfadff8-565c-406d-83c9-b8a23dc799e4" providerId="ADAL" clId="{79B8782D-6048-450E-B85A-CA6AD49BD930}" dt="2021-11-17T11:04:50.874" v="2570" actId="20577"/>
          <ac:spMkLst>
            <pc:docMk/>
            <pc:sldMk cId="3354865971" sldId="2134804609"/>
            <ac:spMk id="3" creationId="{37229616-EC80-43A2-B486-54DFF6D5872A}"/>
          </ac:spMkLst>
        </pc:spChg>
        <pc:picChg chg="add mod">
          <ac:chgData name="Valentina Bernasconi" userId="acfadff8-565c-406d-83c9-b8a23dc799e4" providerId="ADAL" clId="{79B8782D-6048-450E-B85A-CA6AD49BD930}" dt="2021-12-01T13:15:58.866" v="3515" actId="1076"/>
          <ac:picMkLst>
            <pc:docMk/>
            <pc:sldMk cId="3354865971" sldId="2134804609"/>
            <ac:picMk id="2050" creationId="{7CE564DB-95A8-48DF-98D3-7FB41F61DED4}"/>
          </ac:picMkLst>
        </pc:picChg>
      </pc:sldChg>
      <pc:sldChg chg="addSp delSp modSp add mod">
        <pc:chgData name="Valentina Bernasconi" userId="acfadff8-565c-406d-83c9-b8a23dc799e4" providerId="ADAL" clId="{79B8782D-6048-450E-B85A-CA6AD49BD930}" dt="2021-11-17T10:27:00.869" v="2401" actId="1076"/>
        <pc:sldMkLst>
          <pc:docMk/>
          <pc:sldMk cId="3471651876" sldId="2134804610"/>
        </pc:sldMkLst>
        <pc:spChg chg="mod">
          <ac:chgData name="Valentina Bernasconi" userId="acfadff8-565c-406d-83c9-b8a23dc799e4" providerId="ADAL" clId="{79B8782D-6048-450E-B85A-CA6AD49BD930}" dt="2021-11-17T10:20:47.594" v="2269" actId="20577"/>
          <ac:spMkLst>
            <pc:docMk/>
            <pc:sldMk cId="3471651876" sldId="2134804610"/>
            <ac:spMk id="3" creationId="{C4932D70-C6EE-425C-9838-58E6377F8D64}"/>
          </ac:spMkLst>
        </pc:spChg>
        <pc:picChg chg="add del mod modCrop">
          <ac:chgData name="Valentina Bernasconi" userId="acfadff8-565c-406d-83c9-b8a23dc799e4" providerId="ADAL" clId="{79B8782D-6048-450E-B85A-CA6AD49BD930}" dt="2021-11-17T10:19:20.478" v="2232" actId="478"/>
          <ac:picMkLst>
            <pc:docMk/>
            <pc:sldMk cId="3471651876" sldId="2134804610"/>
            <ac:picMk id="4" creationId="{D1BF2445-788F-4ABF-B2C5-959B373F9D01}"/>
          </ac:picMkLst>
        </pc:picChg>
        <pc:picChg chg="del">
          <ac:chgData name="Valentina Bernasconi" userId="acfadff8-565c-406d-83c9-b8a23dc799e4" providerId="ADAL" clId="{79B8782D-6048-450E-B85A-CA6AD49BD930}" dt="2021-11-03T08:35:50.337" v="761" actId="478"/>
          <ac:picMkLst>
            <pc:docMk/>
            <pc:sldMk cId="3471651876" sldId="2134804610"/>
            <ac:picMk id="5" creationId="{1C5C4817-15A9-49E7-B70D-FAD1E4DEF871}"/>
          </ac:picMkLst>
        </pc:picChg>
        <pc:picChg chg="add mod modCrop">
          <ac:chgData name="Valentina Bernasconi" userId="acfadff8-565c-406d-83c9-b8a23dc799e4" providerId="ADAL" clId="{79B8782D-6048-450E-B85A-CA6AD49BD930}" dt="2021-11-17T10:27:00.869" v="2401" actId="1076"/>
          <ac:picMkLst>
            <pc:docMk/>
            <pc:sldMk cId="3471651876" sldId="2134804610"/>
            <ac:picMk id="5" creationId="{FDFB544C-BA54-4D1E-A457-0C5242D57A96}"/>
          </ac:picMkLst>
        </pc:picChg>
        <pc:picChg chg="del mod">
          <ac:chgData name="Valentina Bernasconi" userId="acfadff8-565c-406d-83c9-b8a23dc799e4" providerId="ADAL" clId="{79B8782D-6048-450E-B85A-CA6AD49BD930}" dt="2021-11-03T08:54:23.151" v="1029" actId="478"/>
          <ac:picMkLst>
            <pc:docMk/>
            <pc:sldMk cId="3471651876" sldId="2134804610"/>
            <ac:picMk id="7" creationId="{D3B329B0-279E-4377-97C2-AF4D67FAE439}"/>
          </ac:picMkLst>
        </pc:picChg>
      </pc:sldChg>
      <pc:sldChg chg="addSp delSp modSp add mod">
        <pc:chgData name="Valentina Bernasconi" userId="acfadff8-565c-406d-83c9-b8a23dc799e4" providerId="ADAL" clId="{79B8782D-6048-450E-B85A-CA6AD49BD930}" dt="2021-12-01T13:18:34.379" v="3543" actId="1076"/>
        <pc:sldMkLst>
          <pc:docMk/>
          <pc:sldMk cId="741867906" sldId="2134804611"/>
        </pc:sldMkLst>
        <pc:spChg chg="mod">
          <ac:chgData name="Valentina Bernasconi" userId="acfadff8-565c-406d-83c9-b8a23dc799e4" providerId="ADAL" clId="{79B8782D-6048-450E-B85A-CA6AD49BD930}" dt="2021-11-17T10:20:55.209" v="2289" actId="20577"/>
          <ac:spMkLst>
            <pc:docMk/>
            <pc:sldMk cId="741867906" sldId="2134804611"/>
            <ac:spMk id="3" creationId="{C4932D70-C6EE-425C-9838-58E6377F8D64}"/>
          </ac:spMkLst>
        </pc:spChg>
        <pc:picChg chg="add del mod modCrop">
          <ac:chgData name="Valentina Bernasconi" userId="acfadff8-565c-406d-83c9-b8a23dc799e4" providerId="ADAL" clId="{79B8782D-6048-450E-B85A-CA6AD49BD930}" dt="2021-11-17T10:19:52.835" v="2240" actId="478"/>
          <ac:picMkLst>
            <pc:docMk/>
            <pc:sldMk cId="741867906" sldId="2134804611"/>
            <ac:picMk id="4" creationId="{8002C2EE-4F01-4DD7-9E93-E42938D7E9FE}"/>
          </ac:picMkLst>
        </pc:picChg>
        <pc:picChg chg="add mod modCrop">
          <ac:chgData name="Valentina Bernasconi" userId="acfadff8-565c-406d-83c9-b8a23dc799e4" providerId="ADAL" clId="{79B8782D-6048-450E-B85A-CA6AD49BD930}" dt="2021-12-01T13:18:34.379" v="3543" actId="1076"/>
          <ac:picMkLst>
            <pc:docMk/>
            <pc:sldMk cId="741867906" sldId="2134804611"/>
            <ac:picMk id="5" creationId="{9128D051-8CD7-4215-89A4-5CED1736A5E0}"/>
          </ac:picMkLst>
        </pc:picChg>
        <pc:picChg chg="del">
          <ac:chgData name="Valentina Bernasconi" userId="acfadff8-565c-406d-83c9-b8a23dc799e4" providerId="ADAL" clId="{79B8782D-6048-450E-B85A-CA6AD49BD930}" dt="2021-11-03T08:36:02.619" v="766" actId="478"/>
          <ac:picMkLst>
            <pc:docMk/>
            <pc:sldMk cId="741867906" sldId="2134804611"/>
            <ac:picMk id="7" creationId="{D3B329B0-279E-4377-97C2-AF4D67FAE439}"/>
          </ac:picMkLst>
        </pc:picChg>
      </pc:sldChg>
      <pc:sldChg chg="addSp delSp modSp add mod">
        <pc:chgData name="Valentina Bernasconi" userId="acfadff8-565c-406d-83c9-b8a23dc799e4" providerId="ADAL" clId="{79B8782D-6048-450E-B85A-CA6AD49BD930}" dt="2021-12-01T13:18:39.970" v="3545" actId="1076"/>
        <pc:sldMkLst>
          <pc:docMk/>
          <pc:sldMk cId="572775652" sldId="2134804612"/>
        </pc:sldMkLst>
        <pc:spChg chg="mod">
          <ac:chgData name="Valentina Bernasconi" userId="acfadff8-565c-406d-83c9-b8a23dc799e4" providerId="ADAL" clId="{79B8782D-6048-450E-B85A-CA6AD49BD930}" dt="2021-11-17T10:21:56.442" v="2316" actId="20577"/>
          <ac:spMkLst>
            <pc:docMk/>
            <pc:sldMk cId="572775652" sldId="2134804612"/>
            <ac:spMk id="3" creationId="{C4932D70-C6EE-425C-9838-58E6377F8D64}"/>
          </ac:spMkLst>
        </pc:spChg>
        <pc:picChg chg="del">
          <ac:chgData name="Valentina Bernasconi" userId="acfadff8-565c-406d-83c9-b8a23dc799e4" providerId="ADAL" clId="{79B8782D-6048-450E-B85A-CA6AD49BD930}" dt="2021-11-03T08:36:43.301" v="776" actId="478"/>
          <ac:picMkLst>
            <pc:docMk/>
            <pc:sldMk cId="572775652" sldId="2134804612"/>
            <ac:picMk id="4" creationId="{8002C2EE-4F01-4DD7-9E93-E42938D7E9FE}"/>
          </ac:picMkLst>
        </pc:picChg>
        <pc:picChg chg="add mod modCrop">
          <ac:chgData name="Valentina Bernasconi" userId="acfadff8-565c-406d-83c9-b8a23dc799e4" providerId="ADAL" clId="{79B8782D-6048-450E-B85A-CA6AD49BD930}" dt="2021-12-01T13:18:39.970" v="3545" actId="1076"/>
          <ac:picMkLst>
            <pc:docMk/>
            <pc:sldMk cId="572775652" sldId="2134804612"/>
            <ac:picMk id="4" creationId="{B5A9A841-6C58-4B24-AA4C-67B3F9996A91}"/>
          </ac:picMkLst>
        </pc:picChg>
        <pc:picChg chg="add del mod modCrop">
          <ac:chgData name="Valentina Bernasconi" userId="acfadff8-565c-406d-83c9-b8a23dc799e4" providerId="ADAL" clId="{79B8782D-6048-450E-B85A-CA6AD49BD930}" dt="2021-11-17T10:21:33.398" v="2301" actId="478"/>
          <ac:picMkLst>
            <pc:docMk/>
            <pc:sldMk cId="572775652" sldId="2134804612"/>
            <ac:picMk id="5" creationId="{FA78D2CE-CCC1-44AC-9DAC-58F9C51F80F5}"/>
          </ac:picMkLst>
        </pc:picChg>
      </pc:sldChg>
      <pc:sldChg chg="addSp delSp modSp add mod">
        <pc:chgData name="Valentina Bernasconi" userId="acfadff8-565c-406d-83c9-b8a23dc799e4" providerId="ADAL" clId="{79B8782D-6048-450E-B85A-CA6AD49BD930}" dt="2021-12-01T13:18:47.714" v="3547" actId="1076"/>
        <pc:sldMkLst>
          <pc:docMk/>
          <pc:sldMk cId="2118370853" sldId="2134804613"/>
        </pc:sldMkLst>
        <pc:spChg chg="mod">
          <ac:chgData name="Valentina Bernasconi" userId="acfadff8-565c-406d-83c9-b8a23dc799e4" providerId="ADAL" clId="{79B8782D-6048-450E-B85A-CA6AD49BD930}" dt="2021-11-17T10:22:18.901" v="2333" actId="20577"/>
          <ac:spMkLst>
            <pc:docMk/>
            <pc:sldMk cId="2118370853" sldId="2134804613"/>
            <ac:spMk id="3" creationId="{C4932D70-C6EE-425C-9838-58E6377F8D64}"/>
          </ac:spMkLst>
        </pc:spChg>
        <pc:picChg chg="add del mod modCrop">
          <ac:chgData name="Valentina Bernasconi" userId="acfadff8-565c-406d-83c9-b8a23dc799e4" providerId="ADAL" clId="{79B8782D-6048-450E-B85A-CA6AD49BD930}" dt="2021-11-17T10:22:00.014" v="2317" actId="478"/>
          <ac:picMkLst>
            <pc:docMk/>
            <pc:sldMk cId="2118370853" sldId="2134804613"/>
            <ac:picMk id="4" creationId="{3C0A297A-43D8-47D8-AC6D-AA4FBE886BFE}"/>
          </ac:picMkLst>
        </pc:picChg>
        <pc:picChg chg="add mod modCrop">
          <ac:chgData name="Valentina Bernasconi" userId="acfadff8-565c-406d-83c9-b8a23dc799e4" providerId="ADAL" clId="{79B8782D-6048-450E-B85A-CA6AD49BD930}" dt="2021-12-01T13:18:47.714" v="3547" actId="1076"/>
          <ac:picMkLst>
            <pc:docMk/>
            <pc:sldMk cId="2118370853" sldId="2134804613"/>
            <ac:picMk id="4" creationId="{C23D18DE-5B91-40F8-A079-3BB10F04D2CF}"/>
          </ac:picMkLst>
        </pc:picChg>
        <pc:picChg chg="add del mod modCrop">
          <ac:chgData name="Valentina Bernasconi" userId="acfadff8-565c-406d-83c9-b8a23dc799e4" providerId="ADAL" clId="{79B8782D-6048-450E-B85A-CA6AD49BD930}" dt="2021-11-19T13:11:04.249" v="2755" actId="478"/>
          <ac:picMkLst>
            <pc:docMk/>
            <pc:sldMk cId="2118370853" sldId="2134804613"/>
            <ac:picMk id="5" creationId="{7CAFE8AF-B209-4311-A09F-0C4E8562EBDC}"/>
          </ac:picMkLst>
        </pc:picChg>
        <pc:picChg chg="del">
          <ac:chgData name="Valentina Bernasconi" userId="acfadff8-565c-406d-83c9-b8a23dc799e4" providerId="ADAL" clId="{79B8782D-6048-450E-B85A-CA6AD49BD930}" dt="2021-11-03T08:37:15.820" v="783" actId="478"/>
          <ac:picMkLst>
            <pc:docMk/>
            <pc:sldMk cId="2118370853" sldId="2134804613"/>
            <ac:picMk id="5" creationId="{FA78D2CE-CCC1-44AC-9DAC-58F9C51F80F5}"/>
          </ac:picMkLst>
        </pc:picChg>
      </pc:sldChg>
      <pc:sldChg chg="addSp delSp modSp add mod">
        <pc:chgData name="Valentina Bernasconi" userId="acfadff8-565c-406d-83c9-b8a23dc799e4" providerId="ADAL" clId="{79B8782D-6048-450E-B85A-CA6AD49BD930}" dt="2021-12-01T13:18:28.274" v="3542" actId="1076"/>
        <pc:sldMkLst>
          <pc:docMk/>
          <pc:sldMk cId="3646390526" sldId="2134804614"/>
        </pc:sldMkLst>
        <pc:spChg chg="mod">
          <ac:chgData name="Valentina Bernasconi" userId="acfadff8-565c-406d-83c9-b8a23dc799e4" providerId="ADAL" clId="{79B8782D-6048-450E-B85A-CA6AD49BD930}" dt="2021-11-17T10:20:41.215" v="2254" actId="20577"/>
          <ac:spMkLst>
            <pc:docMk/>
            <pc:sldMk cId="3646390526" sldId="2134804614"/>
            <ac:spMk id="3" creationId="{C4932D70-C6EE-425C-9838-58E6377F8D64}"/>
          </ac:spMkLst>
        </pc:spChg>
        <pc:picChg chg="add del mod modCrop">
          <ac:chgData name="Valentina Bernasconi" userId="acfadff8-565c-406d-83c9-b8a23dc799e4" providerId="ADAL" clId="{79B8782D-6048-450E-B85A-CA6AD49BD930}" dt="2021-11-17T10:18:44.655" v="2224" actId="478"/>
          <ac:picMkLst>
            <pc:docMk/>
            <pc:sldMk cId="3646390526" sldId="2134804614"/>
            <ac:picMk id="4" creationId="{8C2673BE-3460-4356-8172-5ABCDD821C0C}"/>
          </ac:picMkLst>
        </pc:picChg>
        <pc:picChg chg="add mod modCrop">
          <ac:chgData name="Valentina Bernasconi" userId="acfadff8-565c-406d-83c9-b8a23dc799e4" providerId="ADAL" clId="{79B8782D-6048-450E-B85A-CA6AD49BD930}" dt="2021-12-01T13:18:28.274" v="3542" actId="1076"/>
          <ac:picMkLst>
            <pc:docMk/>
            <pc:sldMk cId="3646390526" sldId="2134804614"/>
            <ac:picMk id="4" creationId="{C31D265C-5160-4848-9D5B-C91EDE96F4C4}"/>
          </ac:picMkLst>
        </pc:picChg>
        <pc:picChg chg="del mod">
          <ac:chgData name="Valentina Bernasconi" userId="acfadff8-565c-406d-83c9-b8a23dc799e4" providerId="ADAL" clId="{79B8782D-6048-450E-B85A-CA6AD49BD930}" dt="2021-11-08T10:41:33.819" v="1984" actId="478"/>
          <ac:picMkLst>
            <pc:docMk/>
            <pc:sldMk cId="3646390526" sldId="2134804614"/>
            <ac:picMk id="5" creationId="{1C5C4817-15A9-49E7-B70D-FAD1E4DEF871}"/>
          </ac:picMkLst>
        </pc:picChg>
        <pc:picChg chg="add del mod modCrop">
          <ac:chgData name="Valentina Bernasconi" userId="acfadff8-565c-406d-83c9-b8a23dc799e4" providerId="ADAL" clId="{79B8782D-6048-450E-B85A-CA6AD49BD930}" dt="2021-11-19T13:04:25.078" v="2739" actId="478"/>
          <ac:picMkLst>
            <pc:docMk/>
            <pc:sldMk cId="3646390526" sldId="2134804614"/>
            <ac:picMk id="5" creationId="{E60C0CDC-D3E9-41AE-A97D-604150A4A4BD}"/>
          </ac:picMkLst>
        </pc:picChg>
      </pc:sldChg>
      <pc:sldChg chg="add del">
        <pc:chgData name="Valentina Bernasconi" userId="acfadff8-565c-406d-83c9-b8a23dc799e4" providerId="ADAL" clId="{79B8782D-6048-450E-B85A-CA6AD49BD930}" dt="2021-11-03T09:40:07.921" v="1266" actId="2696"/>
        <pc:sldMkLst>
          <pc:docMk/>
          <pc:sldMk cId="2181159516" sldId="2134804688"/>
        </pc:sldMkLst>
      </pc:sldChg>
      <pc:sldChg chg="add del">
        <pc:chgData name="Valentina Bernasconi" userId="acfadff8-565c-406d-83c9-b8a23dc799e4" providerId="ADAL" clId="{79B8782D-6048-450E-B85A-CA6AD49BD930}" dt="2021-11-03T08:44:51.499" v="998" actId="2696"/>
        <pc:sldMkLst>
          <pc:docMk/>
          <pc:sldMk cId="2225898367" sldId="2134804688"/>
        </pc:sldMkLst>
      </pc:sldChg>
      <pc:sldChg chg="add del">
        <pc:chgData name="Valentina Bernasconi" userId="acfadff8-565c-406d-83c9-b8a23dc799e4" providerId="ADAL" clId="{79B8782D-6048-450E-B85A-CA6AD49BD930}" dt="2021-11-03T09:54:03.682" v="1825" actId="2696"/>
        <pc:sldMkLst>
          <pc:docMk/>
          <pc:sldMk cId="2232879349" sldId="2134804688"/>
        </pc:sldMkLst>
      </pc:sldChg>
      <pc:sldChg chg="add">
        <pc:chgData name="Valentina Bernasconi" userId="acfadff8-565c-406d-83c9-b8a23dc799e4" providerId="ADAL" clId="{79B8782D-6048-450E-B85A-CA6AD49BD930}" dt="2021-11-03T09:54:06.864" v="1826"/>
        <pc:sldMkLst>
          <pc:docMk/>
          <pc:sldMk cId="4289783293" sldId="2134804688"/>
        </pc:sldMkLst>
      </pc:sldChg>
      <pc:sldChg chg="addSp delSp modSp new mod">
        <pc:chgData name="Valentina Bernasconi" userId="acfadff8-565c-406d-83c9-b8a23dc799e4" providerId="ADAL" clId="{79B8782D-6048-450E-B85A-CA6AD49BD930}" dt="2021-12-01T13:10:43.548" v="3362" actId="1076"/>
        <pc:sldMkLst>
          <pc:docMk/>
          <pc:sldMk cId="976684925" sldId="2134804689"/>
        </pc:sldMkLst>
        <pc:spChg chg="mod">
          <ac:chgData name="Valentina Bernasconi" userId="acfadff8-565c-406d-83c9-b8a23dc799e4" providerId="ADAL" clId="{79B8782D-6048-450E-B85A-CA6AD49BD930}" dt="2021-11-03T08:55:00.357" v="1075" actId="20577"/>
          <ac:spMkLst>
            <pc:docMk/>
            <pc:sldMk cId="976684925" sldId="2134804689"/>
            <ac:spMk id="2" creationId="{D31DDFC7-462F-4CD0-A2F9-ECA15F5FDA01}"/>
          </ac:spMkLst>
        </pc:spChg>
        <pc:spChg chg="del">
          <ac:chgData name="Valentina Bernasconi" userId="acfadff8-565c-406d-83c9-b8a23dc799e4" providerId="ADAL" clId="{79B8782D-6048-450E-B85A-CA6AD49BD930}" dt="2021-11-03T08:55:03.112" v="1076" actId="478"/>
          <ac:spMkLst>
            <pc:docMk/>
            <pc:sldMk cId="976684925" sldId="2134804689"/>
            <ac:spMk id="3" creationId="{1D5A5CDF-AD71-480D-BACA-99D45EE64FC0}"/>
          </ac:spMkLst>
        </pc:spChg>
        <pc:graphicFrameChg chg="add mod modGraphic">
          <ac:chgData name="Valentina Bernasconi" userId="acfadff8-565c-406d-83c9-b8a23dc799e4" providerId="ADAL" clId="{79B8782D-6048-450E-B85A-CA6AD49BD930}" dt="2021-12-01T13:10:43.548" v="3362" actId="1076"/>
          <ac:graphicFrameMkLst>
            <pc:docMk/>
            <pc:sldMk cId="976684925" sldId="2134804689"/>
            <ac:graphicFrameMk id="3" creationId="{30225090-8968-4FC9-9EC4-E9CA66698294}"/>
          </ac:graphicFrameMkLst>
        </pc:graphicFrameChg>
        <pc:picChg chg="add mod">
          <ac:chgData name="Valentina Bernasconi" userId="acfadff8-565c-406d-83c9-b8a23dc799e4" providerId="ADAL" clId="{79B8782D-6048-450E-B85A-CA6AD49BD930}" dt="2021-12-01T13:10:33.571" v="3359" actId="1076"/>
          <ac:picMkLst>
            <pc:docMk/>
            <pc:sldMk cId="976684925" sldId="2134804689"/>
            <ac:picMk id="4" creationId="{7DD3CF03-C241-434D-99E4-E3E51609FB4E}"/>
          </ac:picMkLst>
        </pc:picChg>
      </pc:sldChg>
      <pc:sldChg chg="addSp modSp add mod">
        <pc:chgData name="Valentina Bernasconi" userId="acfadff8-565c-406d-83c9-b8a23dc799e4" providerId="ADAL" clId="{79B8782D-6048-450E-B85A-CA6AD49BD930}" dt="2021-12-01T09:40:46.264" v="3263" actId="1076"/>
        <pc:sldMkLst>
          <pc:docMk/>
          <pc:sldMk cId="3459826073" sldId="2134804690"/>
        </pc:sldMkLst>
        <pc:spChg chg="mod">
          <ac:chgData name="Valentina Bernasconi" userId="acfadff8-565c-406d-83c9-b8a23dc799e4" providerId="ADAL" clId="{79B8782D-6048-450E-B85A-CA6AD49BD930}" dt="2021-11-03T09:41:28.698" v="1275" actId="20577"/>
          <ac:spMkLst>
            <pc:docMk/>
            <pc:sldMk cId="3459826073" sldId="2134804690"/>
            <ac:spMk id="2" creationId="{D31DDFC7-462F-4CD0-A2F9-ECA15F5FDA01}"/>
          </ac:spMkLst>
        </pc:spChg>
        <pc:graphicFrameChg chg="add mod">
          <ac:chgData name="Valentina Bernasconi" userId="acfadff8-565c-406d-83c9-b8a23dc799e4" providerId="ADAL" clId="{79B8782D-6048-450E-B85A-CA6AD49BD930}" dt="2021-12-01T09:40:46.264" v="3263" actId="1076"/>
          <ac:graphicFrameMkLst>
            <pc:docMk/>
            <pc:sldMk cId="3459826073" sldId="2134804690"/>
            <ac:graphicFrameMk id="3" creationId="{D6393DA6-7285-40C7-9FFB-0437035BB07B}"/>
          </ac:graphicFrameMkLst>
        </pc:graphicFrameChg>
        <pc:picChg chg="add mod">
          <ac:chgData name="Valentina Bernasconi" userId="acfadff8-565c-406d-83c9-b8a23dc799e4" providerId="ADAL" clId="{79B8782D-6048-450E-B85A-CA6AD49BD930}" dt="2021-12-01T09:40:46.264" v="3263" actId="1076"/>
          <ac:picMkLst>
            <pc:docMk/>
            <pc:sldMk cId="3459826073" sldId="2134804690"/>
            <ac:picMk id="4" creationId="{B3F77FEF-9C40-4D18-AAD7-8D2506C0AF6E}"/>
          </ac:picMkLst>
        </pc:picChg>
      </pc:sldChg>
      <pc:sldChg chg="addSp modSp add mod">
        <pc:chgData name="Valentina Bernasconi" userId="acfadff8-565c-406d-83c9-b8a23dc799e4" providerId="ADAL" clId="{79B8782D-6048-450E-B85A-CA6AD49BD930}" dt="2021-12-01T09:41:08.196" v="3267"/>
        <pc:sldMkLst>
          <pc:docMk/>
          <pc:sldMk cId="2636342224" sldId="2134804691"/>
        </pc:sldMkLst>
        <pc:spChg chg="mod">
          <ac:chgData name="Valentina Bernasconi" userId="acfadff8-565c-406d-83c9-b8a23dc799e4" providerId="ADAL" clId="{79B8782D-6048-450E-B85A-CA6AD49BD930}" dt="2021-11-03T08:55:41.847" v="1114" actId="20577"/>
          <ac:spMkLst>
            <pc:docMk/>
            <pc:sldMk cId="2636342224" sldId="2134804691"/>
            <ac:spMk id="2" creationId="{D31DDFC7-462F-4CD0-A2F9-ECA15F5FDA01}"/>
          </ac:spMkLst>
        </pc:spChg>
        <pc:graphicFrameChg chg="add mod">
          <ac:chgData name="Valentina Bernasconi" userId="acfadff8-565c-406d-83c9-b8a23dc799e4" providerId="ADAL" clId="{79B8782D-6048-450E-B85A-CA6AD49BD930}" dt="2021-12-01T09:41:08.196" v="3267"/>
          <ac:graphicFrameMkLst>
            <pc:docMk/>
            <pc:sldMk cId="2636342224" sldId="2134804691"/>
            <ac:graphicFrameMk id="3" creationId="{7EB14C3F-2FB5-42FB-AA7C-6B7A822D2F81}"/>
          </ac:graphicFrameMkLst>
        </pc:graphicFrameChg>
        <pc:picChg chg="add mod">
          <ac:chgData name="Valentina Bernasconi" userId="acfadff8-565c-406d-83c9-b8a23dc799e4" providerId="ADAL" clId="{79B8782D-6048-450E-B85A-CA6AD49BD930}" dt="2021-12-01T09:41:08.196" v="3267"/>
          <ac:picMkLst>
            <pc:docMk/>
            <pc:sldMk cId="2636342224" sldId="2134804691"/>
            <ac:picMk id="4" creationId="{F753DC6C-59B5-4CDF-B62A-7D2040628488}"/>
          </ac:picMkLst>
        </pc:picChg>
      </pc:sldChg>
      <pc:sldChg chg="modSp new del mod">
        <pc:chgData name="Valentina Bernasconi" userId="acfadff8-565c-406d-83c9-b8a23dc799e4" providerId="ADAL" clId="{79B8782D-6048-450E-B85A-CA6AD49BD930}" dt="2021-11-03T09:53:45.966" v="1821" actId="2696"/>
        <pc:sldMkLst>
          <pc:docMk/>
          <pc:sldMk cId="1699196360" sldId="2134804692"/>
        </pc:sldMkLst>
        <pc:spChg chg="mod">
          <ac:chgData name="Valentina Bernasconi" userId="acfadff8-565c-406d-83c9-b8a23dc799e4" providerId="ADAL" clId="{79B8782D-6048-450E-B85A-CA6AD49BD930}" dt="2021-11-03T09:51:36.296" v="1718" actId="20577"/>
          <ac:spMkLst>
            <pc:docMk/>
            <pc:sldMk cId="1699196360" sldId="2134804692"/>
            <ac:spMk id="2" creationId="{B1F969F4-090E-4EEF-86E6-683177BD21AC}"/>
          </ac:spMkLst>
        </pc:spChg>
        <pc:spChg chg="mod">
          <ac:chgData name="Valentina Bernasconi" userId="acfadff8-565c-406d-83c9-b8a23dc799e4" providerId="ADAL" clId="{79B8782D-6048-450E-B85A-CA6AD49BD930}" dt="2021-11-03T09:46:43.384" v="1384" actId="20577"/>
          <ac:spMkLst>
            <pc:docMk/>
            <pc:sldMk cId="1699196360" sldId="2134804692"/>
            <ac:spMk id="3" creationId="{9C2C0DBA-F197-40E2-9C76-5AF8A8CE56AF}"/>
          </ac:spMkLst>
        </pc:spChg>
      </pc:sldChg>
      <pc:sldChg chg="modSp add mod">
        <pc:chgData name="Valentina Bernasconi" userId="acfadff8-565c-406d-83c9-b8a23dc799e4" providerId="ADAL" clId="{79B8782D-6048-450E-B85A-CA6AD49BD930}" dt="2021-12-01T13:18:15.684" v="3541" actId="20577"/>
        <pc:sldMkLst>
          <pc:docMk/>
          <pc:sldMk cId="3338778539" sldId="2134804692"/>
        </pc:sldMkLst>
        <pc:spChg chg="mod">
          <ac:chgData name="Valentina Bernasconi" userId="acfadff8-565c-406d-83c9-b8a23dc799e4" providerId="ADAL" clId="{79B8782D-6048-450E-B85A-CA6AD49BD930}" dt="2021-12-01T13:18:15.684" v="3541" actId="20577"/>
          <ac:spMkLst>
            <pc:docMk/>
            <pc:sldMk cId="3338778539" sldId="2134804692"/>
            <ac:spMk id="2" creationId="{B1F969F4-090E-4EEF-86E6-683177BD21AC}"/>
          </ac:spMkLst>
        </pc:spChg>
      </pc:sldChg>
      <pc:sldChg chg="modSp add del mod">
        <pc:chgData name="Valentina Bernasconi" userId="acfadff8-565c-406d-83c9-b8a23dc799e4" providerId="ADAL" clId="{79B8782D-6048-450E-B85A-CA6AD49BD930}" dt="2021-12-01T13:16:25.866" v="3518" actId="47"/>
        <pc:sldMkLst>
          <pc:docMk/>
          <pc:sldMk cId="2404028960" sldId="2134804693"/>
        </pc:sldMkLst>
        <pc:spChg chg="mod">
          <ac:chgData name="Valentina Bernasconi" userId="acfadff8-565c-406d-83c9-b8a23dc799e4" providerId="ADAL" clId="{79B8782D-6048-450E-B85A-CA6AD49BD930}" dt="2021-11-17T10:23:22.281" v="2345" actId="403"/>
          <ac:spMkLst>
            <pc:docMk/>
            <pc:sldMk cId="2404028960" sldId="2134804693"/>
            <ac:spMk id="2" creationId="{B1F969F4-090E-4EEF-86E6-683177BD21AC}"/>
          </ac:spMkLst>
        </pc:spChg>
      </pc:sldChg>
      <pc:sldChg chg="add del">
        <pc:chgData name="Valentina Bernasconi" userId="acfadff8-565c-406d-83c9-b8a23dc799e4" providerId="ADAL" clId="{79B8782D-6048-450E-B85A-CA6AD49BD930}" dt="2021-11-03T09:53:55.056" v="1823" actId="2696"/>
        <pc:sldMkLst>
          <pc:docMk/>
          <pc:sldMk cId="2406493668" sldId="2134804693"/>
        </pc:sldMkLst>
      </pc:sldChg>
      <pc:sldChg chg="modSp add del mod">
        <pc:chgData name="Valentina Bernasconi" userId="acfadff8-565c-406d-83c9-b8a23dc799e4" providerId="ADAL" clId="{79B8782D-6048-450E-B85A-CA6AD49BD930}" dt="2021-11-03T09:53:45.966" v="1821" actId="2696"/>
        <pc:sldMkLst>
          <pc:docMk/>
          <pc:sldMk cId="3966298793" sldId="2134804693"/>
        </pc:sldMkLst>
        <pc:spChg chg="mod">
          <ac:chgData name="Valentina Bernasconi" userId="acfadff8-565c-406d-83c9-b8a23dc799e4" providerId="ADAL" clId="{79B8782D-6048-450E-B85A-CA6AD49BD930}" dt="2021-11-03T09:53:26.930" v="1820" actId="20577"/>
          <ac:spMkLst>
            <pc:docMk/>
            <pc:sldMk cId="3966298793" sldId="2134804693"/>
            <ac:spMk id="2" creationId="{B1F969F4-090E-4EEF-86E6-683177BD21AC}"/>
          </ac:spMkLst>
        </pc:spChg>
        <pc:spChg chg="mod">
          <ac:chgData name="Valentina Bernasconi" userId="acfadff8-565c-406d-83c9-b8a23dc799e4" providerId="ADAL" clId="{79B8782D-6048-450E-B85A-CA6AD49BD930}" dt="2021-11-03T09:47:32.290" v="1421" actId="20577"/>
          <ac:spMkLst>
            <pc:docMk/>
            <pc:sldMk cId="3966298793" sldId="2134804693"/>
            <ac:spMk id="3" creationId="{9C2C0DBA-F197-40E2-9C76-5AF8A8CE56AF}"/>
          </ac:spMkLst>
        </pc:spChg>
      </pc:sldChg>
      <pc:sldChg chg="addSp delSp modSp new mod ord modAnim">
        <pc:chgData name="Valentina Bernasconi" userId="acfadff8-565c-406d-83c9-b8a23dc799e4" providerId="ADAL" clId="{79B8782D-6048-450E-B85A-CA6AD49BD930}" dt="2021-12-01T15:34:59.313" v="3549"/>
        <pc:sldMkLst>
          <pc:docMk/>
          <pc:sldMk cId="602165998" sldId="2134804694"/>
        </pc:sldMkLst>
        <pc:spChg chg="add del mod">
          <ac:chgData name="Valentina Bernasconi" userId="acfadff8-565c-406d-83c9-b8a23dc799e4" providerId="ADAL" clId="{79B8782D-6048-450E-B85A-CA6AD49BD930}" dt="2021-12-01T15:34:32.275" v="3548" actId="478"/>
          <ac:spMkLst>
            <pc:docMk/>
            <pc:sldMk cId="602165998" sldId="2134804694"/>
            <ac:spMk id="2" creationId="{941E9D5F-C8BD-48C9-BE7C-821D11760250}"/>
          </ac:spMkLst>
        </pc:spChg>
        <pc:picChg chg="add mod">
          <ac:chgData name="Valentina Bernasconi" userId="acfadff8-565c-406d-83c9-b8a23dc799e4" providerId="ADAL" clId="{79B8782D-6048-450E-B85A-CA6AD49BD930}" dt="2021-12-01T15:34:59.313" v="3549"/>
          <ac:picMkLst>
            <pc:docMk/>
            <pc:sldMk cId="602165998" sldId="2134804694"/>
            <ac:picMk id="3" creationId="{EDE7DA13-CCF6-4B70-9869-C2EB2B86F047}"/>
          </ac:picMkLst>
        </pc:picChg>
      </pc:sldChg>
      <pc:sldChg chg="addSp delSp modSp add mod">
        <pc:chgData name="Valentina Bernasconi" userId="acfadff8-565c-406d-83c9-b8a23dc799e4" providerId="ADAL" clId="{79B8782D-6048-450E-B85A-CA6AD49BD930}" dt="2021-12-01T13:18:36.963" v="3544" actId="1076"/>
        <pc:sldMkLst>
          <pc:docMk/>
          <pc:sldMk cId="4161307808" sldId="2134804695"/>
        </pc:sldMkLst>
        <pc:spChg chg="mod">
          <ac:chgData name="Valentina Bernasconi" userId="acfadff8-565c-406d-83c9-b8a23dc799e4" providerId="ADAL" clId="{79B8782D-6048-450E-B85A-CA6AD49BD930}" dt="2021-11-17T10:21:00.624" v="2294" actId="20577"/>
          <ac:spMkLst>
            <pc:docMk/>
            <pc:sldMk cId="4161307808" sldId="2134804695"/>
            <ac:spMk id="3" creationId="{C4932D70-C6EE-425C-9838-58E6377F8D64}"/>
          </ac:spMkLst>
        </pc:spChg>
        <pc:picChg chg="add mod modCrop">
          <ac:chgData name="Valentina Bernasconi" userId="acfadff8-565c-406d-83c9-b8a23dc799e4" providerId="ADAL" clId="{79B8782D-6048-450E-B85A-CA6AD49BD930}" dt="2021-12-01T13:18:36.963" v="3544" actId="1076"/>
          <ac:picMkLst>
            <pc:docMk/>
            <pc:sldMk cId="4161307808" sldId="2134804695"/>
            <ac:picMk id="4" creationId="{4B1DFE54-87BE-4CBE-AF10-B8CFB246189F}"/>
          </ac:picMkLst>
        </pc:picChg>
        <pc:picChg chg="add del mod modCrop">
          <ac:chgData name="Valentina Bernasconi" userId="acfadff8-565c-406d-83c9-b8a23dc799e4" providerId="ADAL" clId="{79B8782D-6048-450E-B85A-CA6AD49BD930}" dt="2021-11-18T11:44:08.344" v="2730" actId="478"/>
          <ac:picMkLst>
            <pc:docMk/>
            <pc:sldMk cId="4161307808" sldId="2134804695"/>
            <ac:picMk id="4" creationId="{C8C13333-7813-40BC-BFA8-3B76EF6B9E08}"/>
          </ac:picMkLst>
        </pc:picChg>
        <pc:picChg chg="add del mod modCrop">
          <ac:chgData name="Valentina Bernasconi" userId="acfadff8-565c-406d-83c9-b8a23dc799e4" providerId="ADAL" clId="{79B8782D-6048-450E-B85A-CA6AD49BD930}" dt="2021-11-19T13:10:37.250" v="2749" actId="478"/>
          <ac:picMkLst>
            <pc:docMk/>
            <pc:sldMk cId="4161307808" sldId="2134804695"/>
            <ac:picMk id="5" creationId="{4F20BBEF-FDF7-450A-8A3F-34428BEE0062}"/>
          </ac:picMkLst>
        </pc:picChg>
        <pc:picChg chg="del">
          <ac:chgData name="Valentina Bernasconi" userId="acfadff8-565c-406d-83c9-b8a23dc799e4" providerId="ADAL" clId="{79B8782D-6048-450E-B85A-CA6AD49BD930}" dt="2021-11-17T10:21:01.887" v="2295" actId="478"/>
          <ac:picMkLst>
            <pc:docMk/>
            <pc:sldMk cId="4161307808" sldId="2134804695"/>
            <ac:picMk id="5" creationId="{9128D051-8CD7-4215-89A4-5CED1736A5E0}"/>
          </ac:picMkLst>
        </pc:picChg>
      </pc:sldChg>
      <pc:sldChg chg="addSp delSp modSp add del mod ord">
        <pc:chgData name="Valentina Bernasconi" userId="acfadff8-565c-406d-83c9-b8a23dc799e4" providerId="ADAL" clId="{79B8782D-6048-450E-B85A-CA6AD49BD930}" dt="2021-11-29T13:11:06.893" v="3064" actId="47"/>
        <pc:sldMkLst>
          <pc:docMk/>
          <pc:sldMk cId="3505960881" sldId="2134804696"/>
        </pc:sldMkLst>
        <pc:spChg chg="del">
          <ac:chgData name="Valentina Bernasconi" userId="acfadff8-565c-406d-83c9-b8a23dc799e4" providerId="ADAL" clId="{79B8782D-6048-450E-B85A-CA6AD49BD930}" dt="2021-11-29T09:32:53.185" v="2882" actId="478"/>
          <ac:spMkLst>
            <pc:docMk/>
            <pc:sldMk cId="3505960881" sldId="2134804696"/>
            <ac:spMk id="2" creationId="{1802C112-98CC-421A-A3B0-FDC42B7E0F6D}"/>
          </ac:spMkLst>
        </pc:spChg>
        <pc:spChg chg="mod">
          <ac:chgData name="Valentina Bernasconi" userId="acfadff8-565c-406d-83c9-b8a23dc799e4" providerId="ADAL" clId="{79B8782D-6048-450E-B85A-CA6AD49BD930}" dt="2021-11-29T09:32:50.870" v="2881" actId="313"/>
          <ac:spMkLst>
            <pc:docMk/>
            <pc:sldMk cId="3505960881" sldId="2134804696"/>
            <ac:spMk id="3" creationId="{CBE1C982-5120-4A6F-8BDC-1EC016B3197F}"/>
          </ac:spMkLst>
        </pc:spChg>
        <pc:spChg chg="add del mod">
          <ac:chgData name="Valentina Bernasconi" userId="acfadff8-565c-406d-83c9-b8a23dc799e4" providerId="ADAL" clId="{79B8782D-6048-450E-B85A-CA6AD49BD930}" dt="2021-11-29T09:33:03.098" v="2883" actId="478"/>
          <ac:spMkLst>
            <pc:docMk/>
            <pc:sldMk cId="3505960881" sldId="2134804696"/>
            <ac:spMk id="5" creationId="{069D15DC-1C76-4648-BF43-D62ECFF1C75F}"/>
          </ac:spMkLst>
        </pc:spChg>
      </pc:sldChg>
      <pc:sldChg chg="addSp delSp modSp add mod">
        <pc:chgData name="Valentina Bernasconi" userId="acfadff8-565c-406d-83c9-b8a23dc799e4" providerId="ADAL" clId="{79B8782D-6048-450E-B85A-CA6AD49BD930}" dt="2021-12-01T09:44:50.621" v="3358" actId="1076"/>
        <pc:sldMkLst>
          <pc:docMk/>
          <pc:sldMk cId="4124643300" sldId="2134804697"/>
        </pc:sldMkLst>
        <pc:spChg chg="del">
          <ac:chgData name="Valentina Bernasconi" userId="acfadff8-565c-406d-83c9-b8a23dc799e4" providerId="ADAL" clId="{79B8782D-6048-450E-B85A-CA6AD49BD930}" dt="2021-11-29T09:33:26.587" v="2903" actId="478"/>
          <ac:spMkLst>
            <pc:docMk/>
            <pc:sldMk cId="4124643300" sldId="2134804697"/>
            <ac:spMk id="2" creationId="{1802C112-98CC-421A-A3B0-FDC42B7E0F6D}"/>
          </ac:spMkLst>
        </pc:spChg>
        <pc:spChg chg="mod">
          <ac:chgData name="Valentina Bernasconi" userId="acfadff8-565c-406d-83c9-b8a23dc799e4" providerId="ADAL" clId="{79B8782D-6048-450E-B85A-CA6AD49BD930}" dt="2021-12-01T09:41:32.827" v="3271" actId="1076"/>
          <ac:spMkLst>
            <pc:docMk/>
            <pc:sldMk cId="4124643300" sldId="2134804697"/>
            <ac:spMk id="3" creationId="{CBE1C982-5120-4A6F-8BDC-1EC016B3197F}"/>
          </ac:spMkLst>
        </pc:spChg>
        <pc:spChg chg="add del mod">
          <ac:chgData name="Valentina Bernasconi" userId="acfadff8-565c-406d-83c9-b8a23dc799e4" providerId="ADAL" clId="{79B8782D-6048-450E-B85A-CA6AD49BD930}" dt="2021-11-29T13:11:49.935" v="3066" actId="478"/>
          <ac:spMkLst>
            <pc:docMk/>
            <pc:sldMk cId="4124643300" sldId="2134804697"/>
            <ac:spMk id="5" creationId="{9C7E08EE-43C4-4AD8-A0CD-E92658AE3986}"/>
          </ac:spMkLst>
        </pc:spChg>
        <pc:spChg chg="add del mod">
          <ac:chgData name="Valentina Bernasconi" userId="acfadff8-565c-406d-83c9-b8a23dc799e4" providerId="ADAL" clId="{79B8782D-6048-450E-B85A-CA6AD49BD930}" dt="2021-11-29T13:11:51.811" v="3067" actId="478"/>
          <ac:spMkLst>
            <pc:docMk/>
            <pc:sldMk cId="4124643300" sldId="2134804697"/>
            <ac:spMk id="7" creationId="{11C1D8C1-16AF-4ED1-83E3-C66B8A11A387}"/>
          </ac:spMkLst>
        </pc:spChg>
        <pc:spChg chg="add del mod">
          <ac:chgData name="Valentina Bernasconi" userId="acfadff8-565c-406d-83c9-b8a23dc799e4" providerId="ADAL" clId="{79B8782D-6048-450E-B85A-CA6AD49BD930}" dt="2021-11-29T13:22:02.235" v="3235"/>
          <ac:spMkLst>
            <pc:docMk/>
            <pc:sldMk cId="4124643300" sldId="2134804697"/>
            <ac:spMk id="13" creationId="{75C34BBA-C73E-4C10-A2B1-FA93BAE0AC54}"/>
          </ac:spMkLst>
        </pc:spChg>
        <pc:spChg chg="add mod">
          <ac:chgData name="Valentina Bernasconi" userId="acfadff8-565c-406d-83c9-b8a23dc799e4" providerId="ADAL" clId="{79B8782D-6048-450E-B85A-CA6AD49BD930}" dt="2021-12-01T09:44:49.598" v="3357" actId="1076"/>
          <ac:spMkLst>
            <pc:docMk/>
            <pc:sldMk cId="4124643300" sldId="2134804697"/>
            <ac:spMk id="14" creationId="{C2A8146D-5492-4DF8-BC24-3C21ADD6B90B}"/>
          </ac:spMkLst>
        </pc:spChg>
        <pc:graphicFrameChg chg="add del mod modGraphic">
          <ac:chgData name="Valentina Bernasconi" userId="acfadff8-565c-406d-83c9-b8a23dc799e4" providerId="ADAL" clId="{79B8782D-6048-450E-B85A-CA6AD49BD930}" dt="2021-12-01T09:40:40.986" v="3261" actId="21"/>
          <ac:graphicFrameMkLst>
            <pc:docMk/>
            <pc:sldMk cId="4124643300" sldId="2134804697"/>
            <ac:graphicFrameMk id="4" creationId="{83891739-B020-4A10-B8F6-649C7474A1A2}"/>
          </ac:graphicFrameMkLst>
        </pc:graphicFrameChg>
        <pc:graphicFrameChg chg="add del mod modGraphic">
          <ac:chgData name="Valentina Bernasconi" userId="acfadff8-565c-406d-83c9-b8a23dc799e4" providerId="ADAL" clId="{79B8782D-6048-450E-B85A-CA6AD49BD930}" dt="2021-12-01T09:40:35.262" v="3259" actId="21"/>
          <ac:graphicFrameMkLst>
            <pc:docMk/>
            <pc:sldMk cId="4124643300" sldId="2134804697"/>
            <ac:graphicFrameMk id="8" creationId="{FEAAE36E-EC3E-4DA5-B793-8767438C9D94}"/>
          </ac:graphicFrameMkLst>
        </pc:graphicFrameChg>
        <pc:graphicFrameChg chg="add del mod modGraphic">
          <ac:chgData name="Valentina Bernasconi" userId="acfadff8-565c-406d-83c9-b8a23dc799e4" providerId="ADAL" clId="{79B8782D-6048-450E-B85A-CA6AD49BD930}" dt="2021-12-01T09:40:50.255" v="3265" actId="21"/>
          <ac:graphicFrameMkLst>
            <pc:docMk/>
            <pc:sldMk cId="4124643300" sldId="2134804697"/>
            <ac:graphicFrameMk id="10" creationId="{95F1A2CF-6F4D-4AE0-865C-AA409F1BA707}"/>
          </ac:graphicFrameMkLst>
        </pc:graphicFrameChg>
        <pc:picChg chg="add del mod modCrop">
          <ac:chgData name="Valentina Bernasconi" userId="acfadff8-565c-406d-83c9-b8a23dc799e4" providerId="ADAL" clId="{79B8782D-6048-450E-B85A-CA6AD49BD930}" dt="2021-12-01T09:40:40.986" v="3261" actId="21"/>
          <ac:picMkLst>
            <pc:docMk/>
            <pc:sldMk cId="4124643300" sldId="2134804697"/>
            <ac:picMk id="6" creationId="{68809AB9-EA13-4DE4-BDDC-A459CCFF6A62}"/>
          </ac:picMkLst>
        </pc:picChg>
        <pc:picChg chg="add del mod">
          <ac:chgData name="Valentina Bernasconi" userId="acfadff8-565c-406d-83c9-b8a23dc799e4" providerId="ADAL" clId="{79B8782D-6048-450E-B85A-CA6AD49BD930}" dt="2021-12-01T09:40:35.262" v="3259" actId="21"/>
          <ac:picMkLst>
            <pc:docMk/>
            <pc:sldMk cId="4124643300" sldId="2134804697"/>
            <ac:picMk id="9" creationId="{770E9DF3-23A9-48AE-B176-BD2034030BAF}"/>
          </ac:picMkLst>
        </pc:picChg>
        <pc:picChg chg="add del mod">
          <ac:chgData name="Valentina Bernasconi" userId="acfadff8-565c-406d-83c9-b8a23dc799e4" providerId="ADAL" clId="{79B8782D-6048-450E-B85A-CA6AD49BD930}" dt="2021-12-01T09:40:50.255" v="3265" actId="21"/>
          <ac:picMkLst>
            <pc:docMk/>
            <pc:sldMk cId="4124643300" sldId="2134804697"/>
            <ac:picMk id="11" creationId="{3E750AC7-1F1A-472A-ABFF-F78DC1B8D21C}"/>
          </ac:picMkLst>
        </pc:picChg>
        <pc:picChg chg="add mod">
          <ac:chgData name="Valentina Bernasconi" userId="acfadff8-565c-406d-83c9-b8a23dc799e4" providerId="ADAL" clId="{79B8782D-6048-450E-B85A-CA6AD49BD930}" dt="2021-12-01T09:43:02.710" v="3317" actId="1076"/>
          <ac:picMkLst>
            <pc:docMk/>
            <pc:sldMk cId="4124643300" sldId="2134804697"/>
            <ac:picMk id="2050" creationId="{3504DE5C-76CC-4C44-9ED6-4564F27FF347}"/>
          </ac:picMkLst>
        </pc:picChg>
        <pc:picChg chg="add mod">
          <ac:chgData name="Valentina Bernasconi" userId="acfadff8-565c-406d-83c9-b8a23dc799e4" providerId="ADAL" clId="{79B8782D-6048-450E-B85A-CA6AD49BD930}" dt="2021-12-01T09:44:50.621" v="3358" actId="1076"/>
          <ac:picMkLst>
            <pc:docMk/>
            <pc:sldMk cId="4124643300" sldId="2134804697"/>
            <ac:picMk id="3074" creationId="{06FAAEC4-93F5-4448-BC20-14AEECD548FB}"/>
          </ac:picMkLst>
        </pc:picChg>
      </pc:sldChg>
      <pc:sldChg chg="modSp add mod">
        <pc:chgData name="Valentina Bernasconi" userId="acfadff8-565c-406d-83c9-b8a23dc799e4" providerId="ADAL" clId="{79B8782D-6048-450E-B85A-CA6AD49BD930}" dt="2021-11-29T09:34:39.894" v="2964" actId="20577"/>
        <pc:sldMkLst>
          <pc:docMk/>
          <pc:sldMk cId="986754999" sldId="2134804698"/>
        </pc:sldMkLst>
        <pc:spChg chg="mod">
          <ac:chgData name="Valentina Bernasconi" userId="acfadff8-565c-406d-83c9-b8a23dc799e4" providerId="ADAL" clId="{79B8782D-6048-450E-B85A-CA6AD49BD930}" dt="2021-11-29T09:34:39.894" v="2964" actId="20577"/>
          <ac:spMkLst>
            <pc:docMk/>
            <pc:sldMk cId="986754999" sldId="2134804698"/>
            <ac:spMk id="2" creationId="{D31DDFC7-462F-4CD0-A2F9-ECA15F5FDA01}"/>
          </ac:spMkLst>
        </pc:spChg>
      </pc:sldChg>
      <pc:sldChg chg="addSp delSp modSp add del mod">
        <pc:chgData name="Valentina Bernasconi" userId="acfadff8-565c-406d-83c9-b8a23dc799e4" providerId="ADAL" clId="{79B8782D-6048-450E-B85A-CA6AD49BD930}" dt="2021-12-06T13:13:35.078" v="3550" actId="47"/>
        <pc:sldMkLst>
          <pc:docMk/>
          <pc:sldMk cId="3286715930" sldId="2134804699"/>
        </pc:sldMkLst>
        <pc:spChg chg="add del">
          <ac:chgData name="Valentina Bernasconi" userId="acfadff8-565c-406d-83c9-b8a23dc799e4" providerId="ADAL" clId="{79B8782D-6048-450E-B85A-CA6AD49BD930}" dt="2021-11-29T13:19:05.568" v="3198"/>
          <ac:spMkLst>
            <pc:docMk/>
            <pc:sldMk cId="3286715930" sldId="2134804699"/>
            <ac:spMk id="2" creationId="{55E35EF0-A57A-4875-9A5D-E5AD75A8A4B4}"/>
          </ac:spMkLst>
        </pc:spChg>
        <pc:spChg chg="add mod">
          <ac:chgData name="Valentina Bernasconi" userId="acfadff8-565c-406d-83c9-b8a23dc799e4" providerId="ADAL" clId="{79B8782D-6048-450E-B85A-CA6AD49BD930}" dt="2021-12-01T09:44:40.310" v="3355" actId="1076"/>
          <ac:spMkLst>
            <pc:docMk/>
            <pc:sldMk cId="3286715930" sldId="2134804699"/>
            <ac:spMk id="12" creationId="{4DB0F872-A481-4687-985B-9301D53243EE}"/>
          </ac:spMkLst>
        </pc:spChg>
        <pc:graphicFrameChg chg="del">
          <ac:chgData name="Valentina Bernasconi" userId="acfadff8-565c-406d-83c9-b8a23dc799e4" providerId="ADAL" clId="{79B8782D-6048-450E-B85A-CA6AD49BD930}" dt="2021-12-01T09:41:18.427" v="3268" actId="478"/>
          <ac:graphicFrameMkLst>
            <pc:docMk/>
            <pc:sldMk cId="3286715930" sldId="2134804699"/>
            <ac:graphicFrameMk id="4" creationId="{83891739-B020-4A10-B8F6-649C7474A1A2}"/>
          </ac:graphicFrameMkLst>
        </pc:graphicFrameChg>
        <pc:graphicFrameChg chg="del">
          <ac:chgData name="Valentina Bernasconi" userId="acfadff8-565c-406d-83c9-b8a23dc799e4" providerId="ADAL" clId="{79B8782D-6048-450E-B85A-CA6AD49BD930}" dt="2021-12-01T09:41:18.427" v="3268" actId="478"/>
          <ac:graphicFrameMkLst>
            <pc:docMk/>
            <pc:sldMk cId="3286715930" sldId="2134804699"/>
            <ac:graphicFrameMk id="8" creationId="{FEAAE36E-EC3E-4DA5-B793-8767438C9D94}"/>
          </ac:graphicFrameMkLst>
        </pc:graphicFrameChg>
        <pc:graphicFrameChg chg="del">
          <ac:chgData name="Valentina Bernasconi" userId="acfadff8-565c-406d-83c9-b8a23dc799e4" providerId="ADAL" clId="{79B8782D-6048-450E-B85A-CA6AD49BD930}" dt="2021-12-01T09:41:02.958" v="3266" actId="21"/>
          <ac:graphicFrameMkLst>
            <pc:docMk/>
            <pc:sldMk cId="3286715930" sldId="2134804699"/>
            <ac:graphicFrameMk id="10" creationId="{95F1A2CF-6F4D-4AE0-865C-AA409F1BA707}"/>
          </ac:graphicFrameMkLst>
        </pc:graphicFrameChg>
        <pc:picChg chg="del">
          <ac:chgData name="Valentina Bernasconi" userId="acfadff8-565c-406d-83c9-b8a23dc799e4" providerId="ADAL" clId="{79B8782D-6048-450E-B85A-CA6AD49BD930}" dt="2021-12-01T09:41:18.427" v="3268" actId="478"/>
          <ac:picMkLst>
            <pc:docMk/>
            <pc:sldMk cId="3286715930" sldId="2134804699"/>
            <ac:picMk id="6" creationId="{68809AB9-EA13-4DE4-BDDC-A459CCFF6A62}"/>
          </ac:picMkLst>
        </pc:picChg>
        <pc:picChg chg="del">
          <ac:chgData name="Valentina Bernasconi" userId="acfadff8-565c-406d-83c9-b8a23dc799e4" providerId="ADAL" clId="{79B8782D-6048-450E-B85A-CA6AD49BD930}" dt="2021-12-01T09:41:18.427" v="3268" actId="478"/>
          <ac:picMkLst>
            <pc:docMk/>
            <pc:sldMk cId="3286715930" sldId="2134804699"/>
            <ac:picMk id="9" creationId="{770E9DF3-23A9-48AE-B176-BD2034030BAF}"/>
          </ac:picMkLst>
        </pc:picChg>
        <pc:picChg chg="del">
          <ac:chgData name="Valentina Bernasconi" userId="acfadff8-565c-406d-83c9-b8a23dc799e4" providerId="ADAL" clId="{79B8782D-6048-450E-B85A-CA6AD49BD930}" dt="2021-12-01T09:41:02.958" v="3266" actId="21"/>
          <ac:picMkLst>
            <pc:docMk/>
            <pc:sldMk cId="3286715930" sldId="2134804699"/>
            <ac:picMk id="11" creationId="{3E750AC7-1F1A-472A-ABFF-F78DC1B8D21C}"/>
          </ac:picMkLst>
        </pc:picChg>
        <pc:picChg chg="add del">
          <ac:chgData name="Valentina Bernasconi" userId="acfadff8-565c-406d-83c9-b8a23dc799e4" providerId="ADAL" clId="{79B8782D-6048-450E-B85A-CA6AD49BD930}" dt="2021-12-01T09:42:59.473" v="3315" actId="478"/>
          <ac:picMkLst>
            <pc:docMk/>
            <pc:sldMk cId="3286715930" sldId="2134804699"/>
            <ac:picMk id="1026" creationId="{B16994EB-5748-4D09-A1DA-BF425EB2EB49}"/>
          </ac:picMkLst>
        </pc:picChg>
        <pc:picChg chg="add mod">
          <ac:chgData name="Valentina Bernasconi" userId="acfadff8-565c-406d-83c9-b8a23dc799e4" providerId="ADAL" clId="{79B8782D-6048-450E-B85A-CA6AD49BD930}" dt="2021-12-01T09:43:35.086" v="3319" actId="1076"/>
          <ac:picMkLst>
            <pc:docMk/>
            <pc:sldMk cId="3286715930" sldId="2134804699"/>
            <ac:picMk id="1028" creationId="{8310187F-CEFF-4D2D-BCA8-E4A2BB201C52}"/>
          </ac:picMkLst>
        </pc:picChg>
        <pc:picChg chg="add mod">
          <ac:chgData name="Valentina Bernasconi" userId="acfadff8-565c-406d-83c9-b8a23dc799e4" providerId="ADAL" clId="{79B8782D-6048-450E-B85A-CA6AD49BD930}" dt="2021-12-01T09:44:38.070" v="3354" actId="1076"/>
          <ac:picMkLst>
            <pc:docMk/>
            <pc:sldMk cId="3286715930" sldId="2134804699"/>
            <ac:picMk id="2050" creationId="{F191C08F-99F5-43C7-8561-F39C92A9DAED}"/>
          </ac:picMkLst>
        </pc:picChg>
        <pc:picChg chg="add del">
          <ac:chgData name="Valentina Bernasconi" userId="acfadff8-565c-406d-83c9-b8a23dc799e4" providerId="ADAL" clId="{79B8782D-6048-450E-B85A-CA6AD49BD930}" dt="2021-11-29T13:19:05.568" v="3198"/>
          <ac:picMkLst>
            <pc:docMk/>
            <pc:sldMk cId="3286715930" sldId="2134804699"/>
            <ac:picMk id="2052" creationId="{39D9F692-42AA-4E36-ACDB-C5FAC9182660}"/>
          </ac:picMkLst>
        </pc:picChg>
      </pc:sldChg>
      <pc:sldChg chg="addSp delSp modSp add mod">
        <pc:chgData name="Valentina Bernasconi" userId="acfadff8-565c-406d-83c9-b8a23dc799e4" providerId="ADAL" clId="{79B8782D-6048-450E-B85A-CA6AD49BD930}" dt="2021-12-01T09:44:29.355" v="3353" actId="20577"/>
        <pc:sldMkLst>
          <pc:docMk/>
          <pc:sldMk cId="2876677021" sldId="2134804700"/>
        </pc:sldMkLst>
        <pc:spChg chg="add mod">
          <ac:chgData name="Valentina Bernasconi" userId="acfadff8-565c-406d-83c9-b8a23dc799e4" providerId="ADAL" clId="{79B8782D-6048-450E-B85A-CA6AD49BD930}" dt="2021-12-01T09:44:29.355" v="3353" actId="20577"/>
          <ac:spMkLst>
            <pc:docMk/>
            <pc:sldMk cId="2876677021" sldId="2134804700"/>
            <ac:spMk id="12" creationId="{31C12201-8FD9-4555-A523-878930A4C7B1}"/>
          </ac:spMkLst>
        </pc:spChg>
        <pc:graphicFrameChg chg="del mod">
          <ac:chgData name="Valentina Bernasconi" userId="acfadff8-565c-406d-83c9-b8a23dc799e4" providerId="ADAL" clId="{79B8782D-6048-450E-B85A-CA6AD49BD930}" dt="2021-12-01T09:41:20.252" v="3269" actId="478"/>
          <ac:graphicFrameMkLst>
            <pc:docMk/>
            <pc:sldMk cId="2876677021" sldId="2134804700"/>
            <ac:graphicFrameMk id="4" creationId="{83891739-B020-4A10-B8F6-649C7474A1A2}"/>
          </ac:graphicFrameMkLst>
        </pc:graphicFrameChg>
        <pc:graphicFrameChg chg="del">
          <ac:chgData name="Valentina Bernasconi" userId="acfadff8-565c-406d-83c9-b8a23dc799e4" providerId="ADAL" clId="{79B8782D-6048-450E-B85A-CA6AD49BD930}" dt="2021-12-01T09:41:20.252" v="3269" actId="478"/>
          <ac:graphicFrameMkLst>
            <pc:docMk/>
            <pc:sldMk cId="2876677021" sldId="2134804700"/>
            <ac:graphicFrameMk id="8" creationId="{FEAAE36E-EC3E-4DA5-B793-8767438C9D94}"/>
          </ac:graphicFrameMkLst>
        </pc:graphicFrameChg>
        <pc:graphicFrameChg chg="del mod">
          <ac:chgData name="Valentina Bernasconi" userId="acfadff8-565c-406d-83c9-b8a23dc799e4" providerId="ADAL" clId="{79B8782D-6048-450E-B85A-CA6AD49BD930}" dt="2021-12-01T09:41:20.252" v="3269" actId="478"/>
          <ac:graphicFrameMkLst>
            <pc:docMk/>
            <pc:sldMk cId="2876677021" sldId="2134804700"/>
            <ac:graphicFrameMk id="10" creationId="{95F1A2CF-6F4D-4AE0-865C-AA409F1BA707}"/>
          </ac:graphicFrameMkLst>
        </pc:graphicFrameChg>
        <pc:picChg chg="del">
          <ac:chgData name="Valentina Bernasconi" userId="acfadff8-565c-406d-83c9-b8a23dc799e4" providerId="ADAL" clId="{79B8782D-6048-450E-B85A-CA6AD49BD930}" dt="2021-12-01T09:41:20.252" v="3269" actId="478"/>
          <ac:picMkLst>
            <pc:docMk/>
            <pc:sldMk cId="2876677021" sldId="2134804700"/>
            <ac:picMk id="6" creationId="{68809AB9-EA13-4DE4-BDDC-A459CCFF6A62}"/>
          </ac:picMkLst>
        </pc:picChg>
        <pc:picChg chg="del">
          <ac:chgData name="Valentina Bernasconi" userId="acfadff8-565c-406d-83c9-b8a23dc799e4" providerId="ADAL" clId="{79B8782D-6048-450E-B85A-CA6AD49BD930}" dt="2021-12-01T09:41:20.252" v="3269" actId="478"/>
          <ac:picMkLst>
            <pc:docMk/>
            <pc:sldMk cId="2876677021" sldId="2134804700"/>
            <ac:picMk id="9" creationId="{770E9DF3-23A9-48AE-B176-BD2034030BAF}"/>
          </ac:picMkLst>
        </pc:picChg>
        <pc:picChg chg="del">
          <ac:chgData name="Valentina Bernasconi" userId="acfadff8-565c-406d-83c9-b8a23dc799e4" providerId="ADAL" clId="{79B8782D-6048-450E-B85A-CA6AD49BD930}" dt="2021-12-01T09:41:20.252" v="3269" actId="478"/>
          <ac:picMkLst>
            <pc:docMk/>
            <pc:sldMk cId="2876677021" sldId="2134804700"/>
            <ac:picMk id="11" creationId="{3E750AC7-1F1A-472A-ABFF-F78DC1B8D21C}"/>
          </ac:picMkLst>
        </pc:picChg>
        <pc:picChg chg="add mod">
          <ac:chgData name="Valentina Bernasconi" userId="acfadff8-565c-406d-83c9-b8a23dc799e4" providerId="ADAL" clId="{79B8782D-6048-450E-B85A-CA6AD49BD930}" dt="2021-12-01T09:43:59.679" v="3326" actId="1076"/>
          <ac:picMkLst>
            <pc:docMk/>
            <pc:sldMk cId="2876677021" sldId="2134804700"/>
            <ac:picMk id="1026" creationId="{68CCD916-260F-4A9D-A521-10F90B84A495}"/>
          </ac:picMkLst>
        </pc:picChg>
        <pc:picChg chg="add mod">
          <ac:chgData name="Valentina Bernasconi" userId="acfadff8-565c-406d-83c9-b8a23dc799e4" providerId="ADAL" clId="{79B8782D-6048-450E-B85A-CA6AD49BD930}" dt="2021-12-01T09:43:56.221" v="3323" actId="1076"/>
          <ac:picMkLst>
            <pc:docMk/>
            <pc:sldMk cId="2876677021" sldId="2134804700"/>
            <ac:picMk id="3074" creationId="{97A08511-62BE-4B33-A6E8-CE1106DCED44}"/>
          </ac:picMkLst>
        </pc:picChg>
      </pc:sldChg>
      <pc:sldChg chg="addSp delSp modSp add mod modClrScheme chgLayout">
        <pc:chgData name="Valentina Bernasconi" userId="acfadff8-565c-406d-83c9-b8a23dc799e4" providerId="ADAL" clId="{79B8782D-6048-450E-B85A-CA6AD49BD930}" dt="2021-12-06T13:20:49.478" v="3965" actId="113"/>
        <pc:sldMkLst>
          <pc:docMk/>
          <pc:sldMk cId="3547615703" sldId="2134804701"/>
        </pc:sldMkLst>
        <pc:spChg chg="del mod ord">
          <ac:chgData name="Valentina Bernasconi" userId="acfadff8-565c-406d-83c9-b8a23dc799e4" providerId="ADAL" clId="{79B8782D-6048-450E-B85A-CA6AD49BD930}" dt="2021-12-06T13:19:38.864" v="3954" actId="26606"/>
          <ac:spMkLst>
            <pc:docMk/>
            <pc:sldMk cId="3547615703" sldId="2134804701"/>
            <ac:spMk id="2" creationId="{1802C112-98CC-421A-A3B0-FDC42B7E0F6D}"/>
          </ac:spMkLst>
        </pc:spChg>
        <pc:spChg chg="mod ord">
          <ac:chgData name="Valentina Bernasconi" userId="acfadff8-565c-406d-83c9-b8a23dc799e4" providerId="ADAL" clId="{79B8782D-6048-450E-B85A-CA6AD49BD930}" dt="2021-12-06T13:19:38.864" v="3954" actId="26606"/>
          <ac:spMkLst>
            <pc:docMk/>
            <pc:sldMk cId="3547615703" sldId="2134804701"/>
            <ac:spMk id="3" creationId="{CBE1C982-5120-4A6F-8BDC-1EC016B3197F}"/>
          </ac:spMkLst>
        </pc:spChg>
        <pc:spChg chg="add del mod">
          <ac:chgData name="Valentina Bernasconi" userId="acfadff8-565c-406d-83c9-b8a23dc799e4" providerId="ADAL" clId="{79B8782D-6048-450E-B85A-CA6AD49BD930}" dt="2021-12-06T13:19:45.977" v="3955" actId="478"/>
          <ac:spMkLst>
            <pc:docMk/>
            <pc:sldMk cId="3547615703" sldId="2134804701"/>
            <ac:spMk id="9" creationId="{3A606846-22A8-4638-A890-FF3E21CFE387}"/>
          </ac:spMkLst>
        </pc:spChg>
        <pc:graphicFrameChg chg="add mod">
          <ac:chgData name="Valentina Bernasconi" userId="acfadff8-565c-406d-83c9-b8a23dc799e4" providerId="ADAL" clId="{79B8782D-6048-450E-B85A-CA6AD49BD930}" dt="2021-12-06T13:20:49.478" v="3965" actId="113"/>
          <ac:graphicFrameMkLst>
            <pc:docMk/>
            <pc:sldMk cId="3547615703" sldId="2134804701"/>
            <ac:graphicFrameMk id="5" creationId="{AA9A4466-58A3-4047-939D-3FA456D9397C}"/>
          </ac:graphicFrameMkLst>
        </pc:graphicFrameChg>
      </pc:sldChg>
      <pc:sldMasterChg chg="delSldLayout">
        <pc:chgData name="Valentina Bernasconi" userId="acfadff8-565c-406d-83c9-b8a23dc799e4" providerId="ADAL" clId="{79B8782D-6048-450E-B85A-CA6AD49BD930}" dt="2021-11-03T09:40:07.921" v="1266" actId="2696"/>
        <pc:sldMasterMkLst>
          <pc:docMk/>
          <pc:sldMasterMk cId="3337786466" sldId="2147483702"/>
        </pc:sldMasterMkLst>
        <pc:sldLayoutChg chg="del">
          <pc:chgData name="Valentina Bernasconi" userId="acfadff8-565c-406d-83c9-b8a23dc799e4" providerId="ADAL" clId="{79B8782D-6048-450E-B85A-CA6AD49BD930}" dt="2021-11-03T08:20:57.487" v="365" actId="47"/>
          <pc:sldLayoutMkLst>
            <pc:docMk/>
            <pc:sldMasterMk cId="3337786466" sldId="2147483702"/>
            <pc:sldLayoutMk cId="1865725991" sldId="2147483721"/>
          </pc:sldLayoutMkLst>
        </pc:sldLayoutChg>
        <pc:sldLayoutChg chg="del">
          <pc:chgData name="Valentina Bernasconi" userId="acfadff8-565c-406d-83c9-b8a23dc799e4" providerId="ADAL" clId="{79B8782D-6048-450E-B85A-CA6AD49BD930}" dt="2021-11-03T09:40:07.921" v="1266" actId="2696"/>
          <pc:sldLayoutMkLst>
            <pc:docMk/>
            <pc:sldMasterMk cId="3337786466" sldId="2147483702"/>
            <pc:sldLayoutMk cId="239714316" sldId="2147483749"/>
          </pc:sldLayoutMkLst>
        </pc:sldLayoutChg>
      </pc:sldMasterChg>
      <pc:sldMasterChg chg="del delSldLayout">
        <pc:chgData name="Valentina Bernasconi" userId="acfadff8-565c-406d-83c9-b8a23dc799e4" providerId="ADAL" clId="{79B8782D-6048-450E-B85A-CA6AD49BD930}" dt="2021-11-03T08:44:51.499" v="998" actId="2696"/>
        <pc:sldMasterMkLst>
          <pc:docMk/>
          <pc:sldMasterMk cId="2810504574" sldId="2147483721"/>
        </pc:sldMasterMkLst>
        <pc:sldLayoutChg chg="del">
          <pc:chgData name="Valentina Bernasconi" userId="acfadff8-565c-406d-83c9-b8a23dc799e4" providerId="ADAL" clId="{79B8782D-6048-450E-B85A-CA6AD49BD930}" dt="2021-11-03T08:44:51.499" v="998" actId="2696"/>
          <pc:sldLayoutMkLst>
            <pc:docMk/>
            <pc:sldMasterMk cId="2810504574" sldId="2147483721"/>
            <pc:sldLayoutMk cId="1911401080" sldId="2147483722"/>
          </pc:sldLayoutMkLst>
        </pc:sldLayoutChg>
        <pc:sldLayoutChg chg="del">
          <pc:chgData name="Valentina Bernasconi" userId="acfadff8-565c-406d-83c9-b8a23dc799e4" providerId="ADAL" clId="{79B8782D-6048-450E-B85A-CA6AD49BD930}" dt="2021-11-03T08:44:51.499" v="998" actId="2696"/>
          <pc:sldLayoutMkLst>
            <pc:docMk/>
            <pc:sldMasterMk cId="2810504574" sldId="2147483721"/>
            <pc:sldLayoutMk cId="3367447774" sldId="2147483723"/>
          </pc:sldLayoutMkLst>
        </pc:sldLayoutChg>
        <pc:sldLayoutChg chg="del">
          <pc:chgData name="Valentina Bernasconi" userId="acfadff8-565c-406d-83c9-b8a23dc799e4" providerId="ADAL" clId="{79B8782D-6048-450E-B85A-CA6AD49BD930}" dt="2021-11-03T08:44:51.499" v="998" actId="2696"/>
          <pc:sldLayoutMkLst>
            <pc:docMk/>
            <pc:sldMasterMk cId="2810504574" sldId="2147483721"/>
            <pc:sldLayoutMk cId="854779379" sldId="2147483724"/>
          </pc:sldLayoutMkLst>
        </pc:sldLayoutChg>
        <pc:sldLayoutChg chg="del">
          <pc:chgData name="Valentina Bernasconi" userId="acfadff8-565c-406d-83c9-b8a23dc799e4" providerId="ADAL" clId="{79B8782D-6048-450E-B85A-CA6AD49BD930}" dt="2021-11-03T08:44:51.499" v="998" actId="2696"/>
          <pc:sldLayoutMkLst>
            <pc:docMk/>
            <pc:sldMasterMk cId="2810504574" sldId="2147483721"/>
            <pc:sldLayoutMk cId="605184774" sldId="2147483725"/>
          </pc:sldLayoutMkLst>
        </pc:sldLayoutChg>
        <pc:sldLayoutChg chg="del">
          <pc:chgData name="Valentina Bernasconi" userId="acfadff8-565c-406d-83c9-b8a23dc799e4" providerId="ADAL" clId="{79B8782D-6048-450E-B85A-CA6AD49BD930}" dt="2021-11-03T08:44:51.499" v="998" actId="2696"/>
          <pc:sldLayoutMkLst>
            <pc:docMk/>
            <pc:sldMasterMk cId="2810504574" sldId="2147483721"/>
            <pc:sldLayoutMk cId="2743431133" sldId="2147483726"/>
          </pc:sldLayoutMkLst>
        </pc:sldLayoutChg>
        <pc:sldLayoutChg chg="del">
          <pc:chgData name="Valentina Bernasconi" userId="acfadff8-565c-406d-83c9-b8a23dc799e4" providerId="ADAL" clId="{79B8782D-6048-450E-B85A-CA6AD49BD930}" dt="2021-11-03T08:44:51.499" v="998" actId="2696"/>
          <pc:sldLayoutMkLst>
            <pc:docMk/>
            <pc:sldMasterMk cId="2810504574" sldId="2147483721"/>
            <pc:sldLayoutMk cId="1804762446" sldId="2147483727"/>
          </pc:sldLayoutMkLst>
        </pc:sldLayoutChg>
        <pc:sldLayoutChg chg="del">
          <pc:chgData name="Valentina Bernasconi" userId="acfadff8-565c-406d-83c9-b8a23dc799e4" providerId="ADAL" clId="{79B8782D-6048-450E-B85A-CA6AD49BD930}" dt="2021-11-03T08:44:51.499" v="998" actId="2696"/>
          <pc:sldLayoutMkLst>
            <pc:docMk/>
            <pc:sldMasterMk cId="2810504574" sldId="2147483721"/>
            <pc:sldLayoutMk cId="4012674976" sldId="2147483728"/>
          </pc:sldLayoutMkLst>
        </pc:sldLayoutChg>
        <pc:sldLayoutChg chg="del">
          <pc:chgData name="Valentina Bernasconi" userId="acfadff8-565c-406d-83c9-b8a23dc799e4" providerId="ADAL" clId="{79B8782D-6048-450E-B85A-CA6AD49BD930}" dt="2021-11-03T08:44:51.499" v="998" actId="2696"/>
          <pc:sldLayoutMkLst>
            <pc:docMk/>
            <pc:sldMasterMk cId="2810504574" sldId="2147483721"/>
            <pc:sldLayoutMk cId="387907230" sldId="2147483729"/>
          </pc:sldLayoutMkLst>
        </pc:sldLayoutChg>
        <pc:sldLayoutChg chg="del">
          <pc:chgData name="Valentina Bernasconi" userId="acfadff8-565c-406d-83c9-b8a23dc799e4" providerId="ADAL" clId="{79B8782D-6048-450E-B85A-CA6AD49BD930}" dt="2021-11-03T08:44:51.499" v="998" actId="2696"/>
          <pc:sldLayoutMkLst>
            <pc:docMk/>
            <pc:sldMasterMk cId="2810504574" sldId="2147483721"/>
            <pc:sldLayoutMk cId="3998113659" sldId="2147483730"/>
          </pc:sldLayoutMkLst>
        </pc:sldLayoutChg>
        <pc:sldLayoutChg chg="del">
          <pc:chgData name="Valentina Bernasconi" userId="acfadff8-565c-406d-83c9-b8a23dc799e4" providerId="ADAL" clId="{79B8782D-6048-450E-B85A-CA6AD49BD930}" dt="2021-11-03T08:44:51.499" v="998" actId="2696"/>
          <pc:sldLayoutMkLst>
            <pc:docMk/>
            <pc:sldMasterMk cId="2810504574" sldId="2147483721"/>
            <pc:sldLayoutMk cId="1329635093" sldId="2147483731"/>
          </pc:sldLayoutMkLst>
        </pc:sldLayoutChg>
        <pc:sldLayoutChg chg="del">
          <pc:chgData name="Valentina Bernasconi" userId="acfadff8-565c-406d-83c9-b8a23dc799e4" providerId="ADAL" clId="{79B8782D-6048-450E-B85A-CA6AD49BD930}" dt="2021-11-03T08:44:51.499" v="998" actId="2696"/>
          <pc:sldLayoutMkLst>
            <pc:docMk/>
            <pc:sldMasterMk cId="2810504574" sldId="2147483721"/>
            <pc:sldLayoutMk cId="508993022" sldId="2147483732"/>
          </pc:sldLayoutMkLst>
        </pc:sldLayoutChg>
        <pc:sldLayoutChg chg="del">
          <pc:chgData name="Valentina Bernasconi" userId="acfadff8-565c-406d-83c9-b8a23dc799e4" providerId="ADAL" clId="{79B8782D-6048-450E-B85A-CA6AD49BD930}" dt="2021-11-03T08:44:51.499" v="998" actId="2696"/>
          <pc:sldLayoutMkLst>
            <pc:docMk/>
            <pc:sldMasterMk cId="2810504574" sldId="2147483721"/>
            <pc:sldLayoutMk cId="3388768469" sldId="2147483733"/>
          </pc:sldLayoutMkLst>
        </pc:sldLayoutChg>
        <pc:sldLayoutChg chg="del">
          <pc:chgData name="Valentina Bernasconi" userId="acfadff8-565c-406d-83c9-b8a23dc799e4" providerId="ADAL" clId="{79B8782D-6048-450E-B85A-CA6AD49BD930}" dt="2021-11-03T08:44:51.499" v="998" actId="2696"/>
          <pc:sldLayoutMkLst>
            <pc:docMk/>
            <pc:sldMasterMk cId="2810504574" sldId="2147483721"/>
            <pc:sldLayoutMk cId="2226762122" sldId="2147483734"/>
          </pc:sldLayoutMkLst>
        </pc:sldLayoutChg>
        <pc:sldLayoutChg chg="del">
          <pc:chgData name="Valentina Bernasconi" userId="acfadff8-565c-406d-83c9-b8a23dc799e4" providerId="ADAL" clId="{79B8782D-6048-450E-B85A-CA6AD49BD930}" dt="2021-11-03T08:44:51.499" v="998" actId="2696"/>
          <pc:sldLayoutMkLst>
            <pc:docMk/>
            <pc:sldMasterMk cId="2810504574" sldId="2147483721"/>
            <pc:sldLayoutMk cId="3548888887" sldId="2147483735"/>
          </pc:sldLayoutMkLst>
        </pc:sldLayoutChg>
        <pc:sldLayoutChg chg="del">
          <pc:chgData name="Valentina Bernasconi" userId="acfadff8-565c-406d-83c9-b8a23dc799e4" providerId="ADAL" clId="{79B8782D-6048-450E-B85A-CA6AD49BD930}" dt="2021-11-03T08:44:51.499" v="998" actId="2696"/>
          <pc:sldLayoutMkLst>
            <pc:docMk/>
            <pc:sldMasterMk cId="2810504574" sldId="2147483721"/>
            <pc:sldLayoutMk cId="3543638576" sldId="2147483736"/>
          </pc:sldLayoutMkLst>
        </pc:sldLayoutChg>
        <pc:sldLayoutChg chg="del">
          <pc:chgData name="Valentina Bernasconi" userId="acfadff8-565c-406d-83c9-b8a23dc799e4" providerId="ADAL" clId="{79B8782D-6048-450E-B85A-CA6AD49BD930}" dt="2021-11-03T08:44:51.499" v="998" actId="2696"/>
          <pc:sldLayoutMkLst>
            <pc:docMk/>
            <pc:sldMasterMk cId="2810504574" sldId="2147483721"/>
            <pc:sldLayoutMk cId="725653088" sldId="2147483737"/>
          </pc:sldLayoutMkLst>
        </pc:sldLayoutChg>
        <pc:sldLayoutChg chg="del">
          <pc:chgData name="Valentina Bernasconi" userId="acfadff8-565c-406d-83c9-b8a23dc799e4" providerId="ADAL" clId="{79B8782D-6048-450E-B85A-CA6AD49BD930}" dt="2021-11-03T08:44:51.499" v="998" actId="2696"/>
          <pc:sldLayoutMkLst>
            <pc:docMk/>
            <pc:sldMasterMk cId="2810504574" sldId="2147483721"/>
            <pc:sldLayoutMk cId="3215244911" sldId="2147483738"/>
          </pc:sldLayoutMkLst>
        </pc:sldLayoutChg>
        <pc:sldLayoutChg chg="del">
          <pc:chgData name="Valentina Bernasconi" userId="acfadff8-565c-406d-83c9-b8a23dc799e4" providerId="ADAL" clId="{79B8782D-6048-450E-B85A-CA6AD49BD930}" dt="2021-11-03T08:44:51.499" v="998" actId="2696"/>
          <pc:sldLayoutMkLst>
            <pc:docMk/>
            <pc:sldMasterMk cId="2810504574" sldId="2147483721"/>
            <pc:sldLayoutMk cId="130128723" sldId="2147483739"/>
          </pc:sldLayoutMkLst>
        </pc:sldLayoutChg>
        <pc:sldLayoutChg chg="del">
          <pc:chgData name="Valentina Bernasconi" userId="acfadff8-565c-406d-83c9-b8a23dc799e4" providerId="ADAL" clId="{79B8782D-6048-450E-B85A-CA6AD49BD930}" dt="2021-11-03T08:44:51.499" v="998" actId="2696"/>
          <pc:sldLayoutMkLst>
            <pc:docMk/>
            <pc:sldMasterMk cId="2810504574" sldId="2147483721"/>
            <pc:sldLayoutMk cId="2146087474" sldId="2147483740"/>
          </pc:sldLayoutMkLst>
        </pc:sldLayoutChg>
        <pc:sldLayoutChg chg="del">
          <pc:chgData name="Valentina Bernasconi" userId="acfadff8-565c-406d-83c9-b8a23dc799e4" providerId="ADAL" clId="{79B8782D-6048-450E-B85A-CA6AD49BD930}" dt="2021-11-03T08:44:51.499" v="998" actId="2696"/>
          <pc:sldLayoutMkLst>
            <pc:docMk/>
            <pc:sldMasterMk cId="2810504574" sldId="2147483721"/>
            <pc:sldLayoutMk cId="3725536218" sldId="2147483741"/>
          </pc:sldLayoutMkLst>
        </pc:sldLayoutChg>
        <pc:sldLayoutChg chg="del">
          <pc:chgData name="Valentina Bernasconi" userId="acfadff8-565c-406d-83c9-b8a23dc799e4" providerId="ADAL" clId="{79B8782D-6048-450E-B85A-CA6AD49BD930}" dt="2021-11-03T08:44:51.499" v="998" actId="2696"/>
          <pc:sldLayoutMkLst>
            <pc:docMk/>
            <pc:sldMasterMk cId="2810504574" sldId="2147483721"/>
            <pc:sldLayoutMk cId="3622775911" sldId="2147483742"/>
          </pc:sldLayoutMkLst>
        </pc:sldLayoutChg>
        <pc:sldLayoutChg chg="del">
          <pc:chgData name="Valentina Bernasconi" userId="acfadff8-565c-406d-83c9-b8a23dc799e4" providerId="ADAL" clId="{79B8782D-6048-450E-B85A-CA6AD49BD930}" dt="2021-11-03T08:44:51.499" v="998" actId="2696"/>
          <pc:sldLayoutMkLst>
            <pc:docMk/>
            <pc:sldMasterMk cId="2810504574" sldId="2147483721"/>
            <pc:sldLayoutMk cId="1631941254" sldId="2147483743"/>
          </pc:sldLayoutMkLst>
        </pc:sldLayoutChg>
        <pc:sldLayoutChg chg="del">
          <pc:chgData name="Valentina Bernasconi" userId="acfadff8-565c-406d-83c9-b8a23dc799e4" providerId="ADAL" clId="{79B8782D-6048-450E-B85A-CA6AD49BD930}" dt="2021-11-03T08:44:51.499" v="998" actId="2696"/>
          <pc:sldLayoutMkLst>
            <pc:docMk/>
            <pc:sldMasterMk cId="2810504574" sldId="2147483721"/>
            <pc:sldLayoutMk cId="3538480189" sldId="2147483744"/>
          </pc:sldLayoutMkLst>
        </pc:sldLayoutChg>
        <pc:sldLayoutChg chg="del">
          <pc:chgData name="Valentina Bernasconi" userId="acfadff8-565c-406d-83c9-b8a23dc799e4" providerId="ADAL" clId="{79B8782D-6048-450E-B85A-CA6AD49BD930}" dt="2021-11-03T08:44:51.499" v="998" actId="2696"/>
          <pc:sldLayoutMkLst>
            <pc:docMk/>
            <pc:sldMasterMk cId="2810504574" sldId="2147483721"/>
            <pc:sldLayoutMk cId="1997980785" sldId="2147483745"/>
          </pc:sldLayoutMkLst>
        </pc:sldLayoutChg>
        <pc:sldLayoutChg chg="del">
          <pc:chgData name="Valentina Bernasconi" userId="acfadff8-565c-406d-83c9-b8a23dc799e4" providerId="ADAL" clId="{79B8782D-6048-450E-B85A-CA6AD49BD930}" dt="2021-11-03T08:44:51.499" v="998" actId="2696"/>
          <pc:sldLayoutMkLst>
            <pc:docMk/>
            <pc:sldMasterMk cId="2810504574" sldId="2147483721"/>
            <pc:sldLayoutMk cId="3163543461" sldId="2147483746"/>
          </pc:sldLayoutMkLst>
        </pc:sldLayoutChg>
        <pc:sldLayoutChg chg="del">
          <pc:chgData name="Valentina Bernasconi" userId="acfadff8-565c-406d-83c9-b8a23dc799e4" providerId="ADAL" clId="{79B8782D-6048-450E-B85A-CA6AD49BD930}" dt="2021-11-03T08:44:51.499" v="998" actId="2696"/>
          <pc:sldLayoutMkLst>
            <pc:docMk/>
            <pc:sldMasterMk cId="2810504574" sldId="2147483721"/>
            <pc:sldLayoutMk cId="492586969" sldId="2147483747"/>
          </pc:sldLayoutMkLst>
        </pc:sldLayoutChg>
      </pc:sldMasterChg>
    </pc:docChg>
  </pc:docChgLst>
  <pc:docChgLst>
    <pc:chgData name="Valentina Bernasconi" userId="acfadff8-565c-406d-83c9-b8a23dc799e4" providerId="ADAL" clId="{5D5B1F4D-F755-4824-AB8D-EFBF404672B5}"/>
    <pc:docChg chg="modSld">
      <pc:chgData name="Valentina Bernasconi" userId="acfadff8-565c-406d-83c9-b8a23dc799e4" providerId="ADAL" clId="{5D5B1F4D-F755-4824-AB8D-EFBF404672B5}" dt="2021-12-08T10:00:22.119" v="13" actId="20577"/>
      <pc:docMkLst>
        <pc:docMk/>
      </pc:docMkLst>
      <pc:sldChg chg="modSp mod">
        <pc:chgData name="Valentina Bernasconi" userId="acfadff8-565c-406d-83c9-b8a23dc799e4" providerId="ADAL" clId="{5D5B1F4D-F755-4824-AB8D-EFBF404672B5}" dt="2021-12-07T07:15:54.417" v="5" actId="20577"/>
        <pc:sldMkLst>
          <pc:docMk/>
          <pc:sldMk cId="2126592859" sldId="316"/>
        </pc:sldMkLst>
        <pc:spChg chg="mod">
          <ac:chgData name="Valentina Bernasconi" userId="acfadff8-565c-406d-83c9-b8a23dc799e4" providerId="ADAL" clId="{5D5B1F4D-F755-4824-AB8D-EFBF404672B5}" dt="2021-12-07T07:15:54.417" v="5" actId="20577"/>
          <ac:spMkLst>
            <pc:docMk/>
            <pc:sldMk cId="2126592859" sldId="316"/>
            <ac:spMk id="3" creationId="{6E79D2EA-ED04-4C3E-AAF7-F972F4E5F724}"/>
          </ac:spMkLst>
        </pc:spChg>
      </pc:sldChg>
      <pc:sldChg chg="modSp mod">
        <pc:chgData name="Valentina Bernasconi" userId="acfadff8-565c-406d-83c9-b8a23dc799e4" providerId="ADAL" clId="{5D5B1F4D-F755-4824-AB8D-EFBF404672B5}" dt="2021-12-08T10:00:22.119" v="13" actId="20577"/>
        <pc:sldMkLst>
          <pc:docMk/>
          <pc:sldMk cId="1547012370" sldId="330"/>
        </pc:sldMkLst>
        <pc:spChg chg="mod">
          <ac:chgData name="Valentina Bernasconi" userId="acfadff8-565c-406d-83c9-b8a23dc799e4" providerId="ADAL" clId="{5D5B1F4D-F755-4824-AB8D-EFBF404672B5}" dt="2021-12-08T10:00:19.780" v="9" actId="20577"/>
          <ac:spMkLst>
            <pc:docMk/>
            <pc:sldMk cId="1547012370" sldId="330"/>
            <ac:spMk id="51" creationId="{1915BE4D-87D3-47F0-960E-F7F2BECFF549}"/>
          </ac:spMkLst>
        </pc:spChg>
        <pc:spChg chg="mod">
          <ac:chgData name="Valentina Bernasconi" userId="acfadff8-565c-406d-83c9-b8a23dc799e4" providerId="ADAL" clId="{5D5B1F4D-F755-4824-AB8D-EFBF404672B5}" dt="2021-12-08T10:00:22.119" v="13" actId="20577"/>
          <ac:spMkLst>
            <pc:docMk/>
            <pc:sldMk cId="1547012370" sldId="330"/>
            <ac:spMk id="52" creationId="{D8DF5C27-902D-4875-8ADA-B3BA0E757DB1}"/>
          </ac:spMkLst>
        </pc:spChg>
      </pc:sldChg>
      <pc:sldChg chg="modSp mod">
        <pc:chgData name="Valentina Bernasconi" userId="acfadff8-565c-406d-83c9-b8a23dc799e4" providerId="ADAL" clId="{5D5B1F4D-F755-4824-AB8D-EFBF404672B5}" dt="2021-12-07T07:24:44.050" v="7" actId="20577"/>
        <pc:sldMkLst>
          <pc:docMk/>
          <pc:sldMk cId="2281405455" sldId="2134804602"/>
        </pc:sldMkLst>
        <pc:spChg chg="mod">
          <ac:chgData name="Valentina Bernasconi" userId="acfadff8-565c-406d-83c9-b8a23dc799e4" providerId="ADAL" clId="{5D5B1F4D-F755-4824-AB8D-EFBF404672B5}" dt="2021-12-07T07:24:44.050" v="7" actId="20577"/>
          <ac:spMkLst>
            <pc:docMk/>
            <pc:sldMk cId="2281405455" sldId="2134804602"/>
            <ac:spMk id="2" creationId="{25CF49E7-6E55-4B53-8D02-35EC31B2BB39}"/>
          </ac:spMkLst>
        </pc:spChg>
      </pc:sldChg>
    </pc:docChg>
  </pc:docChgLst>
  <pc:docChgLst>
    <pc:chgData name="Valentina Bernasconi" userId="S::valentina.bernasconi@cepi.net::acfadff8-565c-406d-83c9-b8a23dc799e4" providerId="AD" clId="Web-{A88252EB-35EB-4B82-AEEA-CFEDA7D633D4}"/>
    <pc:docChg chg="modSld">
      <pc:chgData name="Valentina Bernasconi" userId="S::valentina.bernasconi@cepi.net::acfadff8-565c-406d-83c9-b8a23dc799e4" providerId="AD" clId="Web-{A88252EB-35EB-4B82-AEEA-CFEDA7D633D4}" dt="2021-11-17T08:24:16.705" v="3" actId="20577"/>
      <pc:docMkLst>
        <pc:docMk/>
      </pc:docMkLst>
      <pc:sldChg chg="modSp">
        <pc:chgData name="Valentina Bernasconi" userId="S::valentina.bernasconi@cepi.net::acfadff8-565c-406d-83c9-b8a23dc799e4" providerId="AD" clId="Web-{A88252EB-35EB-4B82-AEEA-CFEDA7D633D4}" dt="2021-11-17T08:24:16.705" v="3" actId="20577"/>
        <pc:sldMkLst>
          <pc:docMk/>
          <pc:sldMk cId="2126592859" sldId="316"/>
        </pc:sldMkLst>
        <pc:spChg chg="mod">
          <ac:chgData name="Valentina Bernasconi" userId="S::valentina.bernasconi@cepi.net::acfadff8-565c-406d-83c9-b8a23dc799e4" providerId="AD" clId="Web-{A88252EB-35EB-4B82-AEEA-CFEDA7D633D4}" dt="2021-11-17T08:24:16.705" v="3" actId="20577"/>
          <ac:spMkLst>
            <pc:docMk/>
            <pc:sldMk cId="2126592859" sldId="316"/>
            <ac:spMk id="4" creationId="{4BCB3F8B-4950-4BE2-B3F6-8411C72C74E9}"/>
          </ac:spMkLst>
        </pc:spChg>
      </pc:sldChg>
    </pc:docChg>
  </pc:docChgLst>
  <pc:docChgLst>
    <pc:chgData name="Ana Paula De Almeida Aranha" userId="6fb46378-b617-46b5-b041-effc0c6cb90f" providerId="ADAL" clId="{48C03173-ACCA-4E88-8037-11C3C7A761B6}"/>
    <pc:docChg chg="undo custSel addSld delSld modSld sldOrd modMainMaster">
      <pc:chgData name="Ana Paula De Almeida Aranha" userId="6fb46378-b617-46b5-b041-effc0c6cb90f" providerId="ADAL" clId="{48C03173-ACCA-4E88-8037-11C3C7A761B6}" dt="2021-10-29T12:01:59.854" v="5822"/>
      <pc:docMkLst>
        <pc:docMk/>
      </pc:docMkLst>
      <pc:sldChg chg="addSp delSp modSp mod">
        <pc:chgData name="Ana Paula De Almeida Aranha" userId="6fb46378-b617-46b5-b041-effc0c6cb90f" providerId="ADAL" clId="{48C03173-ACCA-4E88-8037-11C3C7A761B6}" dt="2021-10-28T08:47:27.294" v="5003" actId="6549"/>
        <pc:sldMkLst>
          <pc:docMk/>
          <pc:sldMk cId="812072345" sldId="314"/>
        </pc:sldMkLst>
        <pc:spChg chg="del mod">
          <ac:chgData name="Ana Paula De Almeida Aranha" userId="6fb46378-b617-46b5-b041-effc0c6cb90f" providerId="ADAL" clId="{48C03173-ACCA-4E88-8037-11C3C7A761B6}" dt="2021-10-27T14:39:33.806" v="273" actId="478"/>
          <ac:spMkLst>
            <pc:docMk/>
            <pc:sldMk cId="812072345" sldId="314"/>
            <ac:spMk id="5" creationId="{BB82019E-E230-4D59-BC10-81CCD5757F35}"/>
          </ac:spMkLst>
        </pc:spChg>
        <pc:spChg chg="del mod">
          <ac:chgData name="Ana Paula De Almeida Aranha" userId="6fb46378-b617-46b5-b041-effc0c6cb90f" providerId="ADAL" clId="{48C03173-ACCA-4E88-8037-11C3C7A761B6}" dt="2021-10-27T14:39:33.806" v="273" actId="478"/>
          <ac:spMkLst>
            <pc:docMk/>
            <pc:sldMk cId="812072345" sldId="314"/>
            <ac:spMk id="6" creationId="{CC9E205B-5B3E-49A8-85D1-8757230DB085}"/>
          </ac:spMkLst>
        </pc:spChg>
        <pc:spChg chg="del mod">
          <ac:chgData name="Ana Paula De Almeida Aranha" userId="6fb46378-b617-46b5-b041-effc0c6cb90f" providerId="ADAL" clId="{48C03173-ACCA-4E88-8037-11C3C7A761B6}" dt="2021-10-27T14:39:33.806" v="273" actId="478"/>
          <ac:spMkLst>
            <pc:docMk/>
            <pc:sldMk cId="812072345" sldId="314"/>
            <ac:spMk id="7" creationId="{5E3B65B6-F67B-4C75-A78E-9F8D4D9580FA}"/>
          </ac:spMkLst>
        </pc:spChg>
        <pc:spChg chg="del mod">
          <ac:chgData name="Ana Paula De Almeida Aranha" userId="6fb46378-b617-46b5-b041-effc0c6cb90f" providerId="ADAL" clId="{48C03173-ACCA-4E88-8037-11C3C7A761B6}" dt="2021-10-27T14:39:33.806" v="273" actId="478"/>
          <ac:spMkLst>
            <pc:docMk/>
            <pc:sldMk cId="812072345" sldId="314"/>
            <ac:spMk id="8" creationId="{CC48E3E9-65D2-4F7A-B694-CB3CAF54D53C}"/>
          </ac:spMkLst>
        </pc:spChg>
        <pc:spChg chg="del mod">
          <ac:chgData name="Ana Paula De Almeida Aranha" userId="6fb46378-b617-46b5-b041-effc0c6cb90f" providerId="ADAL" clId="{48C03173-ACCA-4E88-8037-11C3C7A761B6}" dt="2021-10-27T14:39:33.806" v="273" actId="478"/>
          <ac:spMkLst>
            <pc:docMk/>
            <pc:sldMk cId="812072345" sldId="314"/>
            <ac:spMk id="9" creationId="{874DDBB7-29B2-4C85-B851-D5CB90E0780D}"/>
          </ac:spMkLst>
        </pc:spChg>
        <pc:spChg chg="del mod">
          <ac:chgData name="Ana Paula De Almeida Aranha" userId="6fb46378-b617-46b5-b041-effc0c6cb90f" providerId="ADAL" clId="{48C03173-ACCA-4E88-8037-11C3C7A761B6}" dt="2021-10-27T14:39:33.806" v="273" actId="478"/>
          <ac:spMkLst>
            <pc:docMk/>
            <pc:sldMk cId="812072345" sldId="314"/>
            <ac:spMk id="11" creationId="{E06F8BBC-480F-47B7-B393-B3C2FDBC21C7}"/>
          </ac:spMkLst>
        </pc:spChg>
        <pc:spChg chg="del mod">
          <ac:chgData name="Ana Paula De Almeida Aranha" userId="6fb46378-b617-46b5-b041-effc0c6cb90f" providerId="ADAL" clId="{48C03173-ACCA-4E88-8037-11C3C7A761B6}" dt="2021-10-27T14:39:33.806" v="273" actId="478"/>
          <ac:spMkLst>
            <pc:docMk/>
            <pc:sldMk cId="812072345" sldId="314"/>
            <ac:spMk id="12" creationId="{F8863C37-AAB4-4DEA-96EF-35801F297705}"/>
          </ac:spMkLst>
        </pc:spChg>
        <pc:spChg chg="del mod">
          <ac:chgData name="Ana Paula De Almeida Aranha" userId="6fb46378-b617-46b5-b041-effc0c6cb90f" providerId="ADAL" clId="{48C03173-ACCA-4E88-8037-11C3C7A761B6}" dt="2021-10-27T14:39:33.806" v="273" actId="478"/>
          <ac:spMkLst>
            <pc:docMk/>
            <pc:sldMk cId="812072345" sldId="314"/>
            <ac:spMk id="13" creationId="{341EFC0C-57FF-4BA6-A96C-E70F44E1E796}"/>
          </ac:spMkLst>
        </pc:spChg>
        <pc:spChg chg="del mod">
          <ac:chgData name="Ana Paula De Almeida Aranha" userId="6fb46378-b617-46b5-b041-effc0c6cb90f" providerId="ADAL" clId="{48C03173-ACCA-4E88-8037-11C3C7A761B6}" dt="2021-10-27T14:39:33.806" v="273" actId="478"/>
          <ac:spMkLst>
            <pc:docMk/>
            <pc:sldMk cId="812072345" sldId="314"/>
            <ac:spMk id="15" creationId="{445070EB-1951-42C7-80F3-71FEECCD968D}"/>
          </ac:spMkLst>
        </pc:spChg>
        <pc:spChg chg="del mod">
          <ac:chgData name="Ana Paula De Almeida Aranha" userId="6fb46378-b617-46b5-b041-effc0c6cb90f" providerId="ADAL" clId="{48C03173-ACCA-4E88-8037-11C3C7A761B6}" dt="2021-10-27T14:39:33.806" v="273" actId="478"/>
          <ac:spMkLst>
            <pc:docMk/>
            <pc:sldMk cId="812072345" sldId="314"/>
            <ac:spMk id="16" creationId="{C436DB16-2E73-4020-810E-A58CD61AA776}"/>
          </ac:spMkLst>
        </pc:spChg>
        <pc:spChg chg="del mod">
          <ac:chgData name="Ana Paula De Almeida Aranha" userId="6fb46378-b617-46b5-b041-effc0c6cb90f" providerId="ADAL" clId="{48C03173-ACCA-4E88-8037-11C3C7A761B6}" dt="2021-10-27T14:39:33.806" v="273" actId="478"/>
          <ac:spMkLst>
            <pc:docMk/>
            <pc:sldMk cId="812072345" sldId="314"/>
            <ac:spMk id="27" creationId="{C586407B-DA11-42B4-B9CB-491D553DD836}"/>
          </ac:spMkLst>
        </pc:spChg>
        <pc:spChg chg="del mod">
          <ac:chgData name="Ana Paula De Almeida Aranha" userId="6fb46378-b617-46b5-b041-effc0c6cb90f" providerId="ADAL" clId="{48C03173-ACCA-4E88-8037-11C3C7A761B6}" dt="2021-10-27T14:39:33.806" v="273" actId="478"/>
          <ac:spMkLst>
            <pc:docMk/>
            <pc:sldMk cId="812072345" sldId="314"/>
            <ac:spMk id="28" creationId="{5F1FBFB3-2408-4ACA-8999-A0F6B4903E02}"/>
          </ac:spMkLst>
        </pc:spChg>
        <pc:spChg chg="del mod">
          <ac:chgData name="Ana Paula De Almeida Aranha" userId="6fb46378-b617-46b5-b041-effc0c6cb90f" providerId="ADAL" clId="{48C03173-ACCA-4E88-8037-11C3C7A761B6}" dt="2021-10-27T14:39:33.806" v="273" actId="478"/>
          <ac:spMkLst>
            <pc:docMk/>
            <pc:sldMk cId="812072345" sldId="314"/>
            <ac:spMk id="29" creationId="{057251BE-2A09-4D56-9D9E-6A00956F62A6}"/>
          </ac:spMkLst>
        </pc:spChg>
        <pc:spChg chg="del mod">
          <ac:chgData name="Ana Paula De Almeida Aranha" userId="6fb46378-b617-46b5-b041-effc0c6cb90f" providerId="ADAL" clId="{48C03173-ACCA-4E88-8037-11C3C7A761B6}" dt="2021-10-27T14:39:33.806" v="273" actId="478"/>
          <ac:spMkLst>
            <pc:docMk/>
            <pc:sldMk cId="812072345" sldId="314"/>
            <ac:spMk id="30" creationId="{BAB876E3-5CA4-4289-A553-7B26F6F75A61}"/>
          </ac:spMkLst>
        </pc:spChg>
        <pc:spChg chg="mod">
          <ac:chgData name="Ana Paula De Almeida Aranha" userId="6fb46378-b617-46b5-b041-effc0c6cb90f" providerId="ADAL" clId="{48C03173-ACCA-4E88-8037-11C3C7A761B6}" dt="2021-10-28T08:14:09.242" v="3991" actId="6549"/>
          <ac:spMkLst>
            <pc:docMk/>
            <pc:sldMk cId="812072345" sldId="314"/>
            <ac:spMk id="35" creationId="{E70A1D0B-75C8-49ED-B784-A611E9EDACB4}"/>
          </ac:spMkLst>
        </pc:spChg>
        <pc:spChg chg="mod">
          <ac:chgData name="Ana Paula De Almeida Aranha" userId="6fb46378-b617-46b5-b041-effc0c6cb90f" providerId="ADAL" clId="{48C03173-ACCA-4E88-8037-11C3C7A761B6}" dt="2021-10-27T15:06:58.792" v="2187" actId="1076"/>
          <ac:spMkLst>
            <pc:docMk/>
            <pc:sldMk cId="812072345" sldId="314"/>
            <ac:spMk id="36" creationId="{F1432BB2-B91F-4A75-BE3E-A4EA8242628E}"/>
          </ac:spMkLst>
        </pc:spChg>
        <pc:spChg chg="mod">
          <ac:chgData name="Ana Paula De Almeida Aranha" userId="6fb46378-b617-46b5-b041-effc0c6cb90f" providerId="ADAL" clId="{48C03173-ACCA-4E88-8037-11C3C7A761B6}" dt="2021-10-27T14:44:11.096" v="382" actId="20578"/>
          <ac:spMkLst>
            <pc:docMk/>
            <pc:sldMk cId="812072345" sldId="314"/>
            <ac:spMk id="38" creationId="{928D9D17-8C39-42CA-A9C0-FD149FEF0C7F}"/>
          </ac:spMkLst>
        </pc:spChg>
        <pc:spChg chg="del mod">
          <ac:chgData name="Ana Paula De Almeida Aranha" userId="6fb46378-b617-46b5-b041-effc0c6cb90f" providerId="ADAL" clId="{48C03173-ACCA-4E88-8037-11C3C7A761B6}" dt="2021-10-27T14:33:31.872" v="137" actId="478"/>
          <ac:spMkLst>
            <pc:docMk/>
            <pc:sldMk cId="812072345" sldId="314"/>
            <ac:spMk id="40" creationId="{1AE0CB7A-D933-4346-A239-89E9F4FFEA7D}"/>
          </ac:spMkLst>
        </pc:spChg>
        <pc:spChg chg="del mod">
          <ac:chgData name="Ana Paula De Almeida Aranha" userId="6fb46378-b617-46b5-b041-effc0c6cb90f" providerId="ADAL" clId="{48C03173-ACCA-4E88-8037-11C3C7A761B6}" dt="2021-10-27T14:39:33.806" v="273" actId="478"/>
          <ac:spMkLst>
            <pc:docMk/>
            <pc:sldMk cId="812072345" sldId="314"/>
            <ac:spMk id="42" creationId="{5CF609DA-46D6-4904-9BCC-A1AD643840CB}"/>
          </ac:spMkLst>
        </pc:spChg>
        <pc:spChg chg="del mod">
          <ac:chgData name="Ana Paula De Almeida Aranha" userId="6fb46378-b617-46b5-b041-effc0c6cb90f" providerId="ADAL" clId="{48C03173-ACCA-4E88-8037-11C3C7A761B6}" dt="2021-10-27T14:33:34.515" v="138" actId="478"/>
          <ac:spMkLst>
            <pc:docMk/>
            <pc:sldMk cId="812072345" sldId="314"/>
            <ac:spMk id="43" creationId="{0961CB53-1B4F-4C23-BEC9-081F21995244}"/>
          </ac:spMkLst>
        </pc:spChg>
        <pc:spChg chg="mod">
          <ac:chgData name="Ana Paula De Almeida Aranha" userId="6fb46378-b617-46b5-b041-effc0c6cb90f" providerId="ADAL" clId="{48C03173-ACCA-4E88-8037-11C3C7A761B6}" dt="2021-10-27T14:47:50.595" v="437" actId="14100"/>
          <ac:spMkLst>
            <pc:docMk/>
            <pc:sldMk cId="812072345" sldId="314"/>
            <ac:spMk id="45" creationId="{A05BC7C4-05C7-4447-8B72-264A841E5257}"/>
          </ac:spMkLst>
        </pc:spChg>
        <pc:spChg chg="mod">
          <ac:chgData name="Ana Paula De Almeida Aranha" userId="6fb46378-b617-46b5-b041-effc0c6cb90f" providerId="ADAL" clId="{48C03173-ACCA-4E88-8037-11C3C7A761B6}" dt="2021-10-27T14:26:01.083" v="11" actId="20577"/>
          <ac:spMkLst>
            <pc:docMk/>
            <pc:sldMk cId="812072345" sldId="314"/>
            <ac:spMk id="46" creationId="{63754E9E-1C6A-4536-8EB9-FF925CA9CB35}"/>
          </ac:spMkLst>
        </pc:spChg>
        <pc:spChg chg="del mod">
          <ac:chgData name="Ana Paula De Almeida Aranha" userId="6fb46378-b617-46b5-b041-effc0c6cb90f" providerId="ADAL" clId="{48C03173-ACCA-4E88-8037-11C3C7A761B6}" dt="2021-10-27T14:36:32.404" v="238" actId="478"/>
          <ac:spMkLst>
            <pc:docMk/>
            <pc:sldMk cId="812072345" sldId="314"/>
            <ac:spMk id="48" creationId="{624EDB30-8AAD-4475-8ACA-AF9678F777C0}"/>
          </ac:spMkLst>
        </pc:spChg>
        <pc:spChg chg="del mod">
          <ac:chgData name="Ana Paula De Almeida Aranha" userId="6fb46378-b617-46b5-b041-effc0c6cb90f" providerId="ADAL" clId="{48C03173-ACCA-4E88-8037-11C3C7A761B6}" dt="2021-10-27T14:36:39.555" v="240" actId="478"/>
          <ac:spMkLst>
            <pc:docMk/>
            <pc:sldMk cId="812072345" sldId="314"/>
            <ac:spMk id="49" creationId="{98CC1B53-DCE7-487D-B8D8-C374535824F8}"/>
          </ac:spMkLst>
        </pc:spChg>
        <pc:spChg chg="del mod">
          <ac:chgData name="Ana Paula De Almeida Aranha" userId="6fb46378-b617-46b5-b041-effc0c6cb90f" providerId="ADAL" clId="{48C03173-ACCA-4E88-8037-11C3C7A761B6}" dt="2021-10-27T14:47:36.253" v="433" actId="478"/>
          <ac:spMkLst>
            <pc:docMk/>
            <pc:sldMk cId="812072345" sldId="314"/>
            <ac:spMk id="51" creationId="{16201E1A-69DC-496A-9E6F-D85AD2BD7759}"/>
          </ac:spMkLst>
        </pc:spChg>
        <pc:spChg chg="mod">
          <ac:chgData name="Ana Paula De Almeida Aranha" userId="6fb46378-b617-46b5-b041-effc0c6cb90f" providerId="ADAL" clId="{48C03173-ACCA-4E88-8037-11C3C7A761B6}" dt="2021-10-27T14:47:22.402" v="432" actId="113"/>
          <ac:spMkLst>
            <pc:docMk/>
            <pc:sldMk cId="812072345" sldId="314"/>
            <ac:spMk id="53" creationId="{3B607AB5-A2A9-47F2-9B20-7410FD40AB6E}"/>
          </ac:spMkLst>
        </pc:spChg>
        <pc:spChg chg="mod">
          <ac:chgData name="Ana Paula De Almeida Aranha" userId="6fb46378-b617-46b5-b041-effc0c6cb90f" providerId="ADAL" clId="{48C03173-ACCA-4E88-8037-11C3C7A761B6}" dt="2021-10-27T14:47:09.361" v="425" actId="21"/>
          <ac:spMkLst>
            <pc:docMk/>
            <pc:sldMk cId="812072345" sldId="314"/>
            <ac:spMk id="54" creationId="{F5D5BE12-D631-4DD8-8C43-4961C23D9000}"/>
          </ac:spMkLst>
        </pc:spChg>
        <pc:spChg chg="del mod">
          <ac:chgData name="Ana Paula De Almeida Aranha" userId="6fb46378-b617-46b5-b041-effc0c6cb90f" providerId="ADAL" clId="{48C03173-ACCA-4E88-8037-11C3C7A761B6}" dt="2021-10-27T14:34:19.742" v="186" actId="478"/>
          <ac:spMkLst>
            <pc:docMk/>
            <pc:sldMk cId="812072345" sldId="314"/>
            <ac:spMk id="55" creationId="{44F83EA9-4622-4887-A387-EF9AE57DEC11}"/>
          </ac:spMkLst>
        </pc:spChg>
        <pc:spChg chg="mod">
          <ac:chgData name="Ana Paula De Almeida Aranha" userId="6fb46378-b617-46b5-b041-effc0c6cb90f" providerId="ADAL" clId="{48C03173-ACCA-4E88-8037-11C3C7A761B6}" dt="2021-10-27T14:44:11.096" v="382" actId="20578"/>
          <ac:spMkLst>
            <pc:docMk/>
            <pc:sldMk cId="812072345" sldId="314"/>
            <ac:spMk id="56" creationId="{1C833EFD-DF63-4657-8B86-2D29863210F4}"/>
          </ac:spMkLst>
        </pc:spChg>
        <pc:spChg chg="mod">
          <ac:chgData name="Ana Paula De Almeida Aranha" userId="6fb46378-b617-46b5-b041-effc0c6cb90f" providerId="ADAL" clId="{48C03173-ACCA-4E88-8037-11C3C7A761B6}" dt="2021-10-28T08:47:02.488" v="5001" actId="20577"/>
          <ac:spMkLst>
            <pc:docMk/>
            <pc:sldMk cId="812072345" sldId="314"/>
            <ac:spMk id="60" creationId="{FE740827-8831-4737-9E60-C8075E996811}"/>
          </ac:spMkLst>
        </pc:spChg>
        <pc:spChg chg="mod">
          <ac:chgData name="Ana Paula De Almeida Aranha" userId="6fb46378-b617-46b5-b041-effc0c6cb90f" providerId="ADAL" clId="{48C03173-ACCA-4E88-8037-11C3C7A761B6}" dt="2021-10-27T14:45:31.600" v="399" actId="21"/>
          <ac:spMkLst>
            <pc:docMk/>
            <pc:sldMk cId="812072345" sldId="314"/>
            <ac:spMk id="61" creationId="{8C39733B-1C3E-46FB-B245-C6591C659571}"/>
          </ac:spMkLst>
        </pc:spChg>
        <pc:spChg chg="mod">
          <ac:chgData name="Ana Paula De Almeida Aranha" userId="6fb46378-b617-46b5-b041-effc0c6cb90f" providerId="ADAL" clId="{48C03173-ACCA-4E88-8037-11C3C7A761B6}" dt="2021-10-27T14:44:11.096" v="382" actId="20578"/>
          <ac:spMkLst>
            <pc:docMk/>
            <pc:sldMk cId="812072345" sldId="314"/>
            <ac:spMk id="62" creationId="{7BC1A825-D0A3-4B44-8008-485DADDBAE2E}"/>
          </ac:spMkLst>
        </pc:spChg>
        <pc:spChg chg="mod">
          <ac:chgData name="Ana Paula De Almeida Aranha" userId="6fb46378-b617-46b5-b041-effc0c6cb90f" providerId="ADAL" clId="{48C03173-ACCA-4E88-8037-11C3C7A761B6}" dt="2021-10-27T14:45:09.130" v="397" actId="113"/>
          <ac:spMkLst>
            <pc:docMk/>
            <pc:sldMk cId="812072345" sldId="314"/>
            <ac:spMk id="64" creationId="{66C2F47A-08B3-402D-B40B-B1766482BD5A}"/>
          </ac:spMkLst>
        </pc:spChg>
        <pc:spChg chg="mod">
          <ac:chgData name="Ana Paula De Almeida Aranha" userId="6fb46378-b617-46b5-b041-effc0c6cb90f" providerId="ADAL" clId="{48C03173-ACCA-4E88-8037-11C3C7A761B6}" dt="2021-10-28T08:47:27.294" v="5003" actId="6549"/>
          <ac:spMkLst>
            <pc:docMk/>
            <pc:sldMk cId="812072345" sldId="314"/>
            <ac:spMk id="66" creationId="{91C1AE4A-66CC-4BEB-8876-7EEB6E24BB4F}"/>
          </ac:spMkLst>
        </pc:spChg>
        <pc:spChg chg="mod">
          <ac:chgData name="Ana Paula De Almeida Aranha" userId="6fb46378-b617-46b5-b041-effc0c6cb90f" providerId="ADAL" clId="{48C03173-ACCA-4E88-8037-11C3C7A761B6}" dt="2021-10-28T08:31:04.169" v="4423" actId="1076"/>
          <ac:spMkLst>
            <pc:docMk/>
            <pc:sldMk cId="812072345" sldId="314"/>
            <ac:spMk id="67" creationId="{46E32BA8-F943-47E9-8E84-4E2C03CAEAC5}"/>
          </ac:spMkLst>
        </pc:spChg>
        <pc:spChg chg="mod">
          <ac:chgData name="Ana Paula De Almeida Aranha" userId="6fb46378-b617-46b5-b041-effc0c6cb90f" providerId="ADAL" clId="{48C03173-ACCA-4E88-8037-11C3C7A761B6}" dt="2021-10-27T14:44:11.096" v="382" actId="20578"/>
          <ac:spMkLst>
            <pc:docMk/>
            <pc:sldMk cId="812072345" sldId="314"/>
            <ac:spMk id="68" creationId="{02B89D05-6C81-47BE-A7ED-4140CAF55E61}"/>
          </ac:spMkLst>
        </pc:spChg>
        <pc:spChg chg="mod">
          <ac:chgData name="Ana Paula De Almeida Aranha" userId="6fb46378-b617-46b5-b041-effc0c6cb90f" providerId="ADAL" clId="{48C03173-ACCA-4E88-8037-11C3C7A761B6}" dt="2021-10-27T14:44:11.096" v="382" actId="20578"/>
          <ac:spMkLst>
            <pc:docMk/>
            <pc:sldMk cId="812072345" sldId="314"/>
            <ac:spMk id="69" creationId="{D11282A1-471C-4C7B-ACDF-595DA65273AE}"/>
          </ac:spMkLst>
        </pc:spChg>
        <pc:spChg chg="mod">
          <ac:chgData name="Ana Paula De Almeida Aranha" userId="6fb46378-b617-46b5-b041-effc0c6cb90f" providerId="ADAL" clId="{48C03173-ACCA-4E88-8037-11C3C7A761B6}" dt="2021-10-27T14:45:06.241" v="396" actId="113"/>
          <ac:spMkLst>
            <pc:docMk/>
            <pc:sldMk cId="812072345" sldId="314"/>
            <ac:spMk id="71" creationId="{5D362B55-4E6D-44F8-83EE-6B21EE12C2B8}"/>
          </ac:spMkLst>
        </pc:spChg>
        <pc:spChg chg="del mod">
          <ac:chgData name="Ana Paula De Almeida Aranha" userId="6fb46378-b617-46b5-b041-effc0c6cb90f" providerId="ADAL" clId="{48C03173-ACCA-4E88-8037-11C3C7A761B6}" dt="2021-10-27T14:42:59.071" v="328" actId="478"/>
          <ac:spMkLst>
            <pc:docMk/>
            <pc:sldMk cId="812072345" sldId="314"/>
            <ac:spMk id="72" creationId="{35AE8FCB-09B1-42AD-A8F4-B5C59D1F384D}"/>
          </ac:spMkLst>
        </pc:spChg>
        <pc:spChg chg="mod">
          <ac:chgData name="Ana Paula De Almeida Aranha" userId="6fb46378-b617-46b5-b041-effc0c6cb90f" providerId="ADAL" clId="{48C03173-ACCA-4E88-8037-11C3C7A761B6}" dt="2021-10-27T14:44:11.096" v="382" actId="20578"/>
          <ac:spMkLst>
            <pc:docMk/>
            <pc:sldMk cId="812072345" sldId="314"/>
            <ac:spMk id="73" creationId="{72F14CEE-CB26-401B-A88A-8888EDF8C83F}"/>
          </ac:spMkLst>
        </pc:spChg>
        <pc:spChg chg="mod">
          <ac:chgData name="Ana Paula De Almeida Aranha" userId="6fb46378-b617-46b5-b041-effc0c6cb90f" providerId="ADAL" clId="{48C03173-ACCA-4E88-8037-11C3C7A761B6}" dt="2021-10-27T14:44:11.096" v="382" actId="20578"/>
          <ac:spMkLst>
            <pc:docMk/>
            <pc:sldMk cId="812072345" sldId="314"/>
            <ac:spMk id="75" creationId="{53004FE8-B46F-4493-8740-E11D737DBA16}"/>
          </ac:spMkLst>
        </pc:spChg>
        <pc:spChg chg="add del mod">
          <ac:chgData name="Ana Paula De Almeida Aranha" userId="6fb46378-b617-46b5-b041-effc0c6cb90f" providerId="ADAL" clId="{48C03173-ACCA-4E88-8037-11C3C7A761B6}" dt="2021-10-27T14:43:49.108" v="356" actId="478"/>
          <ac:spMkLst>
            <pc:docMk/>
            <pc:sldMk cId="812072345" sldId="314"/>
            <ac:spMk id="77" creationId="{BEDA8FFF-99E1-46C4-AC17-EBD2EEC6A378}"/>
          </ac:spMkLst>
        </pc:spChg>
        <pc:spChg chg="add mod">
          <ac:chgData name="Ana Paula De Almeida Aranha" userId="6fb46378-b617-46b5-b041-effc0c6cb90f" providerId="ADAL" clId="{48C03173-ACCA-4E88-8037-11C3C7A761B6}" dt="2021-10-27T14:40:35.240" v="283" actId="1076"/>
          <ac:spMkLst>
            <pc:docMk/>
            <pc:sldMk cId="812072345" sldId="314"/>
            <ac:spMk id="78" creationId="{C9023ED9-70C8-421A-A2AE-1610B62A3917}"/>
          </ac:spMkLst>
        </pc:spChg>
        <pc:spChg chg="add mod">
          <ac:chgData name="Ana Paula De Almeida Aranha" userId="6fb46378-b617-46b5-b041-effc0c6cb90f" providerId="ADAL" clId="{48C03173-ACCA-4E88-8037-11C3C7A761B6}" dt="2021-10-27T14:40:57.395" v="288" actId="122"/>
          <ac:spMkLst>
            <pc:docMk/>
            <pc:sldMk cId="812072345" sldId="314"/>
            <ac:spMk id="82" creationId="{3083D11B-250F-4F78-BCEB-E4C7DD98458C}"/>
          </ac:spMkLst>
        </pc:spChg>
        <pc:spChg chg="add mod">
          <ac:chgData name="Ana Paula De Almeida Aranha" userId="6fb46378-b617-46b5-b041-effc0c6cb90f" providerId="ADAL" clId="{48C03173-ACCA-4E88-8037-11C3C7A761B6}" dt="2021-10-27T14:46:15.908" v="419" actId="14100"/>
          <ac:spMkLst>
            <pc:docMk/>
            <pc:sldMk cId="812072345" sldId="314"/>
            <ac:spMk id="83" creationId="{A251A156-F6D1-4D67-A5CC-72EAA05E3C82}"/>
          </ac:spMkLst>
        </pc:spChg>
        <pc:spChg chg="add mod">
          <ac:chgData name="Ana Paula De Almeida Aranha" userId="6fb46378-b617-46b5-b041-effc0c6cb90f" providerId="ADAL" clId="{48C03173-ACCA-4E88-8037-11C3C7A761B6}" dt="2021-10-27T14:48:19.190" v="441" actId="1076"/>
          <ac:spMkLst>
            <pc:docMk/>
            <pc:sldMk cId="812072345" sldId="314"/>
            <ac:spMk id="84" creationId="{A6020661-7CCE-47AF-BE9B-A15A73F50634}"/>
          </ac:spMkLst>
        </pc:spChg>
        <pc:spChg chg="add mod">
          <ac:chgData name="Ana Paula De Almeida Aranha" userId="6fb46378-b617-46b5-b041-effc0c6cb90f" providerId="ADAL" clId="{48C03173-ACCA-4E88-8037-11C3C7A761B6}" dt="2021-10-27T14:48:17.308" v="440" actId="1076"/>
          <ac:spMkLst>
            <pc:docMk/>
            <pc:sldMk cId="812072345" sldId="314"/>
            <ac:spMk id="85" creationId="{DBF47FEB-B99D-4CD7-A36D-8D5711B628FC}"/>
          </ac:spMkLst>
        </pc:spChg>
        <pc:grpChg chg="add mod">
          <ac:chgData name="Ana Paula De Almeida Aranha" userId="6fb46378-b617-46b5-b041-effc0c6cb90f" providerId="ADAL" clId="{48C03173-ACCA-4E88-8037-11C3C7A761B6}" dt="2021-10-27T14:47:40.632" v="435" actId="1076"/>
          <ac:grpSpMkLst>
            <pc:docMk/>
            <pc:sldMk cId="812072345" sldId="314"/>
            <ac:grpSpMk id="31" creationId="{FEFF0F4F-80A6-4548-91B2-F7B0024A1C85}"/>
          </ac:grpSpMkLst>
        </pc:grpChg>
        <pc:grpChg chg="mod">
          <ac:chgData name="Ana Paula De Almeida Aranha" userId="6fb46378-b617-46b5-b041-effc0c6cb90f" providerId="ADAL" clId="{48C03173-ACCA-4E88-8037-11C3C7A761B6}" dt="2021-10-27T14:44:11.096" v="382" actId="20578"/>
          <ac:grpSpMkLst>
            <pc:docMk/>
            <pc:sldMk cId="812072345" sldId="314"/>
            <ac:grpSpMk id="33" creationId="{83DF9C43-335B-486D-BF39-F17A97291D88}"/>
          </ac:grpSpMkLst>
        </pc:grpChg>
        <pc:grpChg chg="mod">
          <ac:chgData name="Ana Paula De Almeida Aranha" userId="6fb46378-b617-46b5-b041-effc0c6cb90f" providerId="ADAL" clId="{48C03173-ACCA-4E88-8037-11C3C7A761B6}" dt="2021-10-27T14:44:11.096" v="382" actId="20578"/>
          <ac:grpSpMkLst>
            <pc:docMk/>
            <pc:sldMk cId="812072345" sldId="314"/>
            <ac:grpSpMk id="57" creationId="{75743E03-DAA0-4D80-A1F4-B79F911DF4AA}"/>
          </ac:grpSpMkLst>
        </pc:grpChg>
        <pc:grpChg chg="mod">
          <ac:chgData name="Ana Paula De Almeida Aranha" userId="6fb46378-b617-46b5-b041-effc0c6cb90f" providerId="ADAL" clId="{48C03173-ACCA-4E88-8037-11C3C7A761B6}" dt="2021-10-27T14:44:11.096" v="382" actId="20578"/>
          <ac:grpSpMkLst>
            <pc:docMk/>
            <pc:sldMk cId="812072345" sldId="314"/>
            <ac:grpSpMk id="58" creationId="{6C5D9187-6612-424F-93F0-D190BDEA47A3}"/>
          </ac:grpSpMkLst>
        </pc:grpChg>
        <pc:cxnChg chg="del mod">
          <ac:chgData name="Ana Paula De Almeida Aranha" userId="6fb46378-b617-46b5-b041-effc0c6cb90f" providerId="ADAL" clId="{48C03173-ACCA-4E88-8037-11C3C7A761B6}" dt="2021-10-27T14:39:33.806" v="273" actId="478"/>
          <ac:cxnSpMkLst>
            <pc:docMk/>
            <pc:sldMk cId="812072345" sldId="314"/>
            <ac:cxnSpMk id="18" creationId="{549CE6D2-4DB8-4633-A63E-131C08323B4B}"/>
          </ac:cxnSpMkLst>
        </pc:cxnChg>
        <pc:cxnChg chg="del mod">
          <ac:chgData name="Ana Paula De Almeida Aranha" userId="6fb46378-b617-46b5-b041-effc0c6cb90f" providerId="ADAL" clId="{48C03173-ACCA-4E88-8037-11C3C7A761B6}" dt="2021-10-27T14:39:33.806" v="273" actId="478"/>
          <ac:cxnSpMkLst>
            <pc:docMk/>
            <pc:sldMk cId="812072345" sldId="314"/>
            <ac:cxnSpMk id="20" creationId="{6C065165-3C3E-4BCD-873A-2A4EBB2A9570}"/>
          </ac:cxnSpMkLst>
        </pc:cxnChg>
        <pc:cxnChg chg="del mod">
          <ac:chgData name="Ana Paula De Almeida Aranha" userId="6fb46378-b617-46b5-b041-effc0c6cb90f" providerId="ADAL" clId="{48C03173-ACCA-4E88-8037-11C3C7A761B6}" dt="2021-10-27T14:39:33.806" v="273" actId="478"/>
          <ac:cxnSpMkLst>
            <pc:docMk/>
            <pc:sldMk cId="812072345" sldId="314"/>
            <ac:cxnSpMk id="22" creationId="{44DFEEAB-645B-4F50-BAF8-612058F725E6}"/>
          </ac:cxnSpMkLst>
        </pc:cxnChg>
        <pc:cxnChg chg="del mod">
          <ac:chgData name="Ana Paula De Almeida Aranha" userId="6fb46378-b617-46b5-b041-effc0c6cb90f" providerId="ADAL" clId="{48C03173-ACCA-4E88-8037-11C3C7A761B6}" dt="2021-10-27T14:39:33.806" v="273" actId="478"/>
          <ac:cxnSpMkLst>
            <pc:docMk/>
            <pc:sldMk cId="812072345" sldId="314"/>
            <ac:cxnSpMk id="24" creationId="{09176354-423C-4C6E-9D77-DCB2C22EA3F7}"/>
          </ac:cxnSpMkLst>
        </pc:cxnChg>
        <pc:cxnChg chg="del mod">
          <ac:chgData name="Ana Paula De Almeida Aranha" userId="6fb46378-b617-46b5-b041-effc0c6cb90f" providerId="ADAL" clId="{48C03173-ACCA-4E88-8037-11C3C7A761B6}" dt="2021-10-27T14:39:33.806" v="273" actId="478"/>
          <ac:cxnSpMkLst>
            <pc:docMk/>
            <pc:sldMk cId="812072345" sldId="314"/>
            <ac:cxnSpMk id="25" creationId="{76A3C185-6F5C-4E4A-B285-AD5D0C51FBA5}"/>
          </ac:cxnSpMkLst>
        </pc:cxnChg>
        <pc:cxnChg chg="del mod">
          <ac:chgData name="Ana Paula De Almeida Aranha" userId="6fb46378-b617-46b5-b041-effc0c6cb90f" providerId="ADAL" clId="{48C03173-ACCA-4E88-8037-11C3C7A761B6}" dt="2021-10-27T14:39:33.806" v="273" actId="478"/>
          <ac:cxnSpMkLst>
            <pc:docMk/>
            <pc:sldMk cId="812072345" sldId="314"/>
            <ac:cxnSpMk id="26" creationId="{C7DEA95D-DBE5-4613-8FD9-4BF57ACBD089}"/>
          </ac:cxnSpMkLst>
        </pc:cxnChg>
        <pc:cxnChg chg="del mod">
          <ac:chgData name="Ana Paula De Almeida Aranha" userId="6fb46378-b617-46b5-b041-effc0c6cb90f" providerId="ADAL" clId="{48C03173-ACCA-4E88-8037-11C3C7A761B6}" dt="2021-10-27T14:39:33.806" v="273" actId="478"/>
          <ac:cxnSpMkLst>
            <pc:docMk/>
            <pc:sldMk cId="812072345" sldId="314"/>
            <ac:cxnSpMk id="32" creationId="{71C299FD-2F21-4F55-98BC-C12889E8F285}"/>
          </ac:cxnSpMkLst>
        </pc:cxnChg>
        <pc:cxnChg chg="mod">
          <ac:chgData name="Ana Paula De Almeida Aranha" userId="6fb46378-b617-46b5-b041-effc0c6cb90f" providerId="ADAL" clId="{48C03173-ACCA-4E88-8037-11C3C7A761B6}" dt="2021-10-27T14:44:11.096" v="382" actId="20578"/>
          <ac:cxnSpMkLst>
            <pc:docMk/>
            <pc:sldMk cId="812072345" sldId="314"/>
            <ac:cxnSpMk id="34" creationId="{CD9125F5-39AD-4209-937B-7DF7BD01FD90}"/>
          </ac:cxnSpMkLst>
        </pc:cxnChg>
        <pc:cxnChg chg="del mod">
          <ac:chgData name="Ana Paula De Almeida Aranha" userId="6fb46378-b617-46b5-b041-effc0c6cb90f" providerId="ADAL" clId="{48C03173-ACCA-4E88-8037-11C3C7A761B6}" dt="2021-10-27T14:39:33.806" v="273" actId="478"/>
          <ac:cxnSpMkLst>
            <pc:docMk/>
            <pc:sldMk cId="812072345" sldId="314"/>
            <ac:cxnSpMk id="37" creationId="{BF0195F6-B4D9-4DD4-854D-0BA93BC4D643}"/>
          </ac:cxnSpMkLst>
        </pc:cxnChg>
        <pc:cxnChg chg="del mod">
          <ac:chgData name="Ana Paula De Almeida Aranha" userId="6fb46378-b617-46b5-b041-effc0c6cb90f" providerId="ADAL" clId="{48C03173-ACCA-4E88-8037-11C3C7A761B6}" dt="2021-10-27T14:39:33.806" v="273" actId="478"/>
          <ac:cxnSpMkLst>
            <pc:docMk/>
            <pc:sldMk cId="812072345" sldId="314"/>
            <ac:cxnSpMk id="39" creationId="{3BCD6FE6-BDA2-4B93-B0C7-19E578CD7908}"/>
          </ac:cxnSpMkLst>
        </pc:cxnChg>
        <pc:cxnChg chg="del mod">
          <ac:chgData name="Ana Paula De Almeida Aranha" userId="6fb46378-b617-46b5-b041-effc0c6cb90f" providerId="ADAL" clId="{48C03173-ACCA-4E88-8037-11C3C7A761B6}" dt="2021-10-27T14:33:31.872" v="137" actId="478"/>
          <ac:cxnSpMkLst>
            <pc:docMk/>
            <pc:sldMk cId="812072345" sldId="314"/>
            <ac:cxnSpMk id="41" creationId="{73414717-5F51-48B7-B805-F4F0C5774FB8}"/>
          </ac:cxnSpMkLst>
        </pc:cxnChg>
        <pc:cxnChg chg="del mod">
          <ac:chgData name="Ana Paula De Almeida Aranha" userId="6fb46378-b617-46b5-b041-effc0c6cb90f" providerId="ADAL" clId="{48C03173-ACCA-4E88-8037-11C3C7A761B6}" dt="2021-10-27T14:39:33.806" v="273" actId="478"/>
          <ac:cxnSpMkLst>
            <pc:docMk/>
            <pc:sldMk cId="812072345" sldId="314"/>
            <ac:cxnSpMk id="44" creationId="{0CD81322-C6D3-4FE3-A452-58EB42695F03}"/>
          </ac:cxnSpMkLst>
        </pc:cxnChg>
        <pc:cxnChg chg="del mod">
          <ac:chgData name="Ana Paula De Almeida Aranha" userId="6fb46378-b617-46b5-b041-effc0c6cb90f" providerId="ADAL" clId="{48C03173-ACCA-4E88-8037-11C3C7A761B6}" dt="2021-10-27T14:36:36.990" v="239" actId="478"/>
          <ac:cxnSpMkLst>
            <pc:docMk/>
            <pc:sldMk cId="812072345" sldId="314"/>
            <ac:cxnSpMk id="47" creationId="{30CAD4EF-FD63-4D6A-B659-240C19BBE751}"/>
          </ac:cxnSpMkLst>
        </pc:cxnChg>
        <pc:cxnChg chg="del mod">
          <ac:chgData name="Ana Paula De Almeida Aranha" userId="6fb46378-b617-46b5-b041-effc0c6cb90f" providerId="ADAL" clId="{48C03173-ACCA-4E88-8037-11C3C7A761B6}" dt="2021-10-27T14:47:36.253" v="433" actId="478"/>
          <ac:cxnSpMkLst>
            <pc:docMk/>
            <pc:sldMk cId="812072345" sldId="314"/>
            <ac:cxnSpMk id="50" creationId="{26CCBCE7-873B-46B9-B7A6-F04D34AE8912}"/>
          </ac:cxnSpMkLst>
        </pc:cxnChg>
        <pc:cxnChg chg="mod">
          <ac:chgData name="Ana Paula De Almeida Aranha" userId="6fb46378-b617-46b5-b041-effc0c6cb90f" providerId="ADAL" clId="{48C03173-ACCA-4E88-8037-11C3C7A761B6}" dt="2021-10-27T14:48:01.319" v="439" actId="1076"/>
          <ac:cxnSpMkLst>
            <pc:docMk/>
            <pc:sldMk cId="812072345" sldId="314"/>
            <ac:cxnSpMk id="52" creationId="{A0A9A7C9-082E-4BB4-86DD-5478159F7047}"/>
          </ac:cxnSpMkLst>
        </pc:cxnChg>
        <pc:cxnChg chg="mod">
          <ac:chgData name="Ana Paula De Almeida Aranha" userId="6fb46378-b617-46b5-b041-effc0c6cb90f" providerId="ADAL" clId="{48C03173-ACCA-4E88-8037-11C3C7A761B6}" dt="2021-10-27T14:45:59.077" v="417" actId="1076"/>
          <ac:cxnSpMkLst>
            <pc:docMk/>
            <pc:sldMk cId="812072345" sldId="314"/>
            <ac:cxnSpMk id="59" creationId="{ADB4EB7C-5A80-4077-9295-CBC149739024}"/>
          </ac:cxnSpMkLst>
        </pc:cxnChg>
        <pc:cxnChg chg="mod">
          <ac:chgData name="Ana Paula De Almeida Aranha" userId="6fb46378-b617-46b5-b041-effc0c6cb90f" providerId="ADAL" clId="{48C03173-ACCA-4E88-8037-11C3C7A761B6}" dt="2021-10-27T14:44:11.096" v="382" actId="20578"/>
          <ac:cxnSpMkLst>
            <pc:docMk/>
            <pc:sldMk cId="812072345" sldId="314"/>
            <ac:cxnSpMk id="63" creationId="{2461159A-6BA7-4DD2-B167-8AABEF2172E1}"/>
          </ac:cxnSpMkLst>
        </pc:cxnChg>
        <pc:cxnChg chg="mod">
          <ac:chgData name="Ana Paula De Almeida Aranha" userId="6fb46378-b617-46b5-b041-effc0c6cb90f" providerId="ADAL" clId="{48C03173-ACCA-4E88-8037-11C3C7A761B6}" dt="2021-10-27T14:44:59.900" v="394" actId="14100"/>
          <ac:cxnSpMkLst>
            <pc:docMk/>
            <pc:sldMk cId="812072345" sldId="314"/>
            <ac:cxnSpMk id="65" creationId="{E8FBAD2E-CDB7-489F-88E5-4A0EC6CD4377}"/>
          </ac:cxnSpMkLst>
        </pc:cxnChg>
        <pc:cxnChg chg="mod">
          <ac:chgData name="Ana Paula De Almeida Aranha" userId="6fb46378-b617-46b5-b041-effc0c6cb90f" providerId="ADAL" clId="{48C03173-ACCA-4E88-8037-11C3C7A761B6}" dt="2021-10-27T14:44:11.096" v="382" actId="20578"/>
          <ac:cxnSpMkLst>
            <pc:docMk/>
            <pc:sldMk cId="812072345" sldId="314"/>
            <ac:cxnSpMk id="70" creationId="{DB0035FE-34F2-41AF-BA9B-8F80FD0970FC}"/>
          </ac:cxnSpMkLst>
        </pc:cxnChg>
        <pc:cxnChg chg="mod">
          <ac:chgData name="Ana Paula De Almeida Aranha" userId="6fb46378-b617-46b5-b041-effc0c6cb90f" providerId="ADAL" clId="{48C03173-ACCA-4E88-8037-11C3C7A761B6}" dt="2021-10-27T14:44:11.096" v="382" actId="20578"/>
          <ac:cxnSpMkLst>
            <pc:docMk/>
            <pc:sldMk cId="812072345" sldId="314"/>
            <ac:cxnSpMk id="74" creationId="{8E4F63C9-5324-4F80-98E6-77DE4EC55AF1}"/>
          </ac:cxnSpMkLst>
        </pc:cxnChg>
        <pc:cxnChg chg="add del mod">
          <ac:chgData name="Ana Paula De Almeida Aranha" userId="6fb46378-b617-46b5-b041-effc0c6cb90f" providerId="ADAL" clId="{48C03173-ACCA-4E88-8037-11C3C7A761B6}" dt="2021-10-27T14:43:46.838" v="355" actId="478"/>
          <ac:cxnSpMkLst>
            <pc:docMk/>
            <pc:sldMk cId="812072345" sldId="314"/>
            <ac:cxnSpMk id="76" creationId="{60564AD6-6D83-45A6-B9BC-84C35ABCC282}"/>
          </ac:cxnSpMkLst>
        </pc:cxnChg>
        <pc:cxnChg chg="add del mod">
          <ac:chgData name="Ana Paula De Almeida Aranha" userId="6fb46378-b617-46b5-b041-effc0c6cb90f" providerId="ADAL" clId="{48C03173-ACCA-4E88-8037-11C3C7A761B6}" dt="2021-10-27T14:40:39.310" v="284" actId="478"/>
          <ac:cxnSpMkLst>
            <pc:docMk/>
            <pc:sldMk cId="812072345" sldId="314"/>
            <ac:cxnSpMk id="80" creationId="{8BA139F4-31F2-4CBC-BE07-03971C96C643}"/>
          </ac:cxnSpMkLst>
        </pc:cxnChg>
      </pc:sldChg>
      <pc:sldChg chg="addSp delSp modSp mod ord">
        <pc:chgData name="Ana Paula De Almeida Aranha" userId="6fb46378-b617-46b5-b041-effc0c6cb90f" providerId="ADAL" clId="{48C03173-ACCA-4E88-8037-11C3C7A761B6}" dt="2021-10-29T11:49:48.343" v="5515" actId="1076"/>
        <pc:sldMkLst>
          <pc:docMk/>
          <pc:sldMk cId="25908592" sldId="315"/>
        </pc:sldMkLst>
        <pc:spChg chg="add del mod modVis">
          <ac:chgData name="Ana Paula De Almeida Aranha" userId="6fb46378-b617-46b5-b041-effc0c6cb90f" providerId="ADAL" clId="{48C03173-ACCA-4E88-8037-11C3C7A761B6}" dt="2021-10-29T11:49:45.359" v="5512"/>
          <ac:spMkLst>
            <pc:docMk/>
            <pc:sldMk cId="25908592" sldId="315"/>
            <ac:spMk id="2" creationId="{1A98A4D3-7686-4AF0-B4C6-D153787051C9}"/>
          </ac:spMkLst>
        </pc:spChg>
        <pc:spChg chg="add del mod modVis">
          <ac:chgData name="Ana Paula De Almeida Aranha" userId="6fb46378-b617-46b5-b041-effc0c6cb90f" providerId="ADAL" clId="{48C03173-ACCA-4E88-8037-11C3C7A761B6}" dt="2021-10-27T14:48:36.401" v="535"/>
          <ac:spMkLst>
            <pc:docMk/>
            <pc:sldMk cId="25908592" sldId="315"/>
            <ac:spMk id="2" creationId="{F9A0752C-B29B-4EA0-B1F2-2B6FCAF97140}"/>
          </ac:spMkLst>
        </pc:spChg>
        <pc:spChg chg="mod">
          <ac:chgData name="Ana Paula De Almeida Aranha" userId="6fb46378-b617-46b5-b041-effc0c6cb90f" providerId="ADAL" clId="{48C03173-ACCA-4E88-8037-11C3C7A761B6}" dt="2021-10-29T11:49:45.311" v="5458" actId="948"/>
          <ac:spMkLst>
            <pc:docMk/>
            <pc:sldMk cId="25908592" sldId="315"/>
            <ac:spMk id="4" creationId="{757378EC-C671-465C-973F-FF03099CEABE}"/>
          </ac:spMkLst>
        </pc:spChg>
        <pc:spChg chg="add del mod modVis">
          <ac:chgData name="Ana Paula De Almeida Aranha" userId="6fb46378-b617-46b5-b041-effc0c6cb90f" providerId="ADAL" clId="{48C03173-ACCA-4E88-8037-11C3C7A761B6}" dt="2021-10-27T14:48:37.221" v="627"/>
          <ac:spMkLst>
            <pc:docMk/>
            <pc:sldMk cId="25908592" sldId="315"/>
            <ac:spMk id="5" creationId="{6CA69DB8-9C1C-4275-8A4A-C0FDD0D25437}"/>
          </ac:spMkLst>
        </pc:spChg>
        <pc:spChg chg="add del mod modVis">
          <ac:chgData name="Ana Paula De Almeida Aranha" userId="6fb46378-b617-46b5-b041-effc0c6cb90f" providerId="ADAL" clId="{48C03173-ACCA-4E88-8037-11C3C7A761B6}" dt="2021-10-27T14:48:38.265" v="687"/>
          <ac:spMkLst>
            <pc:docMk/>
            <pc:sldMk cId="25908592" sldId="315"/>
            <ac:spMk id="6" creationId="{FA6C0E0C-D910-4F91-A1B7-7D5C19C7CEAD}"/>
          </ac:spMkLst>
        </pc:spChg>
        <pc:spChg chg="add del mod modVis">
          <ac:chgData name="Ana Paula De Almeida Aranha" userId="6fb46378-b617-46b5-b041-effc0c6cb90f" providerId="ADAL" clId="{48C03173-ACCA-4E88-8037-11C3C7A761B6}" dt="2021-10-27T14:48:49.053" v="749"/>
          <ac:spMkLst>
            <pc:docMk/>
            <pc:sldMk cId="25908592" sldId="315"/>
            <ac:spMk id="8" creationId="{727560B5-A306-45AB-B199-2492F67C81A2}"/>
          </ac:spMkLst>
        </pc:spChg>
        <pc:graphicFrameChg chg="add mod ord modVis">
          <ac:chgData name="Ana Paula De Almeida Aranha" userId="6fb46378-b617-46b5-b041-effc0c6cb90f" providerId="ADAL" clId="{48C03173-ACCA-4E88-8037-11C3C7A761B6}" dt="2021-10-29T11:49:45.365" v="5514"/>
          <ac:graphicFrameMkLst>
            <pc:docMk/>
            <pc:sldMk cId="25908592" sldId="315"/>
            <ac:graphicFrameMk id="3" creationId="{F16FDFF7-A2D0-43EC-9F76-AF34CAFA9831}"/>
          </ac:graphicFrameMkLst>
        </pc:graphicFrameChg>
        <pc:graphicFrameChg chg="mod modGraphic">
          <ac:chgData name="Ana Paula De Almeida Aranha" userId="6fb46378-b617-46b5-b041-effc0c6cb90f" providerId="ADAL" clId="{48C03173-ACCA-4E88-8037-11C3C7A761B6}" dt="2021-10-29T11:49:48.343" v="5515" actId="1076"/>
          <ac:graphicFrameMkLst>
            <pc:docMk/>
            <pc:sldMk cId="25908592" sldId="315"/>
            <ac:graphicFrameMk id="7" creationId="{D5763630-3AA1-41D8-A670-EFC213644245}"/>
          </ac:graphicFrameMkLst>
        </pc:graphicFrameChg>
      </pc:sldChg>
      <pc:sldChg chg="addSp delSp modSp mod">
        <pc:chgData name="Ana Paula De Almeida Aranha" userId="6fb46378-b617-46b5-b041-effc0c6cb90f" providerId="ADAL" clId="{48C03173-ACCA-4E88-8037-11C3C7A761B6}" dt="2021-10-29T11:50:44.865" v="5561" actId="113"/>
        <pc:sldMkLst>
          <pc:docMk/>
          <pc:sldMk cId="2738114434" sldId="316"/>
        </pc:sldMkLst>
        <pc:spChg chg="add del mod modVis">
          <ac:chgData name="Ana Paula De Almeida Aranha" userId="6fb46378-b617-46b5-b041-effc0c6cb90f" providerId="ADAL" clId="{48C03173-ACCA-4E88-8037-11C3C7A761B6}" dt="2021-10-27T14:56:20.520" v="877"/>
          <ac:spMkLst>
            <pc:docMk/>
            <pc:sldMk cId="2738114434" sldId="316"/>
            <ac:spMk id="2" creationId="{5CA4B93E-F1C1-4C89-855A-76CBC8DB1BA4}"/>
          </ac:spMkLst>
        </pc:spChg>
        <pc:spChg chg="mod">
          <ac:chgData name="Ana Paula De Almeida Aranha" userId="6fb46378-b617-46b5-b041-effc0c6cb90f" providerId="ADAL" clId="{48C03173-ACCA-4E88-8037-11C3C7A761B6}" dt="2021-10-27T14:57:05.983" v="1035" actId="948"/>
          <ac:spMkLst>
            <pc:docMk/>
            <pc:sldMk cId="2738114434" sldId="316"/>
            <ac:spMk id="4" creationId="{757378EC-C671-465C-973F-FF03099CEABE}"/>
          </ac:spMkLst>
        </pc:spChg>
        <pc:spChg chg="add del mod modVis">
          <ac:chgData name="Ana Paula De Almeida Aranha" userId="6fb46378-b617-46b5-b041-effc0c6cb90f" providerId="ADAL" clId="{48C03173-ACCA-4E88-8037-11C3C7A761B6}" dt="2021-10-27T14:57:03.218" v="967"/>
          <ac:spMkLst>
            <pc:docMk/>
            <pc:sldMk cId="2738114434" sldId="316"/>
            <ac:spMk id="5" creationId="{39E3FE86-0D34-4293-B805-ECB594576C3F}"/>
          </ac:spMkLst>
        </pc:spChg>
        <pc:spChg chg="add del mod modVis">
          <ac:chgData name="Ana Paula De Almeida Aranha" userId="6fb46378-b617-46b5-b041-effc0c6cb90f" providerId="ADAL" clId="{48C03173-ACCA-4E88-8037-11C3C7A761B6}" dt="2021-10-27T14:57:04.642" v="1028"/>
          <ac:spMkLst>
            <pc:docMk/>
            <pc:sldMk cId="2738114434" sldId="316"/>
            <ac:spMk id="6" creationId="{3692D46C-1268-437D-9BC9-ED67D8890D0C}"/>
          </ac:spMkLst>
        </pc:spChg>
        <pc:spChg chg="add del mod modVis">
          <ac:chgData name="Ana Paula De Almeida Aranha" userId="6fb46378-b617-46b5-b041-effc0c6cb90f" providerId="ADAL" clId="{48C03173-ACCA-4E88-8037-11C3C7A761B6}" dt="2021-10-27T14:57:06.039" v="1089"/>
          <ac:spMkLst>
            <pc:docMk/>
            <pc:sldMk cId="2738114434" sldId="316"/>
            <ac:spMk id="8" creationId="{78CBE79D-2117-4B4E-949B-FD202DA9B1CD}"/>
          </ac:spMkLst>
        </pc:spChg>
        <pc:graphicFrameChg chg="add mod ord modVis">
          <ac:chgData name="Ana Paula De Almeida Aranha" userId="6fb46378-b617-46b5-b041-effc0c6cb90f" providerId="ADAL" clId="{48C03173-ACCA-4E88-8037-11C3C7A761B6}" dt="2021-10-27T14:57:06.040" v="1091"/>
          <ac:graphicFrameMkLst>
            <pc:docMk/>
            <pc:sldMk cId="2738114434" sldId="316"/>
            <ac:graphicFrameMk id="3" creationId="{6AB03FDC-B2C9-4F5D-B481-BC3EDE0021EE}"/>
          </ac:graphicFrameMkLst>
        </pc:graphicFrameChg>
        <pc:graphicFrameChg chg="mod modGraphic">
          <ac:chgData name="Ana Paula De Almeida Aranha" userId="6fb46378-b617-46b5-b041-effc0c6cb90f" providerId="ADAL" clId="{48C03173-ACCA-4E88-8037-11C3C7A761B6}" dt="2021-10-29T11:50:44.865" v="5561" actId="113"/>
          <ac:graphicFrameMkLst>
            <pc:docMk/>
            <pc:sldMk cId="2738114434" sldId="316"/>
            <ac:graphicFrameMk id="7" creationId="{D5763630-3AA1-41D8-A670-EFC213644245}"/>
          </ac:graphicFrameMkLst>
        </pc:graphicFrameChg>
      </pc:sldChg>
      <pc:sldChg chg="addSp delSp modSp mod addCm delCm">
        <pc:chgData name="Ana Paula De Almeida Aranha" userId="6fb46378-b617-46b5-b041-effc0c6cb90f" providerId="ADAL" clId="{48C03173-ACCA-4E88-8037-11C3C7A761B6}" dt="2021-10-29T12:01:21.342" v="5573" actId="1076"/>
        <pc:sldMkLst>
          <pc:docMk/>
          <pc:sldMk cId="470492980" sldId="317"/>
        </pc:sldMkLst>
        <pc:spChg chg="add del mod modVis">
          <ac:chgData name="Ana Paula De Almeida Aranha" userId="6fb46378-b617-46b5-b041-effc0c6cb90f" providerId="ADAL" clId="{48C03173-ACCA-4E88-8037-11C3C7A761B6}" dt="2021-10-27T14:59:47.110" v="1269"/>
          <ac:spMkLst>
            <pc:docMk/>
            <pc:sldMk cId="470492980" sldId="317"/>
            <ac:spMk id="2" creationId="{D2949AFC-FB4A-49C2-8080-59F9D7DC5DB6}"/>
          </ac:spMkLst>
        </pc:spChg>
        <pc:spChg chg="mod">
          <ac:chgData name="Ana Paula De Almeida Aranha" userId="6fb46378-b617-46b5-b041-effc0c6cb90f" providerId="ADAL" clId="{48C03173-ACCA-4E88-8037-11C3C7A761B6}" dt="2021-10-27T15:01:48.023" v="1910" actId="948"/>
          <ac:spMkLst>
            <pc:docMk/>
            <pc:sldMk cId="470492980" sldId="317"/>
            <ac:spMk id="4" creationId="{757378EC-C671-465C-973F-FF03099CEABE}"/>
          </ac:spMkLst>
        </pc:spChg>
        <pc:spChg chg="add del mod modVis">
          <ac:chgData name="Ana Paula De Almeida Aranha" userId="6fb46378-b617-46b5-b041-effc0c6cb90f" providerId="ADAL" clId="{48C03173-ACCA-4E88-8037-11C3C7A761B6}" dt="2021-10-27T14:59:50.286" v="1341"/>
          <ac:spMkLst>
            <pc:docMk/>
            <pc:sldMk cId="470492980" sldId="317"/>
            <ac:spMk id="5" creationId="{0CD5E84E-ED12-40D2-AB46-5C66248C2E27}"/>
          </ac:spMkLst>
        </pc:spChg>
        <pc:spChg chg="add del mod modVis">
          <ac:chgData name="Ana Paula De Almeida Aranha" userId="6fb46378-b617-46b5-b041-effc0c6cb90f" providerId="ADAL" clId="{48C03173-ACCA-4E88-8037-11C3C7A761B6}" dt="2021-10-27T14:59:52.230" v="1404"/>
          <ac:spMkLst>
            <pc:docMk/>
            <pc:sldMk cId="470492980" sldId="317"/>
            <ac:spMk id="6" creationId="{83904804-5F91-4059-8A56-C69D30C0CA60}"/>
          </ac:spMkLst>
        </pc:spChg>
        <pc:spChg chg="add del mod modVis">
          <ac:chgData name="Ana Paula De Almeida Aranha" userId="6fb46378-b617-46b5-b041-effc0c6cb90f" providerId="ADAL" clId="{48C03173-ACCA-4E88-8037-11C3C7A761B6}" dt="2021-10-27T14:59:54.080" v="1465"/>
          <ac:spMkLst>
            <pc:docMk/>
            <pc:sldMk cId="470492980" sldId="317"/>
            <ac:spMk id="8" creationId="{07AA5B79-9E69-4C17-82D4-FC02F014F65D}"/>
          </ac:spMkLst>
        </pc:spChg>
        <pc:spChg chg="add del mod modVis">
          <ac:chgData name="Ana Paula De Almeida Aranha" userId="6fb46378-b617-46b5-b041-effc0c6cb90f" providerId="ADAL" clId="{48C03173-ACCA-4E88-8037-11C3C7A761B6}" dt="2021-10-27T14:59:55.773" v="1523"/>
          <ac:spMkLst>
            <pc:docMk/>
            <pc:sldMk cId="470492980" sldId="317"/>
            <ac:spMk id="9" creationId="{719ACA44-F54F-49A6-8279-67EF08EC7A55}"/>
          </ac:spMkLst>
        </pc:spChg>
        <pc:spChg chg="add del mod modVis">
          <ac:chgData name="Ana Paula De Almeida Aranha" userId="6fb46378-b617-46b5-b041-effc0c6cb90f" providerId="ADAL" clId="{48C03173-ACCA-4E88-8037-11C3C7A761B6}" dt="2021-10-27T14:59:57.187" v="1581"/>
          <ac:spMkLst>
            <pc:docMk/>
            <pc:sldMk cId="470492980" sldId="317"/>
            <ac:spMk id="10" creationId="{AAA9FCF8-435D-41C6-8C80-FB33B72EB3F8}"/>
          </ac:spMkLst>
        </pc:spChg>
        <pc:spChg chg="add del mod modVis">
          <ac:chgData name="Ana Paula De Almeida Aranha" userId="6fb46378-b617-46b5-b041-effc0c6cb90f" providerId="ADAL" clId="{48C03173-ACCA-4E88-8037-11C3C7A761B6}" dt="2021-10-27T14:59:58.756" v="1641"/>
          <ac:spMkLst>
            <pc:docMk/>
            <pc:sldMk cId="470492980" sldId="317"/>
            <ac:spMk id="11" creationId="{00674199-23F3-48BB-9630-1B2FC12273AB}"/>
          </ac:spMkLst>
        </pc:spChg>
        <pc:spChg chg="add del mod modVis">
          <ac:chgData name="Ana Paula De Almeida Aranha" userId="6fb46378-b617-46b5-b041-effc0c6cb90f" providerId="ADAL" clId="{48C03173-ACCA-4E88-8037-11C3C7A761B6}" dt="2021-10-27T14:59:59.948" v="1701"/>
          <ac:spMkLst>
            <pc:docMk/>
            <pc:sldMk cId="470492980" sldId="317"/>
            <ac:spMk id="12" creationId="{9DB96AC0-A656-4D23-A8FD-B8D20158ABEE}"/>
          </ac:spMkLst>
        </pc:spChg>
        <pc:spChg chg="add del mod modVis">
          <ac:chgData name="Ana Paula De Almeida Aranha" userId="6fb46378-b617-46b5-b041-effc0c6cb90f" providerId="ADAL" clId="{48C03173-ACCA-4E88-8037-11C3C7A761B6}" dt="2021-10-27T15:00:02.195" v="1759"/>
          <ac:spMkLst>
            <pc:docMk/>
            <pc:sldMk cId="470492980" sldId="317"/>
            <ac:spMk id="13" creationId="{226A4621-866D-4B77-949D-DA15B55A219F}"/>
          </ac:spMkLst>
        </pc:spChg>
        <pc:spChg chg="add del mod modVis">
          <ac:chgData name="Ana Paula De Almeida Aranha" userId="6fb46378-b617-46b5-b041-effc0c6cb90f" providerId="ADAL" clId="{48C03173-ACCA-4E88-8037-11C3C7A761B6}" dt="2021-10-27T15:01:46.113" v="1846"/>
          <ac:spMkLst>
            <pc:docMk/>
            <pc:sldMk cId="470492980" sldId="317"/>
            <ac:spMk id="14" creationId="{17666790-42F5-4465-908A-7C2457D82328}"/>
          </ac:spMkLst>
        </pc:spChg>
        <pc:spChg chg="add del mod modVis">
          <ac:chgData name="Ana Paula De Almeida Aranha" userId="6fb46378-b617-46b5-b041-effc0c6cb90f" providerId="ADAL" clId="{48C03173-ACCA-4E88-8037-11C3C7A761B6}" dt="2021-10-27T15:01:46.950" v="1904"/>
          <ac:spMkLst>
            <pc:docMk/>
            <pc:sldMk cId="470492980" sldId="317"/>
            <ac:spMk id="15" creationId="{FE734FE4-8E3E-4EA8-91EB-485E9D00BD88}"/>
          </ac:spMkLst>
        </pc:spChg>
        <pc:spChg chg="add del mod modVis">
          <ac:chgData name="Ana Paula De Almeida Aranha" userId="6fb46378-b617-46b5-b041-effc0c6cb90f" providerId="ADAL" clId="{48C03173-ACCA-4E88-8037-11C3C7A761B6}" dt="2021-10-27T15:01:48.059" v="1964"/>
          <ac:spMkLst>
            <pc:docMk/>
            <pc:sldMk cId="470492980" sldId="317"/>
            <ac:spMk id="16" creationId="{536E35C3-A929-4C0B-AB31-B68205FCD2EA}"/>
          </ac:spMkLst>
        </pc:spChg>
        <pc:graphicFrameChg chg="add mod ord modVis">
          <ac:chgData name="Ana Paula De Almeida Aranha" userId="6fb46378-b617-46b5-b041-effc0c6cb90f" providerId="ADAL" clId="{48C03173-ACCA-4E88-8037-11C3C7A761B6}" dt="2021-10-27T15:01:48.061" v="1966"/>
          <ac:graphicFrameMkLst>
            <pc:docMk/>
            <pc:sldMk cId="470492980" sldId="317"/>
            <ac:graphicFrameMk id="3" creationId="{4D90F543-1773-4BF9-BDEE-C97A2D8D5425}"/>
          </ac:graphicFrameMkLst>
        </pc:graphicFrameChg>
        <pc:graphicFrameChg chg="mod modGraphic">
          <ac:chgData name="Ana Paula De Almeida Aranha" userId="6fb46378-b617-46b5-b041-effc0c6cb90f" providerId="ADAL" clId="{48C03173-ACCA-4E88-8037-11C3C7A761B6}" dt="2021-10-29T12:01:21.342" v="5573" actId="1076"/>
          <ac:graphicFrameMkLst>
            <pc:docMk/>
            <pc:sldMk cId="470492980" sldId="317"/>
            <ac:graphicFrameMk id="7" creationId="{D5763630-3AA1-41D8-A670-EFC213644245}"/>
          </ac:graphicFrameMkLst>
        </pc:graphicFrameChg>
      </pc:sldChg>
      <pc:sldChg chg="addSp delSp modSp mod">
        <pc:chgData name="Ana Paula De Almeida Aranha" userId="6fb46378-b617-46b5-b041-effc0c6cb90f" providerId="ADAL" clId="{48C03173-ACCA-4E88-8037-11C3C7A761B6}" dt="2021-10-29T12:01:36.369" v="5574" actId="14734"/>
        <pc:sldMkLst>
          <pc:docMk/>
          <pc:sldMk cId="3764614070" sldId="318"/>
        </pc:sldMkLst>
        <pc:spChg chg="add del mod modVis">
          <ac:chgData name="Ana Paula De Almeida Aranha" userId="6fb46378-b617-46b5-b041-effc0c6cb90f" providerId="ADAL" clId="{48C03173-ACCA-4E88-8037-11C3C7A761B6}" dt="2021-10-27T15:06:36.282" v="2170"/>
          <ac:spMkLst>
            <pc:docMk/>
            <pc:sldMk cId="3764614070" sldId="318"/>
            <ac:spMk id="2" creationId="{50CDB84D-FC97-49A4-AE2D-5562B86A6556}"/>
          </ac:spMkLst>
        </pc:spChg>
        <pc:spChg chg="add del mod modVis">
          <ac:chgData name="Ana Paula De Almeida Aranha" userId="6fb46378-b617-46b5-b041-effc0c6cb90f" providerId="ADAL" clId="{48C03173-ACCA-4E88-8037-11C3C7A761B6}" dt="2021-10-28T08:51:45.782" v="5104"/>
          <ac:spMkLst>
            <pc:docMk/>
            <pc:sldMk cId="3764614070" sldId="318"/>
            <ac:spMk id="2" creationId="{6180904A-57C5-4B32-A60C-98E2AF30ECC3}"/>
          </ac:spMkLst>
        </pc:spChg>
        <pc:spChg chg="mod">
          <ac:chgData name="Ana Paula De Almeida Aranha" userId="6fb46378-b617-46b5-b041-effc0c6cb90f" providerId="ADAL" clId="{48C03173-ACCA-4E88-8037-11C3C7A761B6}" dt="2021-10-28T08:51:45.721" v="5050" actId="948"/>
          <ac:spMkLst>
            <pc:docMk/>
            <pc:sldMk cId="3764614070" sldId="318"/>
            <ac:spMk id="4" creationId="{757378EC-C671-465C-973F-FF03099CEABE}"/>
          </ac:spMkLst>
        </pc:spChg>
        <pc:spChg chg="add del mod modVis">
          <ac:chgData name="Ana Paula De Almeida Aranha" userId="6fb46378-b617-46b5-b041-effc0c6cb90f" providerId="ADAL" clId="{48C03173-ACCA-4E88-8037-11C3C7A761B6}" dt="2021-10-27T15:07:12.334" v="2243"/>
          <ac:spMkLst>
            <pc:docMk/>
            <pc:sldMk cId="3764614070" sldId="318"/>
            <ac:spMk id="5" creationId="{3E7280CA-AAFD-4479-9327-2C43DEF3A39D}"/>
          </ac:spMkLst>
        </pc:spChg>
        <pc:spChg chg="add del mod modVis">
          <ac:chgData name="Ana Paula De Almeida Aranha" userId="6fb46378-b617-46b5-b041-effc0c6cb90f" providerId="ADAL" clId="{48C03173-ACCA-4E88-8037-11C3C7A761B6}" dt="2021-10-27T15:07:13.668" v="2303"/>
          <ac:spMkLst>
            <pc:docMk/>
            <pc:sldMk cId="3764614070" sldId="318"/>
            <ac:spMk id="6" creationId="{A3BDDE26-92AE-49AC-B671-97D7D42E3D1A}"/>
          </ac:spMkLst>
        </pc:spChg>
        <pc:spChg chg="add del mod modVis">
          <ac:chgData name="Ana Paula De Almeida Aranha" userId="6fb46378-b617-46b5-b041-effc0c6cb90f" providerId="ADAL" clId="{48C03173-ACCA-4E88-8037-11C3C7A761B6}" dt="2021-10-27T15:07:14.537" v="2363"/>
          <ac:spMkLst>
            <pc:docMk/>
            <pc:sldMk cId="3764614070" sldId="318"/>
            <ac:spMk id="8" creationId="{85193E9E-4270-4542-BFAE-979758CFE9BD}"/>
          </ac:spMkLst>
        </pc:spChg>
        <pc:spChg chg="add del mod modVis">
          <ac:chgData name="Ana Paula De Almeida Aranha" userId="6fb46378-b617-46b5-b041-effc0c6cb90f" providerId="ADAL" clId="{48C03173-ACCA-4E88-8037-11C3C7A761B6}" dt="2021-10-27T15:07:15.361" v="2424"/>
          <ac:spMkLst>
            <pc:docMk/>
            <pc:sldMk cId="3764614070" sldId="318"/>
            <ac:spMk id="9" creationId="{B194FF31-0AD5-4C09-B524-7B87C17FE6F2}"/>
          </ac:spMkLst>
        </pc:spChg>
        <pc:spChg chg="add del mod modVis">
          <ac:chgData name="Ana Paula De Almeida Aranha" userId="6fb46378-b617-46b5-b041-effc0c6cb90f" providerId="ADAL" clId="{48C03173-ACCA-4E88-8037-11C3C7A761B6}" dt="2021-10-27T15:07:18.990" v="2483"/>
          <ac:spMkLst>
            <pc:docMk/>
            <pc:sldMk cId="3764614070" sldId="318"/>
            <ac:spMk id="10" creationId="{178E6480-2F73-4DD0-88DE-2586D690AEA2}"/>
          </ac:spMkLst>
        </pc:spChg>
        <pc:spChg chg="add del mod modVis">
          <ac:chgData name="Ana Paula De Almeida Aranha" userId="6fb46378-b617-46b5-b041-effc0c6cb90f" providerId="ADAL" clId="{48C03173-ACCA-4E88-8037-11C3C7A761B6}" dt="2021-10-27T15:07:19.901" v="2542"/>
          <ac:spMkLst>
            <pc:docMk/>
            <pc:sldMk cId="3764614070" sldId="318"/>
            <ac:spMk id="11" creationId="{596C9E96-4E05-4C8D-A581-33A4C12E1B21}"/>
          </ac:spMkLst>
        </pc:spChg>
        <pc:spChg chg="add del mod modVis">
          <ac:chgData name="Ana Paula De Almeida Aranha" userId="6fb46378-b617-46b5-b041-effc0c6cb90f" providerId="ADAL" clId="{48C03173-ACCA-4E88-8037-11C3C7A761B6}" dt="2021-10-27T15:07:22.656" v="2607"/>
          <ac:spMkLst>
            <pc:docMk/>
            <pc:sldMk cId="3764614070" sldId="318"/>
            <ac:spMk id="12" creationId="{F20313AC-C43D-4DC0-BA18-937920594032}"/>
          </ac:spMkLst>
        </pc:spChg>
        <pc:graphicFrameChg chg="add mod ord modVis">
          <ac:chgData name="Ana Paula De Almeida Aranha" userId="6fb46378-b617-46b5-b041-effc0c6cb90f" providerId="ADAL" clId="{48C03173-ACCA-4E88-8037-11C3C7A761B6}" dt="2021-10-28T08:51:45.788" v="5106"/>
          <ac:graphicFrameMkLst>
            <pc:docMk/>
            <pc:sldMk cId="3764614070" sldId="318"/>
            <ac:graphicFrameMk id="3" creationId="{EEFDBA29-FA25-402A-B328-527702D4AD19}"/>
          </ac:graphicFrameMkLst>
        </pc:graphicFrameChg>
        <pc:graphicFrameChg chg="add del mod modGraphic">
          <ac:chgData name="Ana Paula De Almeida Aranha" userId="6fb46378-b617-46b5-b041-effc0c6cb90f" providerId="ADAL" clId="{48C03173-ACCA-4E88-8037-11C3C7A761B6}" dt="2021-10-29T12:01:36.369" v="5574" actId="14734"/>
          <ac:graphicFrameMkLst>
            <pc:docMk/>
            <pc:sldMk cId="3764614070" sldId="318"/>
            <ac:graphicFrameMk id="7" creationId="{D5763630-3AA1-41D8-A670-EFC213644245}"/>
          </ac:graphicFrameMkLst>
        </pc:graphicFrameChg>
      </pc:sldChg>
      <pc:sldChg chg="addSp delSp modSp add mod">
        <pc:chgData name="Ana Paula De Almeida Aranha" userId="6fb46378-b617-46b5-b041-effc0c6cb90f" providerId="ADAL" clId="{48C03173-ACCA-4E88-8037-11C3C7A761B6}" dt="2021-10-29T12:01:59.854" v="5822"/>
        <pc:sldMkLst>
          <pc:docMk/>
          <pc:sldMk cId="1338289092" sldId="319"/>
        </pc:sldMkLst>
        <pc:spChg chg="add del mod modVis">
          <ac:chgData name="Ana Paula De Almeida Aranha" userId="6fb46378-b617-46b5-b041-effc0c6cb90f" providerId="ADAL" clId="{48C03173-ACCA-4E88-8037-11C3C7A761B6}" dt="2021-10-29T12:01:55.028" v="5631"/>
          <ac:spMkLst>
            <pc:docMk/>
            <pc:sldMk cId="1338289092" sldId="319"/>
            <ac:spMk id="2" creationId="{20525E7B-582A-4E22-88C4-FD1242ACFCBB}"/>
          </ac:spMkLst>
        </pc:spChg>
        <pc:spChg chg="add del mod modVis">
          <ac:chgData name="Ana Paula De Almeida Aranha" userId="6fb46378-b617-46b5-b041-effc0c6cb90f" providerId="ADAL" clId="{48C03173-ACCA-4E88-8037-11C3C7A761B6}" dt="2021-10-27T15:19:29.721" v="3191"/>
          <ac:spMkLst>
            <pc:docMk/>
            <pc:sldMk cId="1338289092" sldId="319"/>
            <ac:spMk id="2" creationId="{5081ED91-6C16-4C83-A61F-9A342868A54A}"/>
          </ac:spMkLst>
        </pc:spChg>
        <pc:spChg chg="add del mod modVis">
          <ac:chgData name="Ana Paula De Almeida Aranha" userId="6fb46378-b617-46b5-b041-effc0c6cb90f" providerId="ADAL" clId="{48C03173-ACCA-4E88-8037-11C3C7A761B6}" dt="2021-10-28T08:53:20.752" v="5193"/>
          <ac:spMkLst>
            <pc:docMk/>
            <pc:sldMk cId="1338289092" sldId="319"/>
            <ac:spMk id="2" creationId="{7D0D1BA3-A282-4F0A-93FB-D34C30D64D94}"/>
          </ac:spMkLst>
        </pc:spChg>
        <pc:spChg chg="mod">
          <ac:chgData name="Ana Paula De Almeida Aranha" userId="6fb46378-b617-46b5-b041-effc0c6cb90f" providerId="ADAL" clId="{48C03173-ACCA-4E88-8037-11C3C7A761B6}" dt="2021-10-29T12:01:59.805" v="5766" actId="948"/>
          <ac:spMkLst>
            <pc:docMk/>
            <pc:sldMk cId="1338289092" sldId="319"/>
            <ac:spMk id="4" creationId="{757378EC-C671-465C-973F-FF03099CEABE}"/>
          </ac:spMkLst>
        </pc:spChg>
        <pc:spChg chg="add del mod modVis">
          <ac:chgData name="Ana Paula De Almeida Aranha" userId="6fb46378-b617-46b5-b041-effc0c6cb90f" providerId="ADAL" clId="{48C03173-ACCA-4E88-8037-11C3C7A761B6}" dt="2021-10-29T12:01:56.182" v="5696"/>
          <ac:spMkLst>
            <pc:docMk/>
            <pc:sldMk cId="1338289092" sldId="319"/>
            <ac:spMk id="5" creationId="{73CE9628-F166-49D7-B043-BA11FCE2B626}"/>
          </ac:spMkLst>
        </pc:spChg>
        <pc:spChg chg="add del mod modVis">
          <ac:chgData name="Ana Paula De Almeida Aranha" userId="6fb46378-b617-46b5-b041-effc0c6cb90f" providerId="ADAL" clId="{48C03173-ACCA-4E88-8037-11C3C7A761B6}" dt="2021-10-28T08:53:21.573" v="5251"/>
          <ac:spMkLst>
            <pc:docMk/>
            <pc:sldMk cId="1338289092" sldId="319"/>
            <ac:spMk id="5" creationId="{7B375633-10F2-49AD-B9E1-0E886295C89B}"/>
          </ac:spMkLst>
        </pc:spChg>
        <pc:spChg chg="add del mod modVis">
          <ac:chgData name="Ana Paula De Almeida Aranha" userId="6fb46378-b617-46b5-b041-effc0c6cb90f" providerId="ADAL" clId="{48C03173-ACCA-4E88-8037-11C3C7A761B6}" dt="2021-10-27T15:19:30.999" v="3252"/>
          <ac:spMkLst>
            <pc:docMk/>
            <pc:sldMk cId="1338289092" sldId="319"/>
            <ac:spMk id="5" creationId="{FB0132DD-A0C9-478A-88C9-B68C0155893A}"/>
          </ac:spMkLst>
        </pc:spChg>
        <pc:spChg chg="add del mod modVis">
          <ac:chgData name="Ana Paula De Almeida Aranha" userId="6fb46378-b617-46b5-b041-effc0c6cb90f" providerId="ADAL" clId="{48C03173-ACCA-4E88-8037-11C3C7A761B6}" dt="2021-10-27T15:19:46.787" v="3318"/>
          <ac:spMkLst>
            <pc:docMk/>
            <pc:sldMk cId="1338289092" sldId="319"/>
            <ac:spMk id="6" creationId="{47D9C82C-4415-4E03-A835-29CF8B7190B4}"/>
          </ac:spMkLst>
        </pc:spChg>
        <pc:spChg chg="add del mod modVis">
          <ac:chgData name="Ana Paula De Almeida Aranha" userId="6fb46378-b617-46b5-b041-effc0c6cb90f" providerId="ADAL" clId="{48C03173-ACCA-4E88-8037-11C3C7A761B6}" dt="2021-10-29T12:01:58.011" v="5758"/>
          <ac:spMkLst>
            <pc:docMk/>
            <pc:sldMk cId="1338289092" sldId="319"/>
            <ac:spMk id="6" creationId="{55EE2BFD-B6EB-4778-8792-CC78FD6FCDA7}"/>
          </ac:spMkLst>
        </pc:spChg>
        <pc:spChg chg="add del mod modVis">
          <ac:chgData name="Ana Paula De Almeida Aranha" userId="6fb46378-b617-46b5-b041-effc0c6cb90f" providerId="ADAL" clId="{48C03173-ACCA-4E88-8037-11C3C7A761B6}" dt="2021-10-29T12:01:59.853" v="5820"/>
          <ac:spMkLst>
            <pc:docMk/>
            <pc:sldMk cId="1338289092" sldId="319"/>
            <ac:spMk id="8" creationId="{07CB60F7-72DF-4B22-B45A-778EF2E47F4B}"/>
          </ac:spMkLst>
        </pc:spChg>
        <pc:spChg chg="add del mod modVis">
          <ac:chgData name="Ana Paula De Almeida Aranha" userId="6fb46378-b617-46b5-b041-effc0c6cb90f" providerId="ADAL" clId="{48C03173-ACCA-4E88-8037-11C3C7A761B6}" dt="2021-10-27T15:19:52.516" v="3376"/>
          <ac:spMkLst>
            <pc:docMk/>
            <pc:sldMk cId="1338289092" sldId="319"/>
            <ac:spMk id="8" creationId="{FB1D5873-84ED-4684-A898-96D993DCF624}"/>
          </ac:spMkLst>
        </pc:spChg>
        <pc:spChg chg="add del mod modVis">
          <ac:chgData name="Ana Paula De Almeida Aranha" userId="6fb46378-b617-46b5-b041-effc0c6cb90f" providerId="ADAL" clId="{48C03173-ACCA-4E88-8037-11C3C7A761B6}" dt="2021-10-27T15:19:53.570" v="3435"/>
          <ac:spMkLst>
            <pc:docMk/>
            <pc:sldMk cId="1338289092" sldId="319"/>
            <ac:spMk id="9" creationId="{A8B46814-8FC5-4C05-9F14-51D04DDACFF7}"/>
          </ac:spMkLst>
        </pc:spChg>
        <pc:spChg chg="add del mod modVis">
          <ac:chgData name="Ana Paula De Almeida Aranha" userId="6fb46378-b617-46b5-b041-effc0c6cb90f" providerId="ADAL" clId="{48C03173-ACCA-4E88-8037-11C3C7A761B6}" dt="2021-10-27T15:19:53.812" v="3493"/>
          <ac:spMkLst>
            <pc:docMk/>
            <pc:sldMk cId="1338289092" sldId="319"/>
            <ac:spMk id="10" creationId="{E1C928D6-63B5-4941-BCFF-DA5134A34FAF}"/>
          </ac:spMkLst>
        </pc:spChg>
        <pc:spChg chg="add del mod modVis">
          <ac:chgData name="Ana Paula De Almeida Aranha" userId="6fb46378-b617-46b5-b041-effc0c6cb90f" providerId="ADAL" clId="{48C03173-ACCA-4E88-8037-11C3C7A761B6}" dt="2021-10-27T15:19:54.460" v="3551"/>
          <ac:spMkLst>
            <pc:docMk/>
            <pc:sldMk cId="1338289092" sldId="319"/>
            <ac:spMk id="11" creationId="{77511166-A889-4A42-A494-6C74A52FD551}"/>
          </ac:spMkLst>
        </pc:spChg>
        <pc:spChg chg="add del mod modVis">
          <ac:chgData name="Ana Paula De Almeida Aranha" userId="6fb46378-b617-46b5-b041-effc0c6cb90f" providerId="ADAL" clId="{48C03173-ACCA-4E88-8037-11C3C7A761B6}" dt="2021-10-27T15:19:57.552" v="3609"/>
          <ac:spMkLst>
            <pc:docMk/>
            <pc:sldMk cId="1338289092" sldId="319"/>
            <ac:spMk id="12" creationId="{D87B5248-4D13-4E1F-9519-39DB6F7DE342}"/>
          </ac:spMkLst>
        </pc:spChg>
        <pc:spChg chg="add del mod modVis">
          <ac:chgData name="Ana Paula De Almeida Aranha" userId="6fb46378-b617-46b5-b041-effc0c6cb90f" providerId="ADAL" clId="{48C03173-ACCA-4E88-8037-11C3C7A761B6}" dt="2021-10-27T15:20:03.510" v="3652"/>
          <ac:spMkLst>
            <pc:docMk/>
            <pc:sldMk cId="1338289092" sldId="319"/>
            <ac:spMk id="13" creationId="{F9DAE278-F6F9-4117-8544-A52B21E914B4}"/>
          </ac:spMkLst>
        </pc:spChg>
        <pc:spChg chg="add del mod modVis">
          <ac:chgData name="Ana Paula De Almeida Aranha" userId="6fb46378-b617-46b5-b041-effc0c6cb90f" providerId="ADAL" clId="{48C03173-ACCA-4E88-8037-11C3C7A761B6}" dt="2021-10-27T15:20:06.288" v="3715"/>
          <ac:spMkLst>
            <pc:docMk/>
            <pc:sldMk cId="1338289092" sldId="319"/>
            <ac:spMk id="14" creationId="{EB03A941-4F2B-46E2-9F84-AA2169E9EDC0}"/>
          </ac:spMkLst>
        </pc:spChg>
        <pc:spChg chg="add del mod modVis">
          <ac:chgData name="Ana Paula De Almeida Aranha" userId="6fb46378-b617-46b5-b041-effc0c6cb90f" providerId="ADAL" clId="{48C03173-ACCA-4E88-8037-11C3C7A761B6}" dt="2021-10-27T15:20:12.316" v="3773"/>
          <ac:spMkLst>
            <pc:docMk/>
            <pc:sldMk cId="1338289092" sldId="319"/>
            <ac:spMk id="15" creationId="{A6EC8E11-F8CB-4948-AAED-F2A6044B1736}"/>
          </ac:spMkLst>
        </pc:spChg>
        <pc:spChg chg="add del mod modVis">
          <ac:chgData name="Ana Paula De Almeida Aranha" userId="6fb46378-b617-46b5-b041-effc0c6cb90f" providerId="ADAL" clId="{48C03173-ACCA-4E88-8037-11C3C7A761B6}" dt="2021-10-27T15:20:13.412" v="3832"/>
          <ac:spMkLst>
            <pc:docMk/>
            <pc:sldMk cId="1338289092" sldId="319"/>
            <ac:spMk id="16" creationId="{51AAEE12-5625-4B9A-B8C6-5B6C00E69482}"/>
          </ac:spMkLst>
        </pc:spChg>
        <pc:graphicFrameChg chg="mod">
          <ac:chgData name="Ana Paula De Almeida Aranha" userId="6fb46378-b617-46b5-b041-effc0c6cb90f" providerId="ADAL" clId="{48C03173-ACCA-4E88-8037-11C3C7A761B6}" dt="2021-10-29T12:01:59.854" v="5822"/>
          <ac:graphicFrameMkLst>
            <pc:docMk/>
            <pc:sldMk cId="1338289092" sldId="319"/>
            <ac:graphicFrameMk id="3" creationId="{EEFDBA29-FA25-402A-B328-527702D4AD19}"/>
          </ac:graphicFrameMkLst>
        </pc:graphicFrameChg>
        <pc:graphicFrameChg chg="mod modGraphic">
          <ac:chgData name="Ana Paula De Almeida Aranha" userId="6fb46378-b617-46b5-b041-effc0c6cb90f" providerId="ADAL" clId="{48C03173-ACCA-4E88-8037-11C3C7A761B6}" dt="2021-10-28T08:56:45.514" v="5452" actId="2165"/>
          <ac:graphicFrameMkLst>
            <pc:docMk/>
            <pc:sldMk cId="1338289092" sldId="319"/>
            <ac:graphicFrameMk id="7" creationId="{D5763630-3AA1-41D8-A670-EFC213644245}"/>
          </ac:graphicFrameMkLst>
        </pc:graphicFrameChg>
      </pc:sldChg>
      <pc:sldChg chg="delSp modSp add del mod">
        <pc:chgData name="Ana Paula De Almeida Aranha" userId="6fb46378-b617-46b5-b041-effc0c6cb90f" providerId="ADAL" clId="{48C03173-ACCA-4E88-8037-11C3C7A761B6}" dt="2021-10-27T14:56:07.581" v="820" actId="47"/>
        <pc:sldMkLst>
          <pc:docMk/>
          <pc:sldMk cId="1805851338" sldId="319"/>
        </pc:sldMkLst>
        <pc:spChg chg="mod">
          <ac:chgData name="Ana Paula De Almeida Aranha" userId="6fb46378-b617-46b5-b041-effc0c6cb90f" providerId="ADAL" clId="{48C03173-ACCA-4E88-8037-11C3C7A761B6}" dt="2021-10-27T14:39:28.034" v="272" actId="1076"/>
          <ac:spMkLst>
            <pc:docMk/>
            <pc:sldMk cId="1805851338" sldId="319"/>
            <ac:spMk id="5" creationId="{BB82019E-E230-4D59-BC10-81CCD5757F35}"/>
          </ac:spMkLst>
        </pc:spChg>
        <pc:spChg chg="mod">
          <ac:chgData name="Ana Paula De Almeida Aranha" userId="6fb46378-b617-46b5-b041-effc0c6cb90f" providerId="ADAL" clId="{48C03173-ACCA-4E88-8037-11C3C7A761B6}" dt="2021-10-27T14:39:28.034" v="272" actId="1076"/>
          <ac:spMkLst>
            <pc:docMk/>
            <pc:sldMk cId="1805851338" sldId="319"/>
            <ac:spMk id="6" creationId="{CC9E205B-5B3E-49A8-85D1-8757230DB085}"/>
          </ac:spMkLst>
        </pc:spChg>
        <pc:spChg chg="mod">
          <ac:chgData name="Ana Paula De Almeida Aranha" userId="6fb46378-b617-46b5-b041-effc0c6cb90f" providerId="ADAL" clId="{48C03173-ACCA-4E88-8037-11C3C7A761B6}" dt="2021-10-27T14:39:28.034" v="272" actId="1076"/>
          <ac:spMkLst>
            <pc:docMk/>
            <pc:sldMk cId="1805851338" sldId="319"/>
            <ac:spMk id="7" creationId="{5E3B65B6-F67B-4C75-A78E-9F8D4D9580FA}"/>
          </ac:spMkLst>
        </pc:spChg>
        <pc:spChg chg="mod">
          <ac:chgData name="Ana Paula De Almeida Aranha" userId="6fb46378-b617-46b5-b041-effc0c6cb90f" providerId="ADAL" clId="{48C03173-ACCA-4E88-8037-11C3C7A761B6}" dt="2021-10-27T14:39:28.034" v="272" actId="1076"/>
          <ac:spMkLst>
            <pc:docMk/>
            <pc:sldMk cId="1805851338" sldId="319"/>
            <ac:spMk id="8" creationId="{CC48E3E9-65D2-4F7A-B694-CB3CAF54D53C}"/>
          </ac:spMkLst>
        </pc:spChg>
        <pc:spChg chg="mod">
          <ac:chgData name="Ana Paula De Almeida Aranha" userId="6fb46378-b617-46b5-b041-effc0c6cb90f" providerId="ADAL" clId="{48C03173-ACCA-4E88-8037-11C3C7A761B6}" dt="2021-10-27T14:39:28.034" v="272" actId="1076"/>
          <ac:spMkLst>
            <pc:docMk/>
            <pc:sldMk cId="1805851338" sldId="319"/>
            <ac:spMk id="9" creationId="{874DDBB7-29B2-4C85-B851-D5CB90E0780D}"/>
          </ac:spMkLst>
        </pc:spChg>
        <pc:spChg chg="mod">
          <ac:chgData name="Ana Paula De Almeida Aranha" userId="6fb46378-b617-46b5-b041-effc0c6cb90f" providerId="ADAL" clId="{48C03173-ACCA-4E88-8037-11C3C7A761B6}" dt="2021-10-27T14:39:28.034" v="272" actId="1076"/>
          <ac:spMkLst>
            <pc:docMk/>
            <pc:sldMk cId="1805851338" sldId="319"/>
            <ac:spMk id="11" creationId="{E06F8BBC-480F-47B7-B393-B3C2FDBC21C7}"/>
          </ac:spMkLst>
        </pc:spChg>
        <pc:spChg chg="mod">
          <ac:chgData name="Ana Paula De Almeida Aranha" userId="6fb46378-b617-46b5-b041-effc0c6cb90f" providerId="ADAL" clId="{48C03173-ACCA-4E88-8037-11C3C7A761B6}" dt="2021-10-27T14:39:28.034" v="272" actId="1076"/>
          <ac:spMkLst>
            <pc:docMk/>
            <pc:sldMk cId="1805851338" sldId="319"/>
            <ac:spMk id="12" creationId="{F8863C37-AAB4-4DEA-96EF-35801F297705}"/>
          </ac:spMkLst>
        </pc:spChg>
        <pc:spChg chg="mod">
          <ac:chgData name="Ana Paula De Almeida Aranha" userId="6fb46378-b617-46b5-b041-effc0c6cb90f" providerId="ADAL" clId="{48C03173-ACCA-4E88-8037-11C3C7A761B6}" dt="2021-10-27T14:39:28.034" v="272" actId="1076"/>
          <ac:spMkLst>
            <pc:docMk/>
            <pc:sldMk cId="1805851338" sldId="319"/>
            <ac:spMk id="13" creationId="{341EFC0C-57FF-4BA6-A96C-E70F44E1E796}"/>
          </ac:spMkLst>
        </pc:spChg>
        <pc:spChg chg="mod">
          <ac:chgData name="Ana Paula De Almeida Aranha" userId="6fb46378-b617-46b5-b041-effc0c6cb90f" providerId="ADAL" clId="{48C03173-ACCA-4E88-8037-11C3C7A761B6}" dt="2021-10-27T14:39:28.034" v="272" actId="1076"/>
          <ac:spMkLst>
            <pc:docMk/>
            <pc:sldMk cId="1805851338" sldId="319"/>
            <ac:spMk id="15" creationId="{445070EB-1951-42C7-80F3-71FEECCD968D}"/>
          </ac:spMkLst>
        </pc:spChg>
        <pc:spChg chg="mod">
          <ac:chgData name="Ana Paula De Almeida Aranha" userId="6fb46378-b617-46b5-b041-effc0c6cb90f" providerId="ADAL" clId="{48C03173-ACCA-4E88-8037-11C3C7A761B6}" dt="2021-10-27T14:39:28.034" v="272" actId="1076"/>
          <ac:spMkLst>
            <pc:docMk/>
            <pc:sldMk cId="1805851338" sldId="319"/>
            <ac:spMk id="16" creationId="{C436DB16-2E73-4020-810E-A58CD61AA776}"/>
          </ac:spMkLst>
        </pc:spChg>
        <pc:spChg chg="mod">
          <ac:chgData name="Ana Paula De Almeida Aranha" userId="6fb46378-b617-46b5-b041-effc0c6cb90f" providerId="ADAL" clId="{48C03173-ACCA-4E88-8037-11C3C7A761B6}" dt="2021-10-27T14:39:28.034" v="272" actId="1076"/>
          <ac:spMkLst>
            <pc:docMk/>
            <pc:sldMk cId="1805851338" sldId="319"/>
            <ac:spMk id="27" creationId="{C586407B-DA11-42B4-B9CB-491D553DD836}"/>
          </ac:spMkLst>
        </pc:spChg>
        <pc:spChg chg="mod">
          <ac:chgData name="Ana Paula De Almeida Aranha" userId="6fb46378-b617-46b5-b041-effc0c6cb90f" providerId="ADAL" clId="{48C03173-ACCA-4E88-8037-11C3C7A761B6}" dt="2021-10-27T14:39:28.034" v="272" actId="1076"/>
          <ac:spMkLst>
            <pc:docMk/>
            <pc:sldMk cId="1805851338" sldId="319"/>
            <ac:spMk id="28" creationId="{5F1FBFB3-2408-4ACA-8999-A0F6B4903E02}"/>
          </ac:spMkLst>
        </pc:spChg>
        <pc:spChg chg="mod">
          <ac:chgData name="Ana Paula De Almeida Aranha" userId="6fb46378-b617-46b5-b041-effc0c6cb90f" providerId="ADAL" clId="{48C03173-ACCA-4E88-8037-11C3C7A761B6}" dt="2021-10-27T14:39:28.034" v="272" actId="1076"/>
          <ac:spMkLst>
            <pc:docMk/>
            <pc:sldMk cId="1805851338" sldId="319"/>
            <ac:spMk id="29" creationId="{057251BE-2A09-4D56-9D9E-6A00956F62A6}"/>
          </ac:spMkLst>
        </pc:spChg>
        <pc:spChg chg="mod">
          <ac:chgData name="Ana Paula De Almeida Aranha" userId="6fb46378-b617-46b5-b041-effc0c6cb90f" providerId="ADAL" clId="{48C03173-ACCA-4E88-8037-11C3C7A761B6}" dt="2021-10-27T14:39:28.034" v="272" actId="1076"/>
          <ac:spMkLst>
            <pc:docMk/>
            <pc:sldMk cId="1805851338" sldId="319"/>
            <ac:spMk id="30" creationId="{BAB876E3-5CA4-4289-A553-7B26F6F75A61}"/>
          </ac:spMkLst>
        </pc:spChg>
        <pc:spChg chg="mod">
          <ac:chgData name="Ana Paula De Almeida Aranha" userId="6fb46378-b617-46b5-b041-effc0c6cb90f" providerId="ADAL" clId="{48C03173-ACCA-4E88-8037-11C3C7A761B6}" dt="2021-10-27T14:39:28.034" v="272" actId="1076"/>
          <ac:spMkLst>
            <pc:docMk/>
            <pc:sldMk cId="1805851338" sldId="319"/>
            <ac:spMk id="42" creationId="{5CF609DA-46D6-4904-9BCC-A1AD643840CB}"/>
          </ac:spMkLst>
        </pc:spChg>
        <pc:spChg chg="del">
          <ac:chgData name="Ana Paula De Almeida Aranha" userId="6fb46378-b617-46b5-b041-effc0c6cb90f" providerId="ADAL" clId="{48C03173-ACCA-4E88-8037-11C3C7A761B6}" dt="2021-10-27T14:39:21.450" v="271" actId="478"/>
          <ac:spMkLst>
            <pc:docMk/>
            <pc:sldMk cId="1805851338" sldId="319"/>
            <ac:spMk id="77" creationId="{BEDA8FFF-99E1-46C4-AC17-EBD2EEC6A378}"/>
          </ac:spMkLst>
        </pc:spChg>
        <pc:grpChg chg="del">
          <ac:chgData name="Ana Paula De Almeida Aranha" userId="6fb46378-b617-46b5-b041-effc0c6cb90f" providerId="ADAL" clId="{48C03173-ACCA-4E88-8037-11C3C7A761B6}" dt="2021-10-27T14:39:21.450" v="271" actId="478"/>
          <ac:grpSpMkLst>
            <pc:docMk/>
            <pc:sldMk cId="1805851338" sldId="319"/>
            <ac:grpSpMk id="31" creationId="{FEFF0F4F-80A6-4548-91B2-F7B0024A1C85}"/>
          </ac:grpSpMkLst>
        </pc:grpChg>
        <pc:cxnChg chg="mod">
          <ac:chgData name="Ana Paula De Almeida Aranha" userId="6fb46378-b617-46b5-b041-effc0c6cb90f" providerId="ADAL" clId="{48C03173-ACCA-4E88-8037-11C3C7A761B6}" dt="2021-10-27T14:39:28.034" v="272" actId="1076"/>
          <ac:cxnSpMkLst>
            <pc:docMk/>
            <pc:sldMk cId="1805851338" sldId="319"/>
            <ac:cxnSpMk id="18" creationId="{549CE6D2-4DB8-4633-A63E-131C08323B4B}"/>
          </ac:cxnSpMkLst>
        </pc:cxnChg>
        <pc:cxnChg chg="mod">
          <ac:chgData name="Ana Paula De Almeida Aranha" userId="6fb46378-b617-46b5-b041-effc0c6cb90f" providerId="ADAL" clId="{48C03173-ACCA-4E88-8037-11C3C7A761B6}" dt="2021-10-27T14:39:28.034" v="272" actId="1076"/>
          <ac:cxnSpMkLst>
            <pc:docMk/>
            <pc:sldMk cId="1805851338" sldId="319"/>
            <ac:cxnSpMk id="20" creationId="{6C065165-3C3E-4BCD-873A-2A4EBB2A9570}"/>
          </ac:cxnSpMkLst>
        </pc:cxnChg>
        <pc:cxnChg chg="mod">
          <ac:chgData name="Ana Paula De Almeida Aranha" userId="6fb46378-b617-46b5-b041-effc0c6cb90f" providerId="ADAL" clId="{48C03173-ACCA-4E88-8037-11C3C7A761B6}" dt="2021-10-27T14:39:28.034" v="272" actId="1076"/>
          <ac:cxnSpMkLst>
            <pc:docMk/>
            <pc:sldMk cId="1805851338" sldId="319"/>
            <ac:cxnSpMk id="22" creationId="{44DFEEAB-645B-4F50-BAF8-612058F725E6}"/>
          </ac:cxnSpMkLst>
        </pc:cxnChg>
        <pc:cxnChg chg="mod">
          <ac:chgData name="Ana Paula De Almeida Aranha" userId="6fb46378-b617-46b5-b041-effc0c6cb90f" providerId="ADAL" clId="{48C03173-ACCA-4E88-8037-11C3C7A761B6}" dt="2021-10-27T14:39:28.034" v="272" actId="1076"/>
          <ac:cxnSpMkLst>
            <pc:docMk/>
            <pc:sldMk cId="1805851338" sldId="319"/>
            <ac:cxnSpMk id="24" creationId="{09176354-423C-4C6E-9D77-DCB2C22EA3F7}"/>
          </ac:cxnSpMkLst>
        </pc:cxnChg>
        <pc:cxnChg chg="mod">
          <ac:chgData name="Ana Paula De Almeida Aranha" userId="6fb46378-b617-46b5-b041-effc0c6cb90f" providerId="ADAL" clId="{48C03173-ACCA-4E88-8037-11C3C7A761B6}" dt="2021-10-27T14:39:28.034" v="272" actId="1076"/>
          <ac:cxnSpMkLst>
            <pc:docMk/>
            <pc:sldMk cId="1805851338" sldId="319"/>
            <ac:cxnSpMk id="25" creationId="{76A3C185-6F5C-4E4A-B285-AD5D0C51FBA5}"/>
          </ac:cxnSpMkLst>
        </pc:cxnChg>
        <pc:cxnChg chg="mod">
          <ac:chgData name="Ana Paula De Almeida Aranha" userId="6fb46378-b617-46b5-b041-effc0c6cb90f" providerId="ADAL" clId="{48C03173-ACCA-4E88-8037-11C3C7A761B6}" dt="2021-10-27T14:39:28.034" v="272" actId="1076"/>
          <ac:cxnSpMkLst>
            <pc:docMk/>
            <pc:sldMk cId="1805851338" sldId="319"/>
            <ac:cxnSpMk id="26" creationId="{C7DEA95D-DBE5-4613-8FD9-4BF57ACBD089}"/>
          </ac:cxnSpMkLst>
        </pc:cxnChg>
        <pc:cxnChg chg="mod">
          <ac:chgData name="Ana Paula De Almeida Aranha" userId="6fb46378-b617-46b5-b041-effc0c6cb90f" providerId="ADAL" clId="{48C03173-ACCA-4E88-8037-11C3C7A761B6}" dt="2021-10-27T14:39:28.034" v="272" actId="1076"/>
          <ac:cxnSpMkLst>
            <pc:docMk/>
            <pc:sldMk cId="1805851338" sldId="319"/>
            <ac:cxnSpMk id="32" creationId="{71C299FD-2F21-4F55-98BC-C12889E8F285}"/>
          </ac:cxnSpMkLst>
        </pc:cxnChg>
        <pc:cxnChg chg="mod">
          <ac:chgData name="Ana Paula De Almeida Aranha" userId="6fb46378-b617-46b5-b041-effc0c6cb90f" providerId="ADAL" clId="{48C03173-ACCA-4E88-8037-11C3C7A761B6}" dt="2021-10-27T14:39:28.034" v="272" actId="1076"/>
          <ac:cxnSpMkLst>
            <pc:docMk/>
            <pc:sldMk cId="1805851338" sldId="319"/>
            <ac:cxnSpMk id="37" creationId="{BF0195F6-B4D9-4DD4-854D-0BA93BC4D643}"/>
          </ac:cxnSpMkLst>
        </pc:cxnChg>
        <pc:cxnChg chg="mod">
          <ac:chgData name="Ana Paula De Almeida Aranha" userId="6fb46378-b617-46b5-b041-effc0c6cb90f" providerId="ADAL" clId="{48C03173-ACCA-4E88-8037-11C3C7A761B6}" dt="2021-10-27T14:39:28.034" v="272" actId="1076"/>
          <ac:cxnSpMkLst>
            <pc:docMk/>
            <pc:sldMk cId="1805851338" sldId="319"/>
            <ac:cxnSpMk id="39" creationId="{3BCD6FE6-BDA2-4B93-B0C7-19E578CD7908}"/>
          </ac:cxnSpMkLst>
        </pc:cxnChg>
        <pc:cxnChg chg="mod">
          <ac:chgData name="Ana Paula De Almeida Aranha" userId="6fb46378-b617-46b5-b041-effc0c6cb90f" providerId="ADAL" clId="{48C03173-ACCA-4E88-8037-11C3C7A761B6}" dt="2021-10-27T14:39:28.034" v="272" actId="1076"/>
          <ac:cxnSpMkLst>
            <pc:docMk/>
            <pc:sldMk cId="1805851338" sldId="319"/>
            <ac:cxnSpMk id="44" creationId="{0CD81322-C6D3-4FE3-A452-58EB42695F03}"/>
          </ac:cxnSpMkLst>
        </pc:cxnChg>
        <pc:cxnChg chg="del">
          <ac:chgData name="Ana Paula De Almeida Aranha" userId="6fb46378-b617-46b5-b041-effc0c6cb90f" providerId="ADAL" clId="{48C03173-ACCA-4E88-8037-11C3C7A761B6}" dt="2021-10-27T14:39:21.450" v="271" actId="478"/>
          <ac:cxnSpMkLst>
            <pc:docMk/>
            <pc:sldMk cId="1805851338" sldId="319"/>
            <ac:cxnSpMk id="76" creationId="{60564AD6-6D83-45A6-B9BC-84C35ABCC282}"/>
          </ac:cxnSpMkLst>
        </pc:cxnChg>
      </pc:sldChg>
      <pc:sldMasterChg chg="addSp delSp modSp mod">
        <pc:chgData name="Ana Paula De Almeida Aranha" userId="6fb46378-b617-46b5-b041-effc0c6cb90f" providerId="ADAL" clId="{48C03173-ACCA-4E88-8037-11C3C7A761B6}" dt="2021-10-27T14:48:36.446" v="567"/>
        <pc:sldMasterMkLst>
          <pc:docMk/>
          <pc:sldMasterMk cId="3584517096" sldId="2147483648"/>
        </pc:sldMasterMkLst>
        <pc:spChg chg="mod">
          <ac:chgData name="Ana Paula De Almeida Aranha" userId="6fb46378-b617-46b5-b041-effc0c6cb90f" providerId="ADAL" clId="{48C03173-ACCA-4E88-8037-11C3C7A761B6}" dt="2021-10-27T14:48:36.377" v="496" actId="948"/>
          <ac:spMkLst>
            <pc:docMk/>
            <pc:sldMasterMk cId="3584517096" sldId="2147483648"/>
            <ac:spMk id="2" creationId="{EFE9C07E-5420-EF40-AC97-E77FE1C8B896}"/>
          </ac:spMkLst>
        </pc:spChg>
        <pc:spChg chg="add del mod modVis">
          <ac:chgData name="Ana Paula De Almeida Aranha" userId="6fb46378-b617-46b5-b041-effc0c6cb90f" providerId="ADAL" clId="{48C03173-ACCA-4E88-8037-11C3C7A761B6}" dt="2021-10-27T14:48:36.429" v="552"/>
          <ac:spMkLst>
            <pc:docMk/>
            <pc:sldMasterMk cId="3584517096" sldId="2147483648"/>
            <ac:spMk id="4" creationId="{055DE356-030A-4A61-8984-1124BD4705B2}"/>
          </ac:spMkLst>
        </pc:spChg>
        <pc:graphicFrameChg chg="add mod ord modVis">
          <ac:chgData name="Ana Paula De Almeida Aranha" userId="6fb46378-b617-46b5-b041-effc0c6cb90f" providerId="ADAL" clId="{48C03173-ACCA-4E88-8037-11C3C7A761B6}" dt="2021-10-27T14:48:36.446" v="567"/>
          <ac:graphicFrameMkLst>
            <pc:docMk/>
            <pc:sldMasterMk cId="3584517096" sldId="2147483648"/>
            <ac:graphicFrameMk id="6" creationId="{49ADF14C-D670-4902-A67A-024E5C33FA2F}"/>
          </ac:graphicFrameMkLst>
        </pc:graphicFrameChg>
      </pc:sldMasterChg>
    </pc:docChg>
  </pc:docChgLst>
</pc:chgInfo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svg"/><Relationship Id="rId1" Type="http://schemas.openxmlformats.org/officeDocument/2006/relationships/image" Target="../media/image14.png"/><Relationship Id="rId6" Type="http://schemas.openxmlformats.org/officeDocument/2006/relationships/image" Target="../media/image21.svg"/><Relationship Id="rId5" Type="http://schemas.openxmlformats.org/officeDocument/2006/relationships/image" Target="../media/image16.png"/><Relationship Id="rId4" Type="http://schemas.openxmlformats.org/officeDocument/2006/relationships/image" Target="../media/image19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svg"/><Relationship Id="rId1" Type="http://schemas.openxmlformats.org/officeDocument/2006/relationships/image" Target="../media/image14.png"/><Relationship Id="rId6" Type="http://schemas.openxmlformats.org/officeDocument/2006/relationships/image" Target="../media/image21.svg"/><Relationship Id="rId5" Type="http://schemas.openxmlformats.org/officeDocument/2006/relationships/image" Target="../media/image16.png"/><Relationship Id="rId4" Type="http://schemas.openxmlformats.org/officeDocument/2006/relationships/image" Target="../media/image19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92A7048-BB28-4624-8A82-84423071DD49}" type="doc">
      <dgm:prSet loTypeId="urn:microsoft.com/office/officeart/2018/5/layout/IconCircleLabelList" loCatId="icon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en-US"/>
        </a:p>
      </dgm:t>
    </dgm:pt>
    <dgm:pt modelId="{67834347-3D70-4BA9-8666-4B04D815ECB7}">
      <dgm:prSet custT="1"/>
      <dgm:spPr/>
      <dgm:t>
        <a:bodyPr/>
        <a:lstStyle/>
        <a:p>
          <a:pPr>
            <a:defRPr cap="all"/>
          </a:pPr>
          <a:r>
            <a:rPr lang="en-US" sz="1200" b="0" i="0" dirty="0"/>
            <a:t>The webinar will be </a:t>
          </a:r>
          <a:r>
            <a:rPr lang="en-US" sz="1200" b="1" i="0" dirty="0"/>
            <a:t>recorded</a:t>
          </a:r>
          <a:r>
            <a:rPr lang="en-US" sz="1200" b="0" i="0" dirty="0"/>
            <a:t>; </a:t>
          </a:r>
        </a:p>
        <a:p>
          <a:pPr>
            <a:defRPr cap="all"/>
          </a:pPr>
          <a:r>
            <a:rPr lang="en-US" sz="1200" b="0" i="0" dirty="0"/>
            <a:t>the recording and the slide deck will be available after the webinar</a:t>
          </a:r>
          <a:endParaRPr lang="en-US" sz="1200" dirty="0"/>
        </a:p>
      </dgm:t>
    </dgm:pt>
    <dgm:pt modelId="{48677B7B-6239-4701-9BA5-0D6D522F9645}" type="parTrans" cxnId="{540DB5FF-D1B1-4AE3-91B0-25E8F4BB426D}">
      <dgm:prSet/>
      <dgm:spPr/>
      <dgm:t>
        <a:bodyPr/>
        <a:lstStyle/>
        <a:p>
          <a:endParaRPr lang="en-US" sz="2000"/>
        </a:p>
      </dgm:t>
    </dgm:pt>
    <dgm:pt modelId="{DE3DBAF2-BE6C-4A34-B007-9C5422674F1A}" type="sibTrans" cxnId="{540DB5FF-D1B1-4AE3-91B0-25E8F4BB426D}">
      <dgm:prSet/>
      <dgm:spPr/>
      <dgm:t>
        <a:bodyPr/>
        <a:lstStyle/>
        <a:p>
          <a:endParaRPr lang="en-US" sz="2000"/>
        </a:p>
      </dgm:t>
    </dgm:pt>
    <dgm:pt modelId="{ECED2E15-2DAA-4F74-BA0D-EA50D14EC58A}">
      <dgm:prSet custT="1"/>
      <dgm:spPr/>
      <dgm:t>
        <a:bodyPr/>
        <a:lstStyle/>
        <a:p>
          <a:pPr>
            <a:defRPr cap="all"/>
          </a:pPr>
          <a:r>
            <a:rPr lang="en-US" sz="1200" b="0" i="0" dirty="0"/>
            <a:t>Your </a:t>
          </a:r>
          <a:r>
            <a:rPr lang="en-US" sz="1200" b="1" i="0" dirty="0"/>
            <a:t>microphone</a:t>
          </a:r>
          <a:r>
            <a:rPr lang="en-US" sz="1200" b="0" i="0" dirty="0"/>
            <a:t> will be </a:t>
          </a:r>
          <a:r>
            <a:rPr lang="en-US" sz="1200" b="1" i="0" dirty="0"/>
            <a:t>muted</a:t>
          </a:r>
          <a:endParaRPr lang="en-US" sz="1200" b="1" dirty="0"/>
        </a:p>
      </dgm:t>
    </dgm:pt>
    <dgm:pt modelId="{EC8CA7FB-DE98-4A6C-9442-8D3FD64BFC25}" type="parTrans" cxnId="{916B077F-6B1F-47B0-ADF6-4A11C91491ED}">
      <dgm:prSet/>
      <dgm:spPr/>
      <dgm:t>
        <a:bodyPr/>
        <a:lstStyle/>
        <a:p>
          <a:endParaRPr lang="en-US" sz="2000"/>
        </a:p>
      </dgm:t>
    </dgm:pt>
    <dgm:pt modelId="{A6911027-2992-410C-A473-4AB1E57FB9E2}" type="sibTrans" cxnId="{916B077F-6B1F-47B0-ADF6-4A11C91491ED}">
      <dgm:prSet/>
      <dgm:spPr/>
      <dgm:t>
        <a:bodyPr/>
        <a:lstStyle/>
        <a:p>
          <a:endParaRPr lang="en-US" sz="2000"/>
        </a:p>
      </dgm:t>
    </dgm:pt>
    <dgm:pt modelId="{C90F4AEF-8EF7-4A9A-84F5-757F5239F253}">
      <dgm:prSet custT="1"/>
      <dgm:spPr/>
      <dgm:t>
        <a:bodyPr/>
        <a:lstStyle/>
        <a:p>
          <a:pPr>
            <a:defRPr cap="all"/>
          </a:pPr>
          <a:r>
            <a:rPr lang="en-US" sz="1200" b="0" i="0" dirty="0"/>
            <a:t>You can ask </a:t>
          </a:r>
          <a:r>
            <a:rPr lang="en-US" sz="1200" b="1" i="0" dirty="0"/>
            <a:t>questions</a:t>
          </a:r>
          <a:r>
            <a:rPr lang="en-US" sz="1200" b="0" i="0" dirty="0"/>
            <a:t> </a:t>
          </a:r>
          <a:r>
            <a:rPr lang="en-US" sz="1200" b="1" i="0" dirty="0"/>
            <a:t>in the chat </a:t>
          </a:r>
          <a:r>
            <a:rPr lang="en-US" sz="1200" b="0" i="0" dirty="0"/>
            <a:t>through out the webinar; </a:t>
          </a:r>
        </a:p>
        <a:p>
          <a:pPr>
            <a:defRPr cap="all"/>
          </a:pPr>
          <a:r>
            <a:rPr lang="en-US" sz="1200" b="0" i="0" dirty="0"/>
            <a:t>you can raise you hand and unmute yourself to ask questions directly during the Q&amp;A session</a:t>
          </a:r>
          <a:endParaRPr lang="en-US" sz="1200" dirty="0"/>
        </a:p>
      </dgm:t>
    </dgm:pt>
    <dgm:pt modelId="{FCB184B0-C2F2-4989-981E-67AF4269215C}" type="parTrans" cxnId="{780B26B4-7318-4845-A26E-D66FC0903742}">
      <dgm:prSet/>
      <dgm:spPr/>
      <dgm:t>
        <a:bodyPr/>
        <a:lstStyle/>
        <a:p>
          <a:endParaRPr lang="en-US" sz="2000"/>
        </a:p>
      </dgm:t>
    </dgm:pt>
    <dgm:pt modelId="{972CE95A-4997-49CE-9A39-F32B2DA8CDAE}" type="sibTrans" cxnId="{780B26B4-7318-4845-A26E-D66FC0903742}">
      <dgm:prSet/>
      <dgm:spPr/>
      <dgm:t>
        <a:bodyPr/>
        <a:lstStyle/>
        <a:p>
          <a:endParaRPr lang="en-US" sz="2000"/>
        </a:p>
      </dgm:t>
    </dgm:pt>
    <dgm:pt modelId="{F0EBBCA4-31D6-43A2-B3FC-9FE287AB730B}" type="pres">
      <dgm:prSet presAssocID="{A92A7048-BB28-4624-8A82-84423071DD49}" presName="root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9AAB073-6776-415F-9CF2-902C715AB393}" type="pres">
      <dgm:prSet presAssocID="{67834347-3D70-4BA9-8666-4B04D815ECB7}" presName="compNode" presStyleCnt="0"/>
      <dgm:spPr/>
    </dgm:pt>
    <dgm:pt modelId="{462D8E0D-2E20-4321-B69C-0A7BD92ADAFC}" type="pres">
      <dgm:prSet presAssocID="{67834347-3D70-4BA9-8666-4B04D815ECB7}" presName="iconBgRect" presStyleLbl="bgShp" presStyleIdx="0" presStyleCnt="3"/>
      <dgm:spPr/>
    </dgm:pt>
    <dgm:pt modelId="{AC41C70E-E680-428B-9E20-B6AE284DE36E}" type="pres">
      <dgm:prSet presAssocID="{67834347-3D70-4BA9-8666-4B04D815ECB7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Video camera"/>
        </a:ext>
      </dgm:extLst>
    </dgm:pt>
    <dgm:pt modelId="{14A91E21-60BD-4845-A572-F9FC424998D3}" type="pres">
      <dgm:prSet presAssocID="{67834347-3D70-4BA9-8666-4B04D815ECB7}" presName="spaceRect" presStyleCnt="0"/>
      <dgm:spPr/>
    </dgm:pt>
    <dgm:pt modelId="{7B9BFBE6-5878-4DDA-9E56-D1DB407EAFDC}" type="pres">
      <dgm:prSet presAssocID="{67834347-3D70-4BA9-8666-4B04D815ECB7}" presName="textRect" presStyleLbl="revTx" presStyleIdx="0" presStyleCnt="3">
        <dgm:presLayoutVars>
          <dgm:chMax val="1"/>
          <dgm:chPref val="1"/>
        </dgm:presLayoutVars>
      </dgm:prSet>
      <dgm:spPr/>
      <dgm:t>
        <a:bodyPr/>
        <a:lstStyle/>
        <a:p>
          <a:endParaRPr lang="en-US"/>
        </a:p>
      </dgm:t>
    </dgm:pt>
    <dgm:pt modelId="{11CED5F1-E12F-408F-9D7E-F159837854CD}" type="pres">
      <dgm:prSet presAssocID="{DE3DBAF2-BE6C-4A34-B007-9C5422674F1A}" presName="sibTrans" presStyleCnt="0"/>
      <dgm:spPr/>
    </dgm:pt>
    <dgm:pt modelId="{57259D3F-C92F-4A68-BF6B-4254F02B8E40}" type="pres">
      <dgm:prSet presAssocID="{ECED2E15-2DAA-4F74-BA0D-EA50D14EC58A}" presName="compNode" presStyleCnt="0"/>
      <dgm:spPr/>
    </dgm:pt>
    <dgm:pt modelId="{62C8383B-E66C-4168-AA9F-485C33053EEB}" type="pres">
      <dgm:prSet presAssocID="{ECED2E15-2DAA-4F74-BA0D-EA50D14EC58A}" presName="iconBgRect" presStyleLbl="bgShp" presStyleIdx="1" presStyleCnt="3"/>
      <dgm:spPr/>
    </dgm:pt>
    <dgm:pt modelId="{059887C1-1094-43D4-A430-E3148D96ABE4}" type="pres">
      <dgm:prSet presAssocID="{ECED2E15-2DAA-4F74-BA0D-EA50D14EC58A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Radio microphone"/>
        </a:ext>
      </dgm:extLst>
    </dgm:pt>
    <dgm:pt modelId="{37B7EB9A-37FD-4DA6-9361-DA45BD33A282}" type="pres">
      <dgm:prSet presAssocID="{ECED2E15-2DAA-4F74-BA0D-EA50D14EC58A}" presName="spaceRect" presStyleCnt="0"/>
      <dgm:spPr/>
    </dgm:pt>
    <dgm:pt modelId="{5761EE16-3AD3-427F-BC3F-4665F879BA29}" type="pres">
      <dgm:prSet presAssocID="{ECED2E15-2DAA-4F74-BA0D-EA50D14EC58A}" presName="textRect" presStyleLbl="revTx" presStyleIdx="1" presStyleCnt="3">
        <dgm:presLayoutVars>
          <dgm:chMax val="1"/>
          <dgm:chPref val="1"/>
        </dgm:presLayoutVars>
      </dgm:prSet>
      <dgm:spPr/>
      <dgm:t>
        <a:bodyPr/>
        <a:lstStyle/>
        <a:p>
          <a:endParaRPr lang="en-US"/>
        </a:p>
      </dgm:t>
    </dgm:pt>
    <dgm:pt modelId="{5018DF44-FE75-4EC2-9573-5B490C8E4776}" type="pres">
      <dgm:prSet presAssocID="{A6911027-2992-410C-A473-4AB1E57FB9E2}" presName="sibTrans" presStyleCnt="0"/>
      <dgm:spPr/>
    </dgm:pt>
    <dgm:pt modelId="{D4C33DB7-7F81-49B9-9A21-6F27D557735E}" type="pres">
      <dgm:prSet presAssocID="{C90F4AEF-8EF7-4A9A-84F5-757F5239F253}" presName="compNode" presStyleCnt="0"/>
      <dgm:spPr/>
    </dgm:pt>
    <dgm:pt modelId="{608042F6-CB2B-49ED-A08F-E886FDC9896B}" type="pres">
      <dgm:prSet presAssocID="{C90F4AEF-8EF7-4A9A-84F5-757F5239F253}" presName="iconBgRect" presStyleLbl="bgShp" presStyleIdx="2" presStyleCnt="3"/>
      <dgm:spPr/>
    </dgm:pt>
    <dgm:pt modelId="{7B69727A-2315-41A6-A4EC-A65ABFCF2D1E}" type="pres">
      <dgm:prSet presAssocID="{C90F4AEF-8EF7-4A9A-84F5-757F5239F253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Questions"/>
        </a:ext>
      </dgm:extLst>
    </dgm:pt>
    <dgm:pt modelId="{F173AFFA-403C-4D31-A253-5564FFF7E43B}" type="pres">
      <dgm:prSet presAssocID="{C90F4AEF-8EF7-4A9A-84F5-757F5239F253}" presName="spaceRect" presStyleCnt="0"/>
      <dgm:spPr/>
    </dgm:pt>
    <dgm:pt modelId="{7E83D95E-D6D7-44C9-B7C0-BE82F0C97A16}" type="pres">
      <dgm:prSet presAssocID="{C90F4AEF-8EF7-4A9A-84F5-757F5239F253}" presName="textRect" presStyleLbl="revTx" presStyleIdx="2" presStyleCnt="3">
        <dgm:presLayoutVars>
          <dgm:chMax val="1"/>
          <dgm:chPref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BC90840-995E-43D3-B55C-5387DE19EB27}" type="presOf" srcId="{ECED2E15-2DAA-4F74-BA0D-EA50D14EC58A}" destId="{5761EE16-3AD3-427F-BC3F-4665F879BA29}" srcOrd="0" destOrd="0" presId="urn:microsoft.com/office/officeart/2018/5/layout/IconCircleLabelList"/>
    <dgm:cxn modelId="{540DB5FF-D1B1-4AE3-91B0-25E8F4BB426D}" srcId="{A92A7048-BB28-4624-8A82-84423071DD49}" destId="{67834347-3D70-4BA9-8666-4B04D815ECB7}" srcOrd="0" destOrd="0" parTransId="{48677B7B-6239-4701-9BA5-0D6D522F9645}" sibTransId="{DE3DBAF2-BE6C-4A34-B007-9C5422674F1A}"/>
    <dgm:cxn modelId="{780B26B4-7318-4845-A26E-D66FC0903742}" srcId="{A92A7048-BB28-4624-8A82-84423071DD49}" destId="{C90F4AEF-8EF7-4A9A-84F5-757F5239F253}" srcOrd="2" destOrd="0" parTransId="{FCB184B0-C2F2-4989-981E-67AF4269215C}" sibTransId="{972CE95A-4997-49CE-9A39-F32B2DA8CDAE}"/>
    <dgm:cxn modelId="{7499057A-E150-4073-895E-90657653C647}" type="presOf" srcId="{C90F4AEF-8EF7-4A9A-84F5-757F5239F253}" destId="{7E83D95E-D6D7-44C9-B7C0-BE82F0C97A16}" srcOrd="0" destOrd="0" presId="urn:microsoft.com/office/officeart/2018/5/layout/IconCircleLabelList"/>
    <dgm:cxn modelId="{00A510A3-6AE1-482D-A46D-0A345EFD24E2}" type="presOf" srcId="{A92A7048-BB28-4624-8A82-84423071DD49}" destId="{F0EBBCA4-31D6-43A2-B3FC-9FE287AB730B}" srcOrd="0" destOrd="0" presId="urn:microsoft.com/office/officeart/2018/5/layout/IconCircleLabelList"/>
    <dgm:cxn modelId="{916B077F-6B1F-47B0-ADF6-4A11C91491ED}" srcId="{A92A7048-BB28-4624-8A82-84423071DD49}" destId="{ECED2E15-2DAA-4F74-BA0D-EA50D14EC58A}" srcOrd="1" destOrd="0" parTransId="{EC8CA7FB-DE98-4A6C-9442-8D3FD64BFC25}" sibTransId="{A6911027-2992-410C-A473-4AB1E57FB9E2}"/>
    <dgm:cxn modelId="{399DE916-1CEC-4924-9D80-9A259C1000C5}" type="presOf" srcId="{67834347-3D70-4BA9-8666-4B04D815ECB7}" destId="{7B9BFBE6-5878-4DDA-9E56-D1DB407EAFDC}" srcOrd="0" destOrd="0" presId="urn:microsoft.com/office/officeart/2018/5/layout/IconCircleLabelList"/>
    <dgm:cxn modelId="{3428D2B4-3EF5-4108-B2CC-CB5FFAEBB2A5}" type="presParOf" srcId="{F0EBBCA4-31D6-43A2-B3FC-9FE287AB730B}" destId="{09AAB073-6776-415F-9CF2-902C715AB393}" srcOrd="0" destOrd="0" presId="urn:microsoft.com/office/officeart/2018/5/layout/IconCircleLabelList"/>
    <dgm:cxn modelId="{263AEE8D-8C25-40B0-98A9-E13E36E6C9C3}" type="presParOf" srcId="{09AAB073-6776-415F-9CF2-902C715AB393}" destId="{462D8E0D-2E20-4321-B69C-0A7BD92ADAFC}" srcOrd="0" destOrd="0" presId="urn:microsoft.com/office/officeart/2018/5/layout/IconCircleLabelList"/>
    <dgm:cxn modelId="{685FBA42-62DC-4458-AA21-E796868F8D0D}" type="presParOf" srcId="{09AAB073-6776-415F-9CF2-902C715AB393}" destId="{AC41C70E-E680-428B-9E20-B6AE284DE36E}" srcOrd="1" destOrd="0" presId="urn:microsoft.com/office/officeart/2018/5/layout/IconCircleLabelList"/>
    <dgm:cxn modelId="{03B62024-77D2-429B-91DC-1A4EB4B42C06}" type="presParOf" srcId="{09AAB073-6776-415F-9CF2-902C715AB393}" destId="{14A91E21-60BD-4845-A572-F9FC424998D3}" srcOrd="2" destOrd="0" presId="urn:microsoft.com/office/officeart/2018/5/layout/IconCircleLabelList"/>
    <dgm:cxn modelId="{6F81ADD7-EB11-4835-A525-191E98DFBD98}" type="presParOf" srcId="{09AAB073-6776-415F-9CF2-902C715AB393}" destId="{7B9BFBE6-5878-4DDA-9E56-D1DB407EAFDC}" srcOrd="3" destOrd="0" presId="urn:microsoft.com/office/officeart/2018/5/layout/IconCircleLabelList"/>
    <dgm:cxn modelId="{1ACC5E44-BFBC-466F-A18F-02DE69F68377}" type="presParOf" srcId="{F0EBBCA4-31D6-43A2-B3FC-9FE287AB730B}" destId="{11CED5F1-E12F-408F-9D7E-F159837854CD}" srcOrd="1" destOrd="0" presId="urn:microsoft.com/office/officeart/2018/5/layout/IconCircleLabelList"/>
    <dgm:cxn modelId="{2DA0F546-A68F-4675-866B-AB4ED6B301FA}" type="presParOf" srcId="{F0EBBCA4-31D6-43A2-B3FC-9FE287AB730B}" destId="{57259D3F-C92F-4A68-BF6B-4254F02B8E40}" srcOrd="2" destOrd="0" presId="urn:microsoft.com/office/officeart/2018/5/layout/IconCircleLabelList"/>
    <dgm:cxn modelId="{5E27F89A-A67B-4656-ACA1-75C713021ADA}" type="presParOf" srcId="{57259D3F-C92F-4A68-BF6B-4254F02B8E40}" destId="{62C8383B-E66C-4168-AA9F-485C33053EEB}" srcOrd="0" destOrd="0" presId="urn:microsoft.com/office/officeart/2018/5/layout/IconCircleLabelList"/>
    <dgm:cxn modelId="{2E352451-F74C-4E7A-AAF9-88E6EA93C593}" type="presParOf" srcId="{57259D3F-C92F-4A68-BF6B-4254F02B8E40}" destId="{059887C1-1094-43D4-A430-E3148D96ABE4}" srcOrd="1" destOrd="0" presId="urn:microsoft.com/office/officeart/2018/5/layout/IconCircleLabelList"/>
    <dgm:cxn modelId="{09768350-867F-4282-B4C3-91451538B378}" type="presParOf" srcId="{57259D3F-C92F-4A68-BF6B-4254F02B8E40}" destId="{37B7EB9A-37FD-4DA6-9361-DA45BD33A282}" srcOrd="2" destOrd="0" presId="urn:microsoft.com/office/officeart/2018/5/layout/IconCircleLabelList"/>
    <dgm:cxn modelId="{04233717-B1CC-4430-9F24-EC6BAD837F28}" type="presParOf" srcId="{57259D3F-C92F-4A68-BF6B-4254F02B8E40}" destId="{5761EE16-3AD3-427F-BC3F-4665F879BA29}" srcOrd="3" destOrd="0" presId="urn:microsoft.com/office/officeart/2018/5/layout/IconCircleLabelList"/>
    <dgm:cxn modelId="{69190B4E-D897-4DCE-8CD9-E529E686E514}" type="presParOf" srcId="{F0EBBCA4-31D6-43A2-B3FC-9FE287AB730B}" destId="{5018DF44-FE75-4EC2-9573-5B490C8E4776}" srcOrd="3" destOrd="0" presId="urn:microsoft.com/office/officeart/2018/5/layout/IconCircleLabelList"/>
    <dgm:cxn modelId="{AD8AE3FB-9251-45EE-BDD2-01E63D0EA204}" type="presParOf" srcId="{F0EBBCA4-31D6-43A2-B3FC-9FE287AB730B}" destId="{D4C33DB7-7F81-49B9-9A21-6F27D557735E}" srcOrd="4" destOrd="0" presId="urn:microsoft.com/office/officeart/2018/5/layout/IconCircleLabelList"/>
    <dgm:cxn modelId="{D6E4A88F-BB63-43BA-AD53-22F311211849}" type="presParOf" srcId="{D4C33DB7-7F81-49B9-9A21-6F27D557735E}" destId="{608042F6-CB2B-49ED-A08F-E886FDC9896B}" srcOrd="0" destOrd="0" presId="urn:microsoft.com/office/officeart/2018/5/layout/IconCircleLabelList"/>
    <dgm:cxn modelId="{A21DF79B-C222-445F-8E1A-6EF6EAD751E0}" type="presParOf" srcId="{D4C33DB7-7F81-49B9-9A21-6F27D557735E}" destId="{7B69727A-2315-41A6-A4EC-A65ABFCF2D1E}" srcOrd="1" destOrd="0" presId="urn:microsoft.com/office/officeart/2018/5/layout/IconCircleLabelList"/>
    <dgm:cxn modelId="{D3A4E529-E483-40AD-8CFA-51BEA100C847}" type="presParOf" srcId="{D4C33DB7-7F81-49B9-9A21-6F27D557735E}" destId="{F173AFFA-403C-4D31-A253-5564FFF7E43B}" srcOrd="2" destOrd="0" presId="urn:microsoft.com/office/officeart/2018/5/layout/IconCircleLabelList"/>
    <dgm:cxn modelId="{3EF49B92-1DB3-4D1D-B94E-14D3A19025FA}" type="presParOf" srcId="{D4C33DB7-7F81-49B9-9A21-6F27D557735E}" destId="{7E83D95E-D6D7-44C9-B7C0-BE82F0C97A16}" srcOrd="3" destOrd="0" presId="urn:microsoft.com/office/officeart/2018/5/layout/IconCircleLabel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62D8E0D-2E20-4321-B69C-0A7BD92ADAFC}">
      <dsp:nvSpPr>
        <dsp:cNvPr id="0" name=""/>
        <dsp:cNvSpPr/>
      </dsp:nvSpPr>
      <dsp:spPr>
        <a:xfrm>
          <a:off x="678255" y="177293"/>
          <a:ext cx="1887187" cy="1887187"/>
        </a:xfrm>
        <a:prstGeom prst="ellipse">
          <a:avLst/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C41C70E-E680-428B-9E20-B6AE284DE36E}">
      <dsp:nvSpPr>
        <dsp:cNvPr id="0" name=""/>
        <dsp:cNvSpPr/>
      </dsp:nvSpPr>
      <dsp:spPr>
        <a:xfrm>
          <a:off x="1080443" y="579481"/>
          <a:ext cx="1082812" cy="1082812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B9BFBE6-5878-4DDA-9E56-D1DB407EAFDC}">
      <dsp:nvSpPr>
        <dsp:cNvPr id="0" name=""/>
        <dsp:cNvSpPr/>
      </dsp:nvSpPr>
      <dsp:spPr>
        <a:xfrm>
          <a:off x="74974" y="2652294"/>
          <a:ext cx="3093750" cy="855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defRPr cap="all"/>
          </a:pPr>
          <a:r>
            <a:rPr lang="en-US" sz="1200" b="0" i="0" kern="1200" dirty="0"/>
            <a:t>The webinar will be </a:t>
          </a:r>
          <a:r>
            <a:rPr lang="en-US" sz="1200" b="1" i="0" kern="1200" dirty="0"/>
            <a:t>recorded</a:t>
          </a:r>
          <a:r>
            <a:rPr lang="en-US" sz="1200" b="0" i="0" kern="1200" dirty="0"/>
            <a:t>;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defRPr cap="all"/>
          </a:pPr>
          <a:r>
            <a:rPr lang="en-US" sz="1200" b="0" i="0" kern="1200" dirty="0"/>
            <a:t>the recording and the slide deck will be available after the webinar</a:t>
          </a:r>
          <a:endParaRPr lang="en-US" sz="1200" kern="1200" dirty="0"/>
        </a:p>
      </dsp:txBody>
      <dsp:txXfrm>
        <a:off x="74974" y="2652294"/>
        <a:ext cx="3093750" cy="855000"/>
      </dsp:txXfrm>
    </dsp:sp>
    <dsp:sp modelId="{62C8383B-E66C-4168-AA9F-485C33053EEB}">
      <dsp:nvSpPr>
        <dsp:cNvPr id="0" name=""/>
        <dsp:cNvSpPr/>
      </dsp:nvSpPr>
      <dsp:spPr>
        <a:xfrm>
          <a:off x="4313412" y="177293"/>
          <a:ext cx="1887187" cy="1887187"/>
        </a:xfrm>
        <a:prstGeom prst="ellipse">
          <a:avLst/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59887C1-1094-43D4-A430-E3148D96ABE4}">
      <dsp:nvSpPr>
        <dsp:cNvPr id="0" name=""/>
        <dsp:cNvSpPr/>
      </dsp:nvSpPr>
      <dsp:spPr>
        <a:xfrm>
          <a:off x="4715599" y="579481"/>
          <a:ext cx="1082812" cy="1082812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761EE16-3AD3-427F-BC3F-4665F879BA29}">
      <dsp:nvSpPr>
        <dsp:cNvPr id="0" name=""/>
        <dsp:cNvSpPr/>
      </dsp:nvSpPr>
      <dsp:spPr>
        <a:xfrm>
          <a:off x="3710131" y="2652294"/>
          <a:ext cx="3093750" cy="855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defRPr cap="all"/>
          </a:pPr>
          <a:r>
            <a:rPr lang="en-US" sz="1200" b="0" i="0" kern="1200" dirty="0"/>
            <a:t>Your </a:t>
          </a:r>
          <a:r>
            <a:rPr lang="en-US" sz="1200" b="1" i="0" kern="1200" dirty="0"/>
            <a:t>microphone</a:t>
          </a:r>
          <a:r>
            <a:rPr lang="en-US" sz="1200" b="0" i="0" kern="1200" dirty="0"/>
            <a:t> will be </a:t>
          </a:r>
          <a:r>
            <a:rPr lang="en-US" sz="1200" b="1" i="0" kern="1200" dirty="0"/>
            <a:t>muted</a:t>
          </a:r>
          <a:endParaRPr lang="en-US" sz="1200" b="1" kern="1200" dirty="0"/>
        </a:p>
      </dsp:txBody>
      <dsp:txXfrm>
        <a:off x="3710131" y="2652294"/>
        <a:ext cx="3093750" cy="855000"/>
      </dsp:txXfrm>
    </dsp:sp>
    <dsp:sp modelId="{608042F6-CB2B-49ED-A08F-E886FDC9896B}">
      <dsp:nvSpPr>
        <dsp:cNvPr id="0" name=""/>
        <dsp:cNvSpPr/>
      </dsp:nvSpPr>
      <dsp:spPr>
        <a:xfrm>
          <a:off x="7948568" y="177293"/>
          <a:ext cx="1887187" cy="1887187"/>
        </a:xfrm>
        <a:prstGeom prst="ellipse">
          <a:avLst/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B69727A-2315-41A6-A4EC-A65ABFCF2D1E}">
      <dsp:nvSpPr>
        <dsp:cNvPr id="0" name=""/>
        <dsp:cNvSpPr/>
      </dsp:nvSpPr>
      <dsp:spPr>
        <a:xfrm>
          <a:off x="8350756" y="579481"/>
          <a:ext cx="1082812" cy="1082812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E83D95E-D6D7-44C9-B7C0-BE82F0C97A16}">
      <dsp:nvSpPr>
        <dsp:cNvPr id="0" name=""/>
        <dsp:cNvSpPr/>
      </dsp:nvSpPr>
      <dsp:spPr>
        <a:xfrm>
          <a:off x="7345287" y="2652294"/>
          <a:ext cx="3093750" cy="855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defRPr cap="all"/>
          </a:pPr>
          <a:r>
            <a:rPr lang="en-US" sz="1200" b="0" i="0" kern="1200" dirty="0"/>
            <a:t>You can ask </a:t>
          </a:r>
          <a:r>
            <a:rPr lang="en-US" sz="1200" b="1" i="0" kern="1200" dirty="0"/>
            <a:t>questions</a:t>
          </a:r>
          <a:r>
            <a:rPr lang="en-US" sz="1200" b="0" i="0" kern="1200" dirty="0"/>
            <a:t> </a:t>
          </a:r>
          <a:r>
            <a:rPr lang="en-US" sz="1200" b="1" i="0" kern="1200" dirty="0"/>
            <a:t>in the chat </a:t>
          </a:r>
          <a:r>
            <a:rPr lang="en-US" sz="1200" b="0" i="0" kern="1200" dirty="0"/>
            <a:t>through out the webinar;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defRPr cap="all"/>
          </a:pPr>
          <a:r>
            <a:rPr lang="en-US" sz="1200" b="0" i="0" kern="1200" dirty="0"/>
            <a:t>you can raise you hand and unmute yourself to ask questions directly during the Q&amp;A session</a:t>
          </a:r>
          <a:endParaRPr lang="en-US" sz="1200" kern="1200" dirty="0"/>
        </a:p>
      </dsp:txBody>
      <dsp:txXfrm>
        <a:off x="7345287" y="2652294"/>
        <a:ext cx="3093750" cy="8550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5/layout/IconCircleLabelList">
  <dgm:title val="Icon Circle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4"/>
          <dgm:constr type="h" for="des" forName="compNode" op="equ"/>
          <dgm:constr type="h" for="des" forName="textRect" op="equ"/>
        </dgm:constrLst>
      </dgm:if>
      <dgm:if name="Name5" axis="ch" ptType="node" func="cnt" op="lte" val="3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0"/>
          <dgm:constr type="h" for="des" forName="compNode" op="equ"/>
          <dgm:constr type="h" for="des" forName="textRect" op="equ"/>
        </dgm:constrLst>
      </dgm:if>
      <dgm:if name="Name6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2"/>
          <dgm:constr type="h" for="des" forName="compNode" op="equ"/>
          <dgm:constr type="h" for="des" forName="textRect" op="equ"/>
        </dgm:constrLst>
      </dgm:if>
      <dgm:else name="Name7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BgRect" refType="w" fact="0.61"/>
          <dgm:constr type="h" for="ch" forName="iconBgRect" refType="w" refFor="ch" refForName="iconBgRect"/>
          <dgm:constr type="t" for="ch" forName="iconBgRect"/>
          <dgm:constr type="ctrX" for="ch" forName="iconBgRect" refType="w" fact="0.5"/>
          <dgm:constr type="w" for="ch" forName="iconRect" refType="w" fact="0.35"/>
          <dgm:constr type="h" for="ch" forName="iconRect" refType="w" refFor="ch" refForName="iconRect"/>
          <dgm:constr type="ctrX" for="ch" forName="iconRect" refType="ctrX" refFor="ch" refForName="iconBgRect"/>
          <dgm:constr type="ctrY" for="ch" forName="iconRect" refType="ctrY" refFor="ch" refForName="iconBgRect"/>
          <dgm:constr type="h" for="ch" forName="spaceRect" refType="w" fact="0.19"/>
          <dgm:constr type="w" for="ch" forName="spaceRect" refType="w"/>
          <dgm:constr type="l" for="ch" forName="spaceRect"/>
          <dgm:constr type="t" for="ch" forName="spaceRect" refType="b" refFor="ch" refForName="iconBg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BgRect" styleLbl="bgShp">
          <dgm:alg type="sp"/>
          <dgm:shape xmlns:r="http://schemas.openxmlformats.org/officeDocument/2006/relationships" type="ellipse" r:blip="">
            <dgm:adjLst/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9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="" xmlns:dgm1612="http://schemas.microsoft.com/office/drawing/2016/12/diagram">
        <a:lvl1pPr>
          <a:lnSpc>
            <a:spcPct val="100000"/>
          </a:lnSpc>
          <a:defRPr cap="all"/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9C950C0-505F-5440-8F8A-2971ABACAC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32F2E33-5B21-0E46-93E3-25A1FDF967D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B40D95-5E03-A342-8D66-0B33CD24A181}" type="datetimeFigureOut">
              <a:rPr lang="en-US" smtClean="0"/>
              <a:t>12/13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7CAFC8-CDBD-4646-AA7F-9969601CB5C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D98D53-09AF-8845-BE44-6455982967B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71C7A8-E825-C94F-B459-7AB31C166F2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108678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98D904-38F2-1342-807E-5092AA6728B7}" type="datetimeFigureOut">
              <a:rPr lang="en-US" smtClean="0"/>
              <a:t>12/13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1FDB90-3444-974D-A0EB-F08B1987C5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92443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0F9006-603D-1947-9436-7F9179A4FF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02759" y="480153"/>
            <a:ext cx="8187267" cy="1907447"/>
          </a:xfrm>
        </p:spPr>
        <p:txBody>
          <a:bodyPr anchor="t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5725E59-3528-4942-9526-5D49710DD28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199" y="2387600"/>
            <a:ext cx="8187267" cy="965200"/>
          </a:xfrm>
        </p:spPr>
        <p:txBody>
          <a:bodyPr/>
          <a:lstStyle>
            <a:lvl1pPr marL="0" indent="0" algn="l">
              <a:buNone/>
              <a:defRPr sz="2100" b="1" i="0">
                <a:solidFill>
                  <a:schemeClr val="tx1"/>
                </a:solidFill>
                <a:latin typeface="Arial 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E0B3377-4F6D-F34A-90EC-7735146B2AB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74917" y="590219"/>
            <a:ext cx="1176555" cy="341114"/>
          </a:xfrm>
          <a:prstGeom prst="rect">
            <a:avLst/>
          </a:prstGeom>
        </p:spPr>
      </p:pic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6830FEBB-978A-D247-BB0E-61D92CD40D6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516535" y="5784019"/>
            <a:ext cx="1911139" cy="490537"/>
          </a:xfrm>
        </p:spPr>
        <p:txBody>
          <a:bodyPr anchor="b">
            <a:noAutofit/>
          </a:bodyPr>
          <a:lstStyle>
            <a:lvl1pPr marL="0" indent="0" algn="r">
              <a:buNone/>
              <a:defRPr sz="800" b="0" i="0">
                <a:solidFill>
                  <a:schemeClr val="tx1"/>
                </a:solidFill>
                <a:latin typeface="Georgia Regular" charset="0"/>
                <a:ea typeface="Arial Bold" charset="0"/>
              </a:defRPr>
            </a:lvl1pPr>
            <a:lvl2pPr>
              <a:defRPr sz="1000" b="1" i="0">
                <a:solidFill>
                  <a:srgbClr val="E85852"/>
                </a:solidFill>
                <a:latin typeface="Merriweather" pitchFamily="2" charset="77"/>
                <a:ea typeface="Euclid CEPI Medium" panose="020B0504000000000000" pitchFamily="34" charset="77"/>
              </a:defRPr>
            </a:lvl2pPr>
            <a:lvl3pPr>
              <a:defRPr sz="1000" b="1" i="0">
                <a:solidFill>
                  <a:srgbClr val="E85852"/>
                </a:solidFill>
                <a:latin typeface="Merriweather" pitchFamily="2" charset="77"/>
                <a:ea typeface="Euclid CEPI Medium" panose="020B0504000000000000" pitchFamily="34" charset="77"/>
              </a:defRPr>
            </a:lvl3pPr>
            <a:lvl4pPr>
              <a:defRPr sz="1000" b="1" i="0">
                <a:solidFill>
                  <a:srgbClr val="E85852"/>
                </a:solidFill>
                <a:latin typeface="Merriweather" pitchFamily="2" charset="77"/>
                <a:ea typeface="Euclid CEPI Medium" panose="020B0504000000000000" pitchFamily="34" charset="77"/>
              </a:defRPr>
            </a:lvl4pPr>
            <a:lvl5pPr>
              <a:defRPr sz="1000" b="1" i="0">
                <a:solidFill>
                  <a:srgbClr val="E85852"/>
                </a:solidFill>
                <a:latin typeface="Merriweather" pitchFamily="2" charset="77"/>
                <a:ea typeface="Euclid CEPI Medium" panose="020B0504000000000000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598890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lumns (Subtitle + Conte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527FE7-115D-4249-92B6-224F57994E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885071"/>
            <a:ext cx="5157787" cy="620004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2100" b="1" i="0">
                <a:latin typeface="Arial Bold" charset="0"/>
                <a:ea typeface="Arial Bold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8C71B1D-1B2B-E843-BDB1-6BDF94DB65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7" y="2505075"/>
            <a:ext cx="5158800" cy="3684588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18EBCA9-544B-2841-939C-6C489008498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885071"/>
            <a:ext cx="5183188" cy="620004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2100" b="1" i="0">
                <a:latin typeface="Arial Bold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0B5E25-DEAC-9A4D-9E7E-8C54D64F556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8A034551-9716-EF48-9F0F-2B3315E0F7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0153"/>
            <a:ext cx="10515600" cy="140491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2F47CE1-9EDA-1443-878F-01A629D8242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200" y="6241691"/>
            <a:ext cx="727716" cy="210984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CBDE8351-B6BD-CE47-B484-01E590D1FF26}"/>
              </a:ext>
            </a:extLst>
          </p:cNvPr>
          <p:cNvSpPr/>
          <p:nvPr userDrawn="1"/>
        </p:nvSpPr>
        <p:spPr>
          <a:xfrm>
            <a:off x="10819646" y="6117550"/>
            <a:ext cx="534154" cy="534154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>
              <a:latin typeface="Georgia Regular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7A3B8E0-EDD7-814D-B49A-23FFB49B6C9D}"/>
              </a:ext>
            </a:extLst>
          </p:cNvPr>
          <p:cNvSpPr txBox="1"/>
          <p:nvPr userDrawn="1"/>
        </p:nvSpPr>
        <p:spPr>
          <a:xfrm>
            <a:off x="10896223" y="6269211"/>
            <a:ext cx="381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1DBE37EB-5830-6541-81BA-748AEB24FC36}" type="slidenum">
              <a:rPr lang="en-US" sz="900" b="1" i="0" smtClean="0">
                <a:solidFill>
                  <a:srgbClr val="00244F"/>
                </a:solidFill>
                <a:latin typeface="Arial Bold" charset="0"/>
              </a:rPr>
              <a:t>‹#›</a:t>
            </a:fld>
            <a:endParaRPr lang="en-US" sz="900" b="1" i="0">
              <a:solidFill>
                <a:srgbClr val="00244F"/>
              </a:solidFill>
              <a:latin typeface="Arial 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35459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lumns (Subtitle + Conte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527FE7-115D-4249-92B6-224F57994E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885071"/>
            <a:ext cx="3355693" cy="620004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2100" b="1" i="0">
                <a:latin typeface="Arial Bold" charset="0"/>
                <a:ea typeface="Arial Bold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8C71B1D-1B2B-E843-BDB1-6BDF94DB65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3355200" cy="36828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8A034551-9716-EF48-9F0F-2B3315E0F7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0153"/>
            <a:ext cx="10515600" cy="140491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2F47CE1-9EDA-1443-878F-01A629D8242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200" y="6241691"/>
            <a:ext cx="727716" cy="210984"/>
          </a:xfrm>
          <a:prstGeom prst="rect">
            <a:avLst/>
          </a:prstGeom>
        </p:spPr>
      </p:pic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083E8222-58D7-274E-8EF5-990DBBEAD37A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4418948" y="1885071"/>
            <a:ext cx="3355693" cy="620004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2100" b="1" i="0">
                <a:latin typeface="Arial Bold" charset="0"/>
                <a:ea typeface="Arial Bold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074E871E-2F6A-9845-B957-E1EB5C047842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418948" y="2505075"/>
            <a:ext cx="3355693" cy="3684588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274947A8-481C-7944-BCF7-5CD40EE4D71A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7998107" y="1885071"/>
            <a:ext cx="3355693" cy="620004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2100" b="1" i="0">
                <a:latin typeface="Arial Bold" charset="0"/>
                <a:ea typeface="Arial Bold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237D7E4F-DED3-514F-836F-A80AC454A9BE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7998107" y="2505075"/>
            <a:ext cx="3355693" cy="3684588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EAACE494-EA60-9944-98F6-F4E620F4E6BD}"/>
              </a:ext>
            </a:extLst>
          </p:cNvPr>
          <p:cNvSpPr/>
          <p:nvPr userDrawn="1"/>
        </p:nvSpPr>
        <p:spPr>
          <a:xfrm>
            <a:off x="10819646" y="6117550"/>
            <a:ext cx="534154" cy="534154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>
              <a:latin typeface="Georgia Regular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7AF0380-0696-D748-8C1A-791B875275D7}"/>
              </a:ext>
            </a:extLst>
          </p:cNvPr>
          <p:cNvSpPr txBox="1"/>
          <p:nvPr userDrawn="1"/>
        </p:nvSpPr>
        <p:spPr>
          <a:xfrm>
            <a:off x="10896223" y="6269211"/>
            <a:ext cx="381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1DBE37EB-5830-6541-81BA-748AEB24FC36}" type="slidenum">
              <a:rPr lang="en-US" sz="900" b="1" i="0" smtClean="0">
                <a:solidFill>
                  <a:srgbClr val="00244F"/>
                </a:solidFill>
                <a:latin typeface="Arial Bold" charset="0"/>
              </a:rPr>
              <a:t>‹#›</a:t>
            </a:fld>
            <a:endParaRPr lang="en-US" sz="900" b="1" i="0">
              <a:solidFill>
                <a:srgbClr val="00244F"/>
              </a:solidFill>
              <a:latin typeface="Arial 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36278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1 Column (Subtitle + Conte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527FE7-115D-4249-92B6-224F57994E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885071"/>
            <a:ext cx="5157787" cy="620004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2100" b="1" i="0">
                <a:latin typeface="Arial Bold" charset="0"/>
                <a:ea typeface="Arial Bold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8C71B1D-1B2B-E843-BDB1-6BDF94DB65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7" y="2505075"/>
            <a:ext cx="5158800" cy="3684588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8A034551-9716-EF48-9F0F-2B3315E0F7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0153"/>
            <a:ext cx="10515600" cy="140491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2F47CE1-9EDA-1443-878F-01A629D8242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200" y="6241691"/>
            <a:ext cx="727716" cy="210984"/>
          </a:xfrm>
          <a:prstGeom prst="rect">
            <a:avLst/>
          </a:prstGeom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A75D7BB0-8B7E-C840-9DF0-067997C2AC09}"/>
              </a:ext>
            </a:extLst>
          </p:cNvPr>
          <p:cNvSpPr/>
          <p:nvPr userDrawn="1"/>
        </p:nvSpPr>
        <p:spPr>
          <a:xfrm>
            <a:off x="10819646" y="6117550"/>
            <a:ext cx="534154" cy="534154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>
              <a:latin typeface="Georgia Regular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B39B3A9-983B-A943-847B-30FD6D163281}"/>
              </a:ext>
            </a:extLst>
          </p:cNvPr>
          <p:cNvSpPr txBox="1"/>
          <p:nvPr userDrawn="1"/>
        </p:nvSpPr>
        <p:spPr>
          <a:xfrm>
            <a:off x="10896223" y="6269211"/>
            <a:ext cx="381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1DBE37EB-5830-6541-81BA-748AEB24FC36}" type="slidenum">
              <a:rPr lang="en-US" sz="900" b="1" i="0" smtClean="0">
                <a:solidFill>
                  <a:srgbClr val="00244F"/>
                </a:solidFill>
                <a:latin typeface="Arial Bold" charset="0"/>
              </a:rPr>
              <a:t>‹#›</a:t>
            </a:fld>
            <a:endParaRPr lang="en-US" sz="900" b="1" i="0">
              <a:solidFill>
                <a:srgbClr val="00244F"/>
              </a:solidFill>
              <a:latin typeface="Arial 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16361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 (Blu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D328C3D8-D546-334C-B4DB-16966FE55E56}"/>
              </a:ext>
            </a:extLst>
          </p:cNvPr>
          <p:cNvSpPr txBox="1"/>
          <p:nvPr userDrawn="1"/>
        </p:nvSpPr>
        <p:spPr>
          <a:xfrm>
            <a:off x="10623755" y="6269211"/>
            <a:ext cx="7300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833123A7-3996-E04A-847B-EF469B128779}" type="slidenum">
              <a:rPr lang="en-US" sz="900" b="1" i="0" smtClean="0">
                <a:solidFill>
                  <a:schemeClr val="bg1"/>
                </a:solidFill>
                <a:latin typeface="Arial Bold" charset="0"/>
              </a:rPr>
              <a:pPr algn="r"/>
              <a:t>‹#›</a:t>
            </a:fld>
            <a:endParaRPr lang="en-US" sz="900" b="1" i="0">
              <a:solidFill>
                <a:schemeClr val="bg1"/>
              </a:solidFill>
              <a:latin typeface="Arial Bold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0806928-4F5E-4447-9BA5-CBAD3999249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200" y="6241691"/>
            <a:ext cx="727716" cy="210984"/>
          </a:xfrm>
          <a:prstGeom prst="rect">
            <a:avLst/>
          </a:prstGeom>
        </p:spPr>
      </p:pic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7BDD44B6-EDC6-8841-92F0-78978A6A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193232"/>
            <a:ext cx="10515600" cy="396054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5A03EE98-B129-2F4C-8304-DC33E7FFE77E}"/>
              </a:ext>
            </a:extLst>
          </p:cNvPr>
          <p:cNvSpPr/>
          <p:nvPr userDrawn="1"/>
        </p:nvSpPr>
        <p:spPr>
          <a:xfrm>
            <a:off x="10819646" y="6117550"/>
            <a:ext cx="534154" cy="534154"/>
          </a:xfrm>
          <a:prstGeom prst="ellipse">
            <a:avLst/>
          </a:prstGeom>
          <a:solidFill>
            <a:srgbClr val="001D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>
              <a:latin typeface="Georgia Regular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1D8BB18-A20F-B943-95B7-05FDB86E95B6}"/>
              </a:ext>
            </a:extLst>
          </p:cNvPr>
          <p:cNvSpPr txBox="1"/>
          <p:nvPr userDrawn="1"/>
        </p:nvSpPr>
        <p:spPr>
          <a:xfrm>
            <a:off x="10896223" y="6269211"/>
            <a:ext cx="381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1DBE37EB-5830-6541-81BA-748AEB24FC36}" type="slidenum">
              <a:rPr lang="en-US" sz="900" b="1" i="0" smtClean="0">
                <a:solidFill>
                  <a:schemeClr val="tx1"/>
                </a:solidFill>
                <a:latin typeface="Arial Bold" charset="0"/>
              </a:rPr>
              <a:t>‹#›</a:t>
            </a:fld>
            <a:endParaRPr lang="en-US" sz="900" b="1" i="0">
              <a:solidFill>
                <a:schemeClr val="tx1"/>
              </a:solidFill>
              <a:latin typeface="Arial 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53189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 (Red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>
            <a:extLst>
              <a:ext uri="{FF2B5EF4-FFF2-40B4-BE49-F238E27FC236}">
                <a16:creationId xmlns:a16="http://schemas.microsoft.com/office/drawing/2014/main" id="{43D9C3A7-D395-5C4E-9E38-A1839CBBDD3A}"/>
              </a:ext>
            </a:extLst>
          </p:cNvPr>
          <p:cNvSpPr/>
          <p:nvPr userDrawn="1"/>
        </p:nvSpPr>
        <p:spPr>
          <a:xfrm>
            <a:off x="10819646" y="6117550"/>
            <a:ext cx="534154" cy="534154"/>
          </a:xfrm>
          <a:prstGeom prst="ellipse">
            <a:avLst/>
          </a:prstGeom>
          <a:solidFill>
            <a:srgbClr val="E858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>
              <a:latin typeface="Georgia Regular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66C59E4-4B47-D74A-8F1F-22748AB05FC8}"/>
              </a:ext>
            </a:extLst>
          </p:cNvPr>
          <p:cNvSpPr txBox="1"/>
          <p:nvPr userDrawn="1"/>
        </p:nvSpPr>
        <p:spPr>
          <a:xfrm>
            <a:off x="10896223" y="6269211"/>
            <a:ext cx="381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1DBE37EB-5830-6541-81BA-748AEB24FC36}" type="slidenum">
              <a:rPr lang="en-US" sz="900" b="1" i="0" smtClean="0">
                <a:solidFill>
                  <a:schemeClr val="bg1"/>
                </a:solidFill>
                <a:latin typeface="Arial Bold" charset="0"/>
              </a:rPr>
              <a:t>‹#›</a:t>
            </a:fld>
            <a:endParaRPr lang="en-US" sz="900" b="1" i="0">
              <a:solidFill>
                <a:schemeClr val="bg1"/>
              </a:solidFill>
              <a:latin typeface="Arial Bold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CF426C0-6824-9644-88D5-0497F86508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8200" y="6242201"/>
            <a:ext cx="727716" cy="209963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20C38A6B-379E-7C42-B08F-C02E59DA9C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193232"/>
            <a:ext cx="10515600" cy="396054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1933745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5C384CE-5538-7840-940B-750B25048A1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200" y="6241691"/>
            <a:ext cx="727716" cy="210984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FF868E3B-49D2-0F49-97C2-41AC0C1C41DF}"/>
              </a:ext>
            </a:extLst>
          </p:cNvPr>
          <p:cNvSpPr/>
          <p:nvPr userDrawn="1"/>
        </p:nvSpPr>
        <p:spPr>
          <a:xfrm>
            <a:off x="10819646" y="6117550"/>
            <a:ext cx="534154" cy="534154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>
              <a:latin typeface="Georgia Regular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06FE54-87E6-B04F-B275-8E7F1A7BB870}"/>
              </a:ext>
            </a:extLst>
          </p:cNvPr>
          <p:cNvSpPr txBox="1"/>
          <p:nvPr userDrawn="1"/>
        </p:nvSpPr>
        <p:spPr>
          <a:xfrm>
            <a:off x="10896223" y="6269211"/>
            <a:ext cx="381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1DBE37EB-5830-6541-81BA-748AEB24FC36}" type="slidenum">
              <a:rPr lang="en-US" sz="900" b="1" i="0" smtClean="0">
                <a:solidFill>
                  <a:srgbClr val="00244F"/>
                </a:solidFill>
                <a:latin typeface="Arial Bold" charset="0"/>
              </a:rPr>
              <a:t>‹#›</a:t>
            </a:fld>
            <a:endParaRPr lang="en-US" sz="900" b="1" i="0">
              <a:solidFill>
                <a:srgbClr val="00244F"/>
              </a:solidFill>
              <a:latin typeface="Arial Bold" charset="0"/>
            </a:endParaRP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4C791646-4677-F749-A23F-C897230B2E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193232"/>
            <a:ext cx="10515600" cy="396054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950766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Content +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D80E516-C187-D840-83DD-BD08A903FBB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80000" y="0"/>
            <a:ext cx="6012000" cy="6858000"/>
          </a:xfrm>
          <a:noFill/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FE73A64-C4A0-3543-A3BC-DB12C63475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0153"/>
            <a:ext cx="4607859" cy="1461188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10FD15A-C1E7-584C-9C09-D399DDD80D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941341"/>
            <a:ext cx="4607859" cy="3980135"/>
          </a:xfrm>
        </p:spPr>
        <p:txBody>
          <a:bodyPr>
            <a:noAutofit/>
          </a:bodyPr>
          <a:lstStyle>
            <a:lvl1pPr>
              <a:defRPr sz="1400" b="0" i="0">
                <a:latin typeface="Georgia Regular" charset="0"/>
              </a:defRPr>
            </a:lvl1pPr>
            <a:lvl2pPr>
              <a:defRPr sz="1400" b="0" i="0">
                <a:latin typeface="Georgia Regular" charset="0"/>
              </a:defRPr>
            </a:lvl2pPr>
            <a:lvl3pPr>
              <a:defRPr sz="1400" b="0" i="0">
                <a:latin typeface="Georgia Regular" charset="0"/>
              </a:defRPr>
            </a:lvl3pPr>
            <a:lvl4pPr>
              <a:defRPr sz="1400" b="0" i="0">
                <a:latin typeface="Georgia Regular" charset="0"/>
              </a:defRPr>
            </a:lvl4pPr>
            <a:lvl5pPr>
              <a:defRPr sz="1400" b="0" i="0">
                <a:solidFill>
                  <a:srgbClr val="00244F"/>
                </a:solidFill>
                <a:latin typeface="Georgia Regular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2568486-81B1-FE43-B88D-6C6D482143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200" y="6241691"/>
            <a:ext cx="727716" cy="210984"/>
          </a:xfrm>
          <a:prstGeom prst="rect">
            <a:avLst/>
          </a:prstGeom>
        </p:spPr>
      </p:pic>
      <p:sp>
        <p:nvSpPr>
          <p:cNvPr id="17" name="Oval 16">
            <a:extLst>
              <a:ext uri="{FF2B5EF4-FFF2-40B4-BE49-F238E27FC236}">
                <a16:creationId xmlns:a16="http://schemas.microsoft.com/office/drawing/2014/main" id="{F5AD9ACF-26AD-B348-88DB-8B131A73E195}"/>
              </a:ext>
            </a:extLst>
          </p:cNvPr>
          <p:cNvSpPr/>
          <p:nvPr userDrawn="1"/>
        </p:nvSpPr>
        <p:spPr>
          <a:xfrm>
            <a:off x="10819646" y="6117550"/>
            <a:ext cx="534154" cy="534154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>
              <a:latin typeface="Georgia Regular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82B397C-1D6B-B04C-B479-3E8ED1F62E35}"/>
              </a:ext>
            </a:extLst>
          </p:cNvPr>
          <p:cNvSpPr txBox="1"/>
          <p:nvPr userDrawn="1"/>
        </p:nvSpPr>
        <p:spPr>
          <a:xfrm>
            <a:off x="10896223" y="6269211"/>
            <a:ext cx="381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1DBE37EB-5830-6541-81BA-748AEB24FC36}" type="slidenum">
              <a:rPr lang="en-US" sz="900" b="1" i="0" smtClean="0">
                <a:solidFill>
                  <a:srgbClr val="00244F"/>
                </a:solidFill>
                <a:latin typeface="Arial Bold" charset="0"/>
              </a:rPr>
              <a:t>‹#›</a:t>
            </a:fld>
            <a:endParaRPr lang="en-US" sz="900" b="1" i="0">
              <a:solidFill>
                <a:srgbClr val="00244F"/>
              </a:solidFill>
              <a:latin typeface="Arial 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2095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+ Content +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D80E516-C187-D840-83DD-BD08A903FBB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12000" cy="6858000"/>
          </a:xfrm>
          <a:noFill/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FE73A64-C4A0-3543-A3BC-DB12C63475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45941" y="480153"/>
            <a:ext cx="4607859" cy="1461188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10FD15A-C1E7-584C-9C09-D399DDD80D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45941" y="1941341"/>
            <a:ext cx="4607859" cy="3980135"/>
          </a:xfrm>
        </p:spPr>
        <p:txBody>
          <a:bodyPr>
            <a:noAutofit/>
          </a:bodyPr>
          <a:lstStyle>
            <a:lvl1pPr>
              <a:defRPr sz="1400" b="0" i="0">
                <a:latin typeface="Georgia Regular" charset="0"/>
              </a:defRPr>
            </a:lvl1pPr>
            <a:lvl2pPr>
              <a:defRPr sz="1400" b="0" i="0">
                <a:latin typeface="Georgia Regular" charset="0"/>
              </a:defRPr>
            </a:lvl2pPr>
            <a:lvl3pPr>
              <a:defRPr sz="1400" b="0" i="0">
                <a:latin typeface="Georgia Regular" charset="0"/>
              </a:defRPr>
            </a:lvl3pPr>
            <a:lvl4pPr>
              <a:defRPr sz="1400" b="0" i="0">
                <a:latin typeface="Georgia Regular" charset="0"/>
              </a:defRPr>
            </a:lvl4pPr>
            <a:lvl5pPr>
              <a:defRPr sz="1400" b="0" i="0">
                <a:solidFill>
                  <a:srgbClr val="00244F"/>
                </a:solidFill>
                <a:latin typeface="Georgia Regular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2568486-81B1-FE43-B88D-6C6D482143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200" y="6241691"/>
            <a:ext cx="727716" cy="210984"/>
          </a:xfrm>
          <a:prstGeom prst="rect">
            <a:avLst/>
          </a:prstGeom>
        </p:spPr>
      </p:pic>
      <p:sp>
        <p:nvSpPr>
          <p:cNvPr id="16" name="Oval 15">
            <a:extLst>
              <a:ext uri="{FF2B5EF4-FFF2-40B4-BE49-F238E27FC236}">
                <a16:creationId xmlns:a16="http://schemas.microsoft.com/office/drawing/2014/main" id="{2FD92EC6-5F45-6B46-A75F-B7E233BD8D98}"/>
              </a:ext>
            </a:extLst>
          </p:cNvPr>
          <p:cNvSpPr/>
          <p:nvPr userDrawn="1"/>
        </p:nvSpPr>
        <p:spPr>
          <a:xfrm>
            <a:off x="10819646" y="6117550"/>
            <a:ext cx="534154" cy="534154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>
              <a:latin typeface="Georgia Regular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9B49577-6E9C-D949-8A2F-0352AB67FECE}"/>
              </a:ext>
            </a:extLst>
          </p:cNvPr>
          <p:cNvSpPr txBox="1"/>
          <p:nvPr userDrawn="1"/>
        </p:nvSpPr>
        <p:spPr>
          <a:xfrm>
            <a:off x="10896223" y="6269211"/>
            <a:ext cx="381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1DBE37EB-5830-6541-81BA-748AEB24FC36}" type="slidenum">
              <a:rPr lang="en-US" sz="900" b="1" i="0" smtClean="0">
                <a:solidFill>
                  <a:srgbClr val="00244F"/>
                </a:solidFill>
                <a:latin typeface="Arial Bold" charset="0"/>
              </a:rPr>
              <a:t>‹#›</a:t>
            </a:fld>
            <a:endParaRPr lang="en-US" sz="900" b="1" i="0">
              <a:solidFill>
                <a:srgbClr val="00244F"/>
              </a:solidFill>
              <a:latin typeface="Arial 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41053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8A034551-9716-EF48-9F0F-2B3315E0F7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0152"/>
            <a:ext cx="10515600" cy="139944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2F47CE1-9EDA-1443-878F-01A629D8242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200" y="6241691"/>
            <a:ext cx="727716" cy="210984"/>
          </a:xfrm>
          <a:prstGeom prst="rect">
            <a:avLst/>
          </a:prstGeom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B303DDCB-55D4-944F-BBB1-0AEEA59D05B4}"/>
              </a:ext>
            </a:extLst>
          </p:cNvPr>
          <p:cNvSpPr/>
          <p:nvPr userDrawn="1"/>
        </p:nvSpPr>
        <p:spPr>
          <a:xfrm>
            <a:off x="10819646" y="6117550"/>
            <a:ext cx="534154" cy="534154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>
              <a:latin typeface="Georgia Regular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6F8C3F9-950F-5143-B08C-DD5B1B7E4142}"/>
              </a:ext>
            </a:extLst>
          </p:cNvPr>
          <p:cNvSpPr txBox="1"/>
          <p:nvPr userDrawn="1"/>
        </p:nvSpPr>
        <p:spPr>
          <a:xfrm>
            <a:off x="10896223" y="6269211"/>
            <a:ext cx="381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1DBE37EB-5830-6541-81BA-748AEB24FC36}" type="slidenum">
              <a:rPr lang="en-US" sz="900" b="1" i="0" smtClean="0">
                <a:solidFill>
                  <a:srgbClr val="00244F"/>
                </a:solidFill>
                <a:latin typeface="Arial Bold" charset="0"/>
              </a:rPr>
              <a:t>‹#›</a:t>
            </a:fld>
            <a:endParaRPr lang="en-US" sz="900" b="1" i="0">
              <a:solidFill>
                <a:srgbClr val="00244F"/>
              </a:solidFill>
              <a:latin typeface="Arial 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830680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527FE7-115D-4249-92B6-224F57994E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885071"/>
            <a:ext cx="10514012" cy="620004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2100" b="1" i="0">
                <a:latin typeface="Arial Bold" charset="0"/>
                <a:ea typeface="Arial Bold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8A034551-9716-EF48-9F0F-2B3315E0F7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0153"/>
            <a:ext cx="10515600" cy="140491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2F47CE1-9EDA-1443-878F-01A629D8242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200" y="6241691"/>
            <a:ext cx="727716" cy="210984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EEDB89C5-883D-0240-8BB6-F3C53F6B5F34}"/>
              </a:ext>
            </a:extLst>
          </p:cNvPr>
          <p:cNvSpPr/>
          <p:nvPr userDrawn="1"/>
        </p:nvSpPr>
        <p:spPr>
          <a:xfrm>
            <a:off x="10819646" y="6117550"/>
            <a:ext cx="534154" cy="534154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>
              <a:latin typeface="Georgia Regular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C5472D2-85C0-AA4C-8A76-D1706C034C27}"/>
              </a:ext>
            </a:extLst>
          </p:cNvPr>
          <p:cNvSpPr txBox="1"/>
          <p:nvPr userDrawn="1"/>
        </p:nvSpPr>
        <p:spPr>
          <a:xfrm>
            <a:off x="10896223" y="6269211"/>
            <a:ext cx="381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1DBE37EB-5830-6541-81BA-748AEB24FC36}" type="slidenum">
              <a:rPr lang="en-US" sz="900" b="1" i="0" smtClean="0">
                <a:solidFill>
                  <a:srgbClr val="00244F"/>
                </a:solidFill>
                <a:latin typeface="Arial Bold" charset="0"/>
              </a:rPr>
              <a:t>‹#›</a:t>
            </a:fld>
            <a:endParaRPr lang="en-US" sz="900" b="1" i="0">
              <a:solidFill>
                <a:srgbClr val="00244F"/>
              </a:solidFill>
              <a:latin typeface="Arial 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32137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D328C3D8-D546-334C-B4DB-16966FE55E56}"/>
              </a:ext>
            </a:extLst>
          </p:cNvPr>
          <p:cNvSpPr txBox="1"/>
          <p:nvPr userDrawn="1"/>
        </p:nvSpPr>
        <p:spPr>
          <a:xfrm>
            <a:off x="10623755" y="6269211"/>
            <a:ext cx="7300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833123A7-3996-E04A-847B-EF469B128779}" type="slidenum">
              <a:rPr lang="en-US" sz="900" b="1" i="0" smtClean="0">
                <a:solidFill>
                  <a:schemeClr val="bg1"/>
                </a:solidFill>
                <a:latin typeface="Arial Bold" charset="0"/>
              </a:rPr>
              <a:pPr algn="r"/>
              <a:t>‹#›</a:t>
            </a:fld>
            <a:endParaRPr lang="en-US" sz="900" b="1" i="0">
              <a:solidFill>
                <a:schemeClr val="bg1"/>
              </a:solidFill>
              <a:latin typeface="Arial Bold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0806928-4F5E-4447-9BA5-CBAD3999249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200" y="6241691"/>
            <a:ext cx="727716" cy="210984"/>
          </a:xfrm>
          <a:prstGeom prst="rect">
            <a:avLst/>
          </a:prstGeom>
        </p:spPr>
      </p:pic>
      <p:sp>
        <p:nvSpPr>
          <p:cNvPr id="11" name="Oval 10">
            <a:extLst>
              <a:ext uri="{FF2B5EF4-FFF2-40B4-BE49-F238E27FC236}">
                <a16:creationId xmlns:a16="http://schemas.microsoft.com/office/drawing/2014/main" id="{5A03EE98-B129-2F4C-8304-DC33E7FFE77E}"/>
              </a:ext>
            </a:extLst>
          </p:cNvPr>
          <p:cNvSpPr/>
          <p:nvPr userDrawn="1"/>
        </p:nvSpPr>
        <p:spPr>
          <a:xfrm>
            <a:off x="10819646" y="6117550"/>
            <a:ext cx="534154" cy="534154"/>
          </a:xfrm>
          <a:prstGeom prst="ellipse">
            <a:avLst/>
          </a:prstGeom>
          <a:solidFill>
            <a:srgbClr val="001D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>
              <a:latin typeface="Georgia Regular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1D8BB18-A20F-B943-95B7-05FDB86E95B6}"/>
              </a:ext>
            </a:extLst>
          </p:cNvPr>
          <p:cNvSpPr txBox="1"/>
          <p:nvPr userDrawn="1"/>
        </p:nvSpPr>
        <p:spPr>
          <a:xfrm>
            <a:off x="10896223" y="6269211"/>
            <a:ext cx="381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1DBE37EB-5830-6541-81BA-748AEB24FC36}" type="slidenum">
              <a:rPr lang="en-US" sz="900" b="1" i="0" smtClean="0">
                <a:solidFill>
                  <a:schemeClr val="tx1"/>
                </a:solidFill>
                <a:latin typeface="Arial Bold" charset="0"/>
              </a:rPr>
              <a:t>‹#›</a:t>
            </a:fld>
            <a:endParaRPr lang="en-US" sz="900" b="1" i="0">
              <a:solidFill>
                <a:schemeClr val="tx1"/>
              </a:solidFill>
              <a:latin typeface="Arial Bold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BCA707E2-991F-7F4A-9062-A512C32D69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0152"/>
            <a:ext cx="10515600" cy="152644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FF07674-4AB6-7D45-B330-295DC30050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199" y="2006599"/>
            <a:ext cx="8187267" cy="2878668"/>
          </a:xfrm>
        </p:spPr>
        <p:txBody>
          <a:bodyPr/>
          <a:lstStyle>
            <a:lvl1pPr marL="0" indent="0" algn="l">
              <a:buNone/>
              <a:defRPr sz="2100" b="1" i="0">
                <a:solidFill>
                  <a:schemeClr val="tx1"/>
                </a:solidFill>
                <a:latin typeface="Arial 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0168456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5C384CE-5538-7840-940B-750B25048A1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200" y="6241691"/>
            <a:ext cx="727716" cy="210984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FF868E3B-49D2-0F49-97C2-41AC0C1C41DF}"/>
              </a:ext>
            </a:extLst>
          </p:cNvPr>
          <p:cNvSpPr/>
          <p:nvPr userDrawn="1"/>
        </p:nvSpPr>
        <p:spPr>
          <a:xfrm>
            <a:off x="10819646" y="6117550"/>
            <a:ext cx="534154" cy="534154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>
              <a:latin typeface="Georgia Regular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06FE54-87E6-B04F-B275-8E7F1A7BB870}"/>
              </a:ext>
            </a:extLst>
          </p:cNvPr>
          <p:cNvSpPr txBox="1"/>
          <p:nvPr userDrawn="1"/>
        </p:nvSpPr>
        <p:spPr>
          <a:xfrm>
            <a:off x="10896223" y="6269211"/>
            <a:ext cx="381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1DBE37EB-5830-6541-81BA-748AEB24FC36}" type="slidenum">
              <a:rPr lang="en-US" sz="900" b="1" i="0" smtClean="0">
                <a:solidFill>
                  <a:srgbClr val="00244F"/>
                </a:solidFill>
                <a:latin typeface="Arial Bold" charset="0"/>
              </a:rPr>
              <a:t>‹#›</a:t>
            </a:fld>
            <a:endParaRPr lang="en-US" sz="900" b="1" i="0">
              <a:solidFill>
                <a:srgbClr val="00244F"/>
              </a:solidFill>
              <a:latin typeface="Arial 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13968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wid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5ECFBDB-3AC9-EC4A-81A5-3C7AAA90647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5C384CE-5538-7840-940B-750B25048A1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200" y="6241691"/>
            <a:ext cx="727716" cy="210984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FF868E3B-49D2-0F49-97C2-41AC0C1C41DF}"/>
              </a:ext>
            </a:extLst>
          </p:cNvPr>
          <p:cNvSpPr/>
          <p:nvPr userDrawn="1"/>
        </p:nvSpPr>
        <p:spPr>
          <a:xfrm>
            <a:off x="10819646" y="6117550"/>
            <a:ext cx="534154" cy="534154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>
              <a:latin typeface="Georgia Regular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06FE54-87E6-B04F-B275-8E7F1A7BB870}"/>
              </a:ext>
            </a:extLst>
          </p:cNvPr>
          <p:cNvSpPr txBox="1"/>
          <p:nvPr userDrawn="1"/>
        </p:nvSpPr>
        <p:spPr>
          <a:xfrm>
            <a:off x="10896223" y="6269211"/>
            <a:ext cx="381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1DBE37EB-5830-6541-81BA-748AEB24FC36}" type="slidenum">
              <a:rPr lang="en-US" sz="900" b="1" i="0" smtClean="0">
                <a:solidFill>
                  <a:srgbClr val="00244F"/>
                </a:solidFill>
                <a:latin typeface="Arial Bold" charset="0"/>
              </a:rPr>
              <a:t>‹#›</a:t>
            </a:fld>
            <a:endParaRPr lang="en-US" sz="900" b="1" i="0">
              <a:solidFill>
                <a:srgbClr val="00244F"/>
              </a:solidFill>
              <a:latin typeface="Arial 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261102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92A35CE-BCD2-4440-B926-98FD15BB905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24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Georgia Regular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8BBA808-B53B-2B42-A157-6A9259029FE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06573" y="3071454"/>
            <a:ext cx="2378853" cy="689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455350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0F9006-603D-1947-9436-7F9179A4FF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02759" y="480153"/>
            <a:ext cx="8187267" cy="1907447"/>
          </a:xfrm>
        </p:spPr>
        <p:txBody>
          <a:bodyPr anchor="t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5725E59-3528-4942-9526-5D49710DD28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199" y="2387600"/>
            <a:ext cx="8187267" cy="965200"/>
          </a:xfrm>
        </p:spPr>
        <p:txBody>
          <a:bodyPr/>
          <a:lstStyle>
            <a:lvl1pPr marL="0" indent="0" algn="l">
              <a:buNone/>
              <a:defRPr sz="2100" b="1" i="0">
                <a:solidFill>
                  <a:schemeClr val="tx1"/>
                </a:solidFill>
                <a:latin typeface="Arial 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E0B3377-4F6D-F34A-90EC-7735146B2AB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74917" y="590219"/>
            <a:ext cx="1176555" cy="341114"/>
          </a:xfrm>
          <a:prstGeom prst="rect">
            <a:avLst/>
          </a:prstGeom>
        </p:spPr>
      </p:pic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6830FEBB-978A-D247-BB0E-61D92CD40D6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516535" y="5784019"/>
            <a:ext cx="1911139" cy="490537"/>
          </a:xfrm>
        </p:spPr>
        <p:txBody>
          <a:bodyPr anchor="b">
            <a:noAutofit/>
          </a:bodyPr>
          <a:lstStyle>
            <a:lvl1pPr marL="0" indent="0" algn="r">
              <a:buNone/>
              <a:defRPr sz="800" b="0" i="0">
                <a:solidFill>
                  <a:schemeClr val="tx1"/>
                </a:solidFill>
                <a:latin typeface="Georgia Regular" charset="0"/>
                <a:ea typeface="Arial Bold" charset="0"/>
              </a:defRPr>
            </a:lvl1pPr>
            <a:lvl2pPr>
              <a:defRPr sz="1000" b="1" i="0">
                <a:solidFill>
                  <a:srgbClr val="E85852"/>
                </a:solidFill>
                <a:latin typeface="Merriweather" pitchFamily="2" charset="77"/>
                <a:ea typeface="Euclid CEPI Medium" panose="020B0504000000000000" pitchFamily="34" charset="77"/>
              </a:defRPr>
            </a:lvl2pPr>
            <a:lvl3pPr>
              <a:defRPr sz="1000" b="1" i="0">
                <a:solidFill>
                  <a:srgbClr val="E85852"/>
                </a:solidFill>
                <a:latin typeface="Merriweather" pitchFamily="2" charset="77"/>
                <a:ea typeface="Euclid CEPI Medium" panose="020B0504000000000000" pitchFamily="34" charset="77"/>
              </a:defRPr>
            </a:lvl3pPr>
            <a:lvl4pPr>
              <a:defRPr sz="1000" b="1" i="0">
                <a:solidFill>
                  <a:srgbClr val="E85852"/>
                </a:solidFill>
                <a:latin typeface="Merriweather" pitchFamily="2" charset="77"/>
                <a:ea typeface="Euclid CEPI Medium" panose="020B0504000000000000" pitchFamily="34" charset="77"/>
              </a:defRPr>
            </a:lvl4pPr>
            <a:lvl5pPr>
              <a:defRPr sz="1000" b="1" i="0">
                <a:solidFill>
                  <a:srgbClr val="E85852"/>
                </a:solidFill>
                <a:latin typeface="Merriweather" pitchFamily="2" charset="77"/>
                <a:ea typeface="Euclid CEPI Medium" panose="020B0504000000000000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470025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D328C3D8-D546-334C-B4DB-16966FE55E56}"/>
              </a:ext>
            </a:extLst>
          </p:cNvPr>
          <p:cNvSpPr txBox="1"/>
          <p:nvPr userDrawn="1"/>
        </p:nvSpPr>
        <p:spPr>
          <a:xfrm>
            <a:off x="10623755" y="6269211"/>
            <a:ext cx="7300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833123A7-3996-E04A-847B-EF469B128779}" type="slidenum">
              <a:rPr lang="en-US" sz="900" b="1" i="0" smtClean="0">
                <a:solidFill>
                  <a:schemeClr val="bg1"/>
                </a:solidFill>
                <a:latin typeface="Arial Bold" charset="0"/>
              </a:rPr>
              <a:pPr algn="r"/>
              <a:t>‹#›</a:t>
            </a:fld>
            <a:endParaRPr lang="en-US" sz="900" b="1" i="0">
              <a:solidFill>
                <a:schemeClr val="bg1"/>
              </a:solidFill>
              <a:latin typeface="Arial Bold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0806928-4F5E-4447-9BA5-CBAD3999249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200" y="6241691"/>
            <a:ext cx="727716" cy="210984"/>
          </a:xfrm>
          <a:prstGeom prst="rect">
            <a:avLst/>
          </a:prstGeom>
        </p:spPr>
      </p:pic>
      <p:sp>
        <p:nvSpPr>
          <p:cNvPr id="11" name="Oval 10">
            <a:extLst>
              <a:ext uri="{FF2B5EF4-FFF2-40B4-BE49-F238E27FC236}">
                <a16:creationId xmlns:a16="http://schemas.microsoft.com/office/drawing/2014/main" id="{5A03EE98-B129-2F4C-8304-DC33E7FFE77E}"/>
              </a:ext>
            </a:extLst>
          </p:cNvPr>
          <p:cNvSpPr/>
          <p:nvPr userDrawn="1"/>
        </p:nvSpPr>
        <p:spPr>
          <a:xfrm>
            <a:off x="10819646" y="6117550"/>
            <a:ext cx="534154" cy="534154"/>
          </a:xfrm>
          <a:prstGeom prst="ellipse">
            <a:avLst/>
          </a:prstGeom>
          <a:solidFill>
            <a:srgbClr val="001D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>
              <a:latin typeface="Georgia Regular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1D8BB18-A20F-B943-95B7-05FDB86E95B6}"/>
              </a:ext>
            </a:extLst>
          </p:cNvPr>
          <p:cNvSpPr txBox="1"/>
          <p:nvPr userDrawn="1"/>
        </p:nvSpPr>
        <p:spPr>
          <a:xfrm>
            <a:off x="10896223" y="6269211"/>
            <a:ext cx="381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1DBE37EB-5830-6541-81BA-748AEB24FC36}" type="slidenum">
              <a:rPr lang="en-US" sz="900" b="1" i="0" smtClean="0">
                <a:solidFill>
                  <a:schemeClr val="tx1"/>
                </a:solidFill>
                <a:latin typeface="Arial Bold" charset="0"/>
              </a:rPr>
              <a:t>‹#›</a:t>
            </a:fld>
            <a:endParaRPr lang="en-US" sz="900" b="1" i="0">
              <a:solidFill>
                <a:schemeClr val="tx1"/>
              </a:solidFill>
              <a:latin typeface="Arial Bold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BCA707E2-991F-7F4A-9062-A512C32D69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0152"/>
            <a:ext cx="10515600" cy="152644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FF07674-4AB6-7D45-B330-295DC30050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199" y="2006599"/>
            <a:ext cx="8187267" cy="2878668"/>
          </a:xfrm>
        </p:spPr>
        <p:txBody>
          <a:bodyPr/>
          <a:lstStyle>
            <a:lvl1pPr marL="0" indent="0" algn="l">
              <a:buNone/>
              <a:defRPr sz="2100" b="1" i="0">
                <a:solidFill>
                  <a:schemeClr val="tx1"/>
                </a:solidFill>
                <a:latin typeface="Arial 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5929468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>
            <a:extLst>
              <a:ext uri="{FF2B5EF4-FFF2-40B4-BE49-F238E27FC236}">
                <a16:creationId xmlns:a16="http://schemas.microsoft.com/office/drawing/2014/main" id="{43D9C3A7-D395-5C4E-9E38-A1839CBBDD3A}"/>
              </a:ext>
            </a:extLst>
          </p:cNvPr>
          <p:cNvSpPr/>
          <p:nvPr userDrawn="1"/>
        </p:nvSpPr>
        <p:spPr>
          <a:xfrm>
            <a:off x="10819646" y="6117550"/>
            <a:ext cx="534154" cy="534154"/>
          </a:xfrm>
          <a:prstGeom prst="ellipse">
            <a:avLst/>
          </a:prstGeom>
          <a:solidFill>
            <a:srgbClr val="E858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>
              <a:latin typeface="Georgia Regular" charset="0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B2923373-A1CA-9F4B-8553-7A6CE7940B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0152"/>
            <a:ext cx="10515600" cy="152644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66C59E4-4B47-D74A-8F1F-22748AB05FC8}"/>
              </a:ext>
            </a:extLst>
          </p:cNvPr>
          <p:cNvSpPr txBox="1"/>
          <p:nvPr userDrawn="1"/>
        </p:nvSpPr>
        <p:spPr>
          <a:xfrm>
            <a:off x="10896223" y="6269211"/>
            <a:ext cx="381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1DBE37EB-5830-6541-81BA-748AEB24FC36}" type="slidenum">
              <a:rPr lang="en-US" sz="900" b="1" i="0" smtClean="0">
                <a:solidFill>
                  <a:schemeClr val="bg1"/>
                </a:solidFill>
                <a:latin typeface="Arial Bold" charset="0"/>
              </a:rPr>
              <a:t>‹#›</a:t>
            </a:fld>
            <a:endParaRPr lang="en-US" sz="900" b="1" i="0">
              <a:solidFill>
                <a:schemeClr val="bg1"/>
              </a:solidFill>
              <a:latin typeface="Arial Bold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CF426C0-6824-9644-88D5-0497F86508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8200" y="6242201"/>
            <a:ext cx="727716" cy="209963"/>
          </a:xfrm>
          <a:prstGeom prst="rect">
            <a:avLst/>
          </a:pr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3CDB7A1C-5CD9-2B41-B874-4F0A72D7CD2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199" y="2006599"/>
            <a:ext cx="8187267" cy="2878668"/>
          </a:xfrm>
        </p:spPr>
        <p:txBody>
          <a:bodyPr/>
          <a:lstStyle>
            <a:lvl1pPr marL="0" indent="0" algn="l">
              <a:buNone/>
              <a:defRPr sz="2100" b="1" i="0">
                <a:solidFill>
                  <a:schemeClr val="bg1"/>
                </a:solidFill>
                <a:latin typeface="Arial 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55746553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13296947-3BA4-9644-A7BA-1A092E98B5C3}"/>
              </a:ext>
            </a:extLst>
          </p:cNvPr>
          <p:cNvSpPr/>
          <p:nvPr userDrawn="1"/>
        </p:nvSpPr>
        <p:spPr>
          <a:xfrm>
            <a:off x="-2075688" y="-2049680"/>
            <a:ext cx="10957361" cy="10957361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Georgia Regular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604DD1-A7F9-8247-B62A-019BC07C05A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67346"/>
            <a:ext cx="6343650" cy="4608748"/>
          </a:xfrm>
        </p:spPr>
        <p:txBody>
          <a:bodyPr>
            <a:noAutofit/>
          </a:bodyPr>
          <a:lstStyle>
            <a:lvl1pPr>
              <a:lnSpc>
                <a:spcPct val="120000"/>
              </a:lnSpc>
              <a:defRPr sz="1800" b="1" i="0">
                <a:latin typeface="Arial Bold" charset="0"/>
              </a:defRPr>
            </a:lvl1pPr>
            <a:lvl2pPr>
              <a:lnSpc>
                <a:spcPct val="120000"/>
              </a:lnSpc>
              <a:defRPr sz="1800" b="1" i="0">
                <a:latin typeface="Arial Bold" charset="0"/>
              </a:defRPr>
            </a:lvl2pPr>
            <a:lvl3pPr>
              <a:lnSpc>
                <a:spcPct val="120000"/>
              </a:lnSpc>
              <a:defRPr sz="1800" b="1" i="0">
                <a:latin typeface="Arial Bold" charset="0"/>
              </a:defRPr>
            </a:lvl3pPr>
            <a:lvl4pPr>
              <a:lnSpc>
                <a:spcPct val="120000"/>
              </a:lnSpc>
              <a:defRPr sz="1800" b="1" i="0">
                <a:latin typeface="Arial Bold" charset="0"/>
              </a:defRPr>
            </a:lvl4pPr>
            <a:lvl5pPr>
              <a:lnSpc>
                <a:spcPct val="120000"/>
              </a:lnSpc>
              <a:defRPr sz="1800" b="1" i="0">
                <a:solidFill>
                  <a:srgbClr val="00244F"/>
                </a:solidFill>
                <a:latin typeface="Arial Bold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B2923373-A1CA-9F4B-8553-7A6CE7940B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480153"/>
            <a:ext cx="10515600" cy="82159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ontent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970B626-7E4F-754A-A356-B0C1907190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200" y="6241691"/>
            <a:ext cx="727716" cy="210984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5395D273-FEB2-D940-A144-0C9A2514C51C}"/>
              </a:ext>
            </a:extLst>
          </p:cNvPr>
          <p:cNvSpPr/>
          <p:nvPr userDrawn="1"/>
        </p:nvSpPr>
        <p:spPr>
          <a:xfrm>
            <a:off x="10819646" y="6117550"/>
            <a:ext cx="534154" cy="534154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>
              <a:latin typeface="Georgia Regular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FAFFBD4-0B1F-C741-B246-9B9F11DBF1A6}"/>
              </a:ext>
            </a:extLst>
          </p:cNvPr>
          <p:cNvSpPr txBox="1"/>
          <p:nvPr userDrawn="1"/>
        </p:nvSpPr>
        <p:spPr>
          <a:xfrm>
            <a:off x="10896223" y="6269211"/>
            <a:ext cx="381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1DBE37EB-5830-6541-81BA-748AEB24FC36}" type="slidenum">
              <a:rPr lang="en-US" sz="900" b="1" i="0" smtClean="0">
                <a:solidFill>
                  <a:srgbClr val="00244F"/>
                </a:solidFill>
                <a:latin typeface="Arial Bold" charset="0"/>
              </a:rPr>
              <a:t>‹#›</a:t>
            </a:fld>
            <a:endParaRPr lang="en-US" sz="900" b="1" i="0">
              <a:solidFill>
                <a:srgbClr val="00244F"/>
              </a:solidFill>
              <a:latin typeface="Arial 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823009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604DD1-A7F9-8247-B62A-019BC07C05A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>
              <a:lnSpc>
                <a:spcPct val="120000"/>
              </a:lnSpc>
              <a:defRPr sz="1400" b="0" i="0">
                <a:latin typeface="Georgia Regular" charset="0"/>
              </a:defRPr>
            </a:lvl1pPr>
            <a:lvl2pPr>
              <a:lnSpc>
                <a:spcPct val="120000"/>
              </a:lnSpc>
              <a:defRPr sz="1400" b="0" i="0">
                <a:latin typeface="Georgia Regular" charset="0"/>
              </a:defRPr>
            </a:lvl2pPr>
            <a:lvl3pPr>
              <a:lnSpc>
                <a:spcPct val="120000"/>
              </a:lnSpc>
              <a:defRPr sz="1400" b="0" i="0">
                <a:latin typeface="Georgia Regular" charset="0"/>
              </a:defRPr>
            </a:lvl3pPr>
            <a:lvl4pPr>
              <a:lnSpc>
                <a:spcPct val="120000"/>
              </a:lnSpc>
              <a:defRPr sz="1400" b="0" i="0">
                <a:latin typeface="Georgia Regular" charset="0"/>
              </a:defRPr>
            </a:lvl4pPr>
            <a:lvl5pPr>
              <a:lnSpc>
                <a:spcPct val="120000"/>
              </a:lnSpc>
              <a:defRPr sz="1400" b="0" i="0">
                <a:solidFill>
                  <a:srgbClr val="00244F"/>
                </a:solidFill>
                <a:latin typeface="Georgia Regular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B2923373-A1CA-9F4B-8553-7A6CE7940B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0153"/>
            <a:ext cx="10515600" cy="146118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970B626-7E4F-754A-A356-B0C1907190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200" y="6241691"/>
            <a:ext cx="727716" cy="210984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5395D273-FEB2-D940-A144-0C9A2514C51C}"/>
              </a:ext>
            </a:extLst>
          </p:cNvPr>
          <p:cNvSpPr/>
          <p:nvPr userDrawn="1"/>
        </p:nvSpPr>
        <p:spPr>
          <a:xfrm>
            <a:off x="10819646" y="6117550"/>
            <a:ext cx="534154" cy="534154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>
              <a:latin typeface="Georgia Regular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FAFFBD4-0B1F-C741-B246-9B9F11DBF1A6}"/>
              </a:ext>
            </a:extLst>
          </p:cNvPr>
          <p:cNvSpPr txBox="1"/>
          <p:nvPr userDrawn="1"/>
        </p:nvSpPr>
        <p:spPr>
          <a:xfrm>
            <a:off x="10896223" y="6269211"/>
            <a:ext cx="381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1DBE37EB-5830-6541-81BA-748AEB24FC36}" type="slidenum">
              <a:rPr lang="en-US" sz="900" b="1" i="0" smtClean="0">
                <a:solidFill>
                  <a:srgbClr val="00244F"/>
                </a:solidFill>
                <a:latin typeface="Arial Bold" charset="0"/>
              </a:rPr>
              <a:t>‹#›</a:t>
            </a:fld>
            <a:endParaRPr lang="en-US" sz="900" b="1" i="0">
              <a:solidFill>
                <a:srgbClr val="00244F"/>
              </a:solidFill>
              <a:latin typeface="Arial 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779275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604DD1-A7F9-8247-B62A-019BC07C05A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941341"/>
            <a:ext cx="5158800" cy="3980135"/>
          </a:xfrm>
        </p:spPr>
        <p:txBody>
          <a:bodyPr>
            <a:noAutofit/>
          </a:bodyPr>
          <a:lstStyle>
            <a:lvl1pPr>
              <a:defRPr sz="1400" b="0" i="0">
                <a:latin typeface="Georgia Regular" charset="0"/>
              </a:defRPr>
            </a:lvl1pPr>
            <a:lvl2pPr>
              <a:defRPr sz="1400" b="0" i="0">
                <a:latin typeface="Georgia Regular" charset="0"/>
              </a:defRPr>
            </a:lvl2pPr>
            <a:lvl3pPr>
              <a:defRPr sz="1400" b="0" i="0">
                <a:latin typeface="Georgia Regular" charset="0"/>
              </a:defRPr>
            </a:lvl3pPr>
            <a:lvl4pPr>
              <a:defRPr sz="1400" b="0" i="0">
                <a:latin typeface="Georgia Regular" charset="0"/>
              </a:defRPr>
            </a:lvl4pPr>
            <a:lvl5pPr>
              <a:defRPr sz="1400" b="0" i="0">
                <a:solidFill>
                  <a:srgbClr val="00244F"/>
                </a:solidFill>
                <a:latin typeface="Georgia Regular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B2923373-A1CA-9F4B-8553-7A6CE7940B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0153"/>
            <a:ext cx="10515600" cy="146118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970B626-7E4F-754A-A356-B0C1907190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200" y="6241691"/>
            <a:ext cx="727716" cy="210984"/>
          </a:xfrm>
          <a:prstGeom prst="rect">
            <a:avLst/>
          </a:prstGeom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1787884-E485-9C4F-A54D-9154CA538FE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195000" y="1941341"/>
            <a:ext cx="5158800" cy="3980135"/>
          </a:xfrm>
        </p:spPr>
        <p:txBody>
          <a:bodyPr>
            <a:noAutofit/>
          </a:bodyPr>
          <a:lstStyle>
            <a:lvl1pPr>
              <a:defRPr sz="1400" b="0" i="0">
                <a:latin typeface="Georgia Regular" charset="0"/>
              </a:defRPr>
            </a:lvl1pPr>
            <a:lvl2pPr>
              <a:defRPr sz="1400" b="0" i="0">
                <a:latin typeface="Georgia Regular" charset="0"/>
              </a:defRPr>
            </a:lvl2pPr>
            <a:lvl3pPr>
              <a:defRPr sz="1400" b="0" i="0">
                <a:latin typeface="Georgia Regular" charset="0"/>
              </a:defRPr>
            </a:lvl3pPr>
            <a:lvl4pPr>
              <a:defRPr sz="1400" b="0" i="0">
                <a:latin typeface="Georgia Regular" charset="0"/>
              </a:defRPr>
            </a:lvl4pPr>
            <a:lvl5pPr>
              <a:defRPr sz="1400" b="0" i="0">
                <a:solidFill>
                  <a:srgbClr val="00244F"/>
                </a:solidFill>
                <a:latin typeface="Georgia Regular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3F448891-BC47-C24A-A3FD-87AC5C3D060F}"/>
              </a:ext>
            </a:extLst>
          </p:cNvPr>
          <p:cNvSpPr/>
          <p:nvPr userDrawn="1"/>
        </p:nvSpPr>
        <p:spPr>
          <a:xfrm>
            <a:off x="10819646" y="6117550"/>
            <a:ext cx="534154" cy="534154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>
              <a:latin typeface="Georgia Regular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8E3BC13-D55D-CF4C-93E9-1097F918E7CD}"/>
              </a:ext>
            </a:extLst>
          </p:cNvPr>
          <p:cNvSpPr txBox="1"/>
          <p:nvPr userDrawn="1"/>
        </p:nvSpPr>
        <p:spPr>
          <a:xfrm>
            <a:off x="10896223" y="6269211"/>
            <a:ext cx="381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1DBE37EB-5830-6541-81BA-748AEB24FC36}" type="slidenum">
              <a:rPr lang="en-US" sz="900" b="1" i="0" smtClean="0">
                <a:solidFill>
                  <a:srgbClr val="00244F"/>
                </a:solidFill>
                <a:latin typeface="Arial Bold" charset="0"/>
              </a:rPr>
              <a:t>‹#›</a:t>
            </a:fld>
            <a:endParaRPr lang="en-US" sz="900" b="1" i="0">
              <a:solidFill>
                <a:srgbClr val="00244F"/>
              </a:solidFill>
              <a:latin typeface="Arial 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627313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604DD1-A7F9-8247-B62A-019BC07C05A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941341"/>
            <a:ext cx="3355200" cy="3980135"/>
          </a:xfrm>
        </p:spPr>
        <p:txBody>
          <a:bodyPr>
            <a:noAutofit/>
          </a:bodyPr>
          <a:lstStyle>
            <a:lvl1pPr>
              <a:defRPr sz="1400" b="0" i="0">
                <a:latin typeface="Georgia Regular" charset="0"/>
              </a:defRPr>
            </a:lvl1pPr>
            <a:lvl2pPr>
              <a:defRPr sz="1400" b="0" i="0">
                <a:latin typeface="Georgia Regular" charset="0"/>
              </a:defRPr>
            </a:lvl2pPr>
            <a:lvl3pPr>
              <a:defRPr sz="1400" b="0" i="0">
                <a:latin typeface="Georgia Regular" charset="0"/>
              </a:defRPr>
            </a:lvl3pPr>
            <a:lvl4pPr>
              <a:defRPr sz="1400" b="0" i="0">
                <a:latin typeface="Georgia Regular" charset="0"/>
              </a:defRPr>
            </a:lvl4pPr>
            <a:lvl5pPr>
              <a:defRPr sz="1400" b="0" i="0">
                <a:solidFill>
                  <a:srgbClr val="00244F"/>
                </a:solidFill>
                <a:latin typeface="Georgia Regular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B2923373-A1CA-9F4B-8553-7A6CE7940B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0153"/>
            <a:ext cx="10515600" cy="146118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970B626-7E4F-754A-A356-B0C1907190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200" y="6241691"/>
            <a:ext cx="727716" cy="210984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4B38730-49A7-9E49-9410-840E46E55D5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418400" y="1941341"/>
            <a:ext cx="3355200" cy="3980135"/>
          </a:xfrm>
        </p:spPr>
        <p:txBody>
          <a:bodyPr>
            <a:noAutofit/>
          </a:bodyPr>
          <a:lstStyle>
            <a:lvl1pPr>
              <a:defRPr sz="1400" b="0" i="0">
                <a:latin typeface="Georgia Regular" charset="0"/>
              </a:defRPr>
            </a:lvl1pPr>
            <a:lvl2pPr>
              <a:defRPr sz="1400" b="0" i="0">
                <a:latin typeface="Georgia Regular" charset="0"/>
              </a:defRPr>
            </a:lvl2pPr>
            <a:lvl3pPr>
              <a:defRPr sz="1400" b="0" i="0">
                <a:latin typeface="Georgia Regular" charset="0"/>
              </a:defRPr>
            </a:lvl3pPr>
            <a:lvl4pPr>
              <a:defRPr sz="1400" b="0" i="0">
                <a:latin typeface="Georgia Regular" charset="0"/>
              </a:defRPr>
            </a:lvl4pPr>
            <a:lvl5pPr>
              <a:defRPr sz="1400" b="0" i="0">
                <a:solidFill>
                  <a:srgbClr val="00244F"/>
                </a:solidFill>
                <a:latin typeface="Georgia Regular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80D446E-852B-ED49-A946-B4BA107FFCB1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7998600" y="1941341"/>
            <a:ext cx="3355200" cy="3980135"/>
          </a:xfrm>
        </p:spPr>
        <p:txBody>
          <a:bodyPr>
            <a:noAutofit/>
          </a:bodyPr>
          <a:lstStyle>
            <a:lvl1pPr>
              <a:defRPr sz="1400" b="0" i="0">
                <a:latin typeface="Georgia Regular" charset="0"/>
              </a:defRPr>
            </a:lvl1pPr>
            <a:lvl2pPr>
              <a:defRPr sz="1400" b="0" i="0">
                <a:latin typeface="Georgia Regular" charset="0"/>
              </a:defRPr>
            </a:lvl2pPr>
            <a:lvl3pPr>
              <a:defRPr sz="1400" b="0" i="0">
                <a:latin typeface="Georgia Regular" charset="0"/>
              </a:defRPr>
            </a:lvl3pPr>
            <a:lvl4pPr>
              <a:defRPr sz="1400" b="0" i="0">
                <a:latin typeface="Georgia Regular" charset="0"/>
              </a:defRPr>
            </a:lvl4pPr>
            <a:lvl5pPr>
              <a:defRPr sz="1400" b="0" i="0">
                <a:solidFill>
                  <a:srgbClr val="00244F"/>
                </a:solidFill>
                <a:latin typeface="Georgia Regular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BCFDD99A-DE8F-AD41-A7AC-F84E975C4200}"/>
              </a:ext>
            </a:extLst>
          </p:cNvPr>
          <p:cNvSpPr/>
          <p:nvPr userDrawn="1"/>
        </p:nvSpPr>
        <p:spPr>
          <a:xfrm>
            <a:off x="10819646" y="6117550"/>
            <a:ext cx="534154" cy="534154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>
              <a:latin typeface="Georgia Regular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3CDE5D4-BA45-784B-8D6C-0EBB00A5703B}"/>
              </a:ext>
            </a:extLst>
          </p:cNvPr>
          <p:cNvSpPr txBox="1"/>
          <p:nvPr userDrawn="1"/>
        </p:nvSpPr>
        <p:spPr>
          <a:xfrm>
            <a:off x="10896223" y="6269211"/>
            <a:ext cx="381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1DBE37EB-5830-6541-81BA-748AEB24FC36}" type="slidenum">
              <a:rPr lang="en-US" sz="900" b="1" i="0" smtClean="0">
                <a:solidFill>
                  <a:srgbClr val="00244F"/>
                </a:solidFill>
                <a:latin typeface="Arial Bold" charset="0"/>
              </a:rPr>
              <a:t>‹#›</a:t>
            </a:fld>
            <a:endParaRPr lang="en-US" sz="900" b="1" i="0">
              <a:solidFill>
                <a:srgbClr val="00244F"/>
              </a:solidFill>
              <a:latin typeface="Arial 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75110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>
            <a:extLst>
              <a:ext uri="{FF2B5EF4-FFF2-40B4-BE49-F238E27FC236}">
                <a16:creationId xmlns:a16="http://schemas.microsoft.com/office/drawing/2014/main" id="{43D9C3A7-D395-5C4E-9E38-A1839CBBDD3A}"/>
              </a:ext>
            </a:extLst>
          </p:cNvPr>
          <p:cNvSpPr/>
          <p:nvPr userDrawn="1"/>
        </p:nvSpPr>
        <p:spPr>
          <a:xfrm>
            <a:off x="10819646" y="6117550"/>
            <a:ext cx="534154" cy="534154"/>
          </a:xfrm>
          <a:prstGeom prst="ellipse">
            <a:avLst/>
          </a:prstGeom>
          <a:solidFill>
            <a:srgbClr val="E858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>
              <a:latin typeface="Georgia Regular" charset="0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B2923373-A1CA-9F4B-8553-7A6CE7940B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0152"/>
            <a:ext cx="10515600" cy="152644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66C59E4-4B47-D74A-8F1F-22748AB05FC8}"/>
              </a:ext>
            </a:extLst>
          </p:cNvPr>
          <p:cNvSpPr txBox="1"/>
          <p:nvPr userDrawn="1"/>
        </p:nvSpPr>
        <p:spPr>
          <a:xfrm>
            <a:off x="10896223" y="6269211"/>
            <a:ext cx="381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1DBE37EB-5830-6541-81BA-748AEB24FC36}" type="slidenum">
              <a:rPr lang="en-US" sz="900" b="1" i="0" smtClean="0">
                <a:solidFill>
                  <a:schemeClr val="bg1"/>
                </a:solidFill>
                <a:latin typeface="Arial Bold" charset="0"/>
              </a:rPr>
              <a:t>‹#›</a:t>
            </a:fld>
            <a:endParaRPr lang="en-US" sz="900" b="1" i="0">
              <a:solidFill>
                <a:schemeClr val="bg1"/>
              </a:solidFill>
              <a:latin typeface="Arial Bold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CF426C0-6824-9644-88D5-0497F86508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8200" y="6242201"/>
            <a:ext cx="727716" cy="209963"/>
          </a:xfrm>
          <a:prstGeom prst="rect">
            <a:avLst/>
          </a:pr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3CDB7A1C-5CD9-2B41-B874-4F0A72D7CD2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199" y="2006599"/>
            <a:ext cx="8187267" cy="2878668"/>
          </a:xfrm>
        </p:spPr>
        <p:txBody>
          <a:bodyPr/>
          <a:lstStyle>
            <a:lvl1pPr marL="0" indent="0" algn="l">
              <a:buNone/>
              <a:defRPr sz="2100" b="1" i="0">
                <a:solidFill>
                  <a:schemeClr val="bg1"/>
                </a:solidFill>
                <a:latin typeface="Arial 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2320141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604DD1-A7F9-8247-B62A-019BC07C05A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941341"/>
            <a:ext cx="5158800" cy="3980135"/>
          </a:xfrm>
        </p:spPr>
        <p:txBody>
          <a:bodyPr>
            <a:noAutofit/>
          </a:bodyPr>
          <a:lstStyle>
            <a:lvl1pPr>
              <a:defRPr sz="1400" b="0" i="0">
                <a:latin typeface="Georgia Regular" charset="0"/>
              </a:defRPr>
            </a:lvl1pPr>
            <a:lvl2pPr>
              <a:defRPr sz="1400" b="0" i="0">
                <a:latin typeface="Georgia Regular" charset="0"/>
              </a:defRPr>
            </a:lvl2pPr>
            <a:lvl3pPr>
              <a:defRPr sz="1400" b="0" i="0">
                <a:latin typeface="Georgia Regular" charset="0"/>
              </a:defRPr>
            </a:lvl3pPr>
            <a:lvl4pPr>
              <a:defRPr sz="1400" b="0" i="0">
                <a:latin typeface="Georgia Regular" charset="0"/>
              </a:defRPr>
            </a:lvl4pPr>
            <a:lvl5pPr>
              <a:defRPr sz="1400" b="0" i="0">
                <a:solidFill>
                  <a:srgbClr val="00244F"/>
                </a:solidFill>
                <a:latin typeface="Georgia Regular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B2923373-A1CA-9F4B-8553-7A6CE7940B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0153"/>
            <a:ext cx="10515600" cy="146118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970B626-7E4F-754A-A356-B0C1907190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200" y="6241691"/>
            <a:ext cx="727716" cy="210984"/>
          </a:xfrm>
          <a:prstGeom prst="rect">
            <a:avLst/>
          </a:prstGeom>
        </p:spPr>
      </p:pic>
      <p:sp>
        <p:nvSpPr>
          <p:cNvPr id="11" name="Oval 10">
            <a:extLst>
              <a:ext uri="{FF2B5EF4-FFF2-40B4-BE49-F238E27FC236}">
                <a16:creationId xmlns:a16="http://schemas.microsoft.com/office/drawing/2014/main" id="{5B5DD371-5FB8-9642-8ACD-DC6D1B5B0EDD}"/>
              </a:ext>
            </a:extLst>
          </p:cNvPr>
          <p:cNvSpPr/>
          <p:nvPr userDrawn="1"/>
        </p:nvSpPr>
        <p:spPr>
          <a:xfrm>
            <a:off x="10819646" y="6117550"/>
            <a:ext cx="534154" cy="534154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>
              <a:latin typeface="Georgia Regular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D80AD8-B2BE-884D-9E1D-4EB3E1EF5856}"/>
              </a:ext>
            </a:extLst>
          </p:cNvPr>
          <p:cNvSpPr txBox="1"/>
          <p:nvPr userDrawn="1"/>
        </p:nvSpPr>
        <p:spPr>
          <a:xfrm>
            <a:off x="10896223" y="6269211"/>
            <a:ext cx="381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1DBE37EB-5830-6541-81BA-748AEB24FC36}" type="slidenum">
              <a:rPr lang="en-US" sz="900" b="1" i="0" smtClean="0">
                <a:solidFill>
                  <a:srgbClr val="00244F"/>
                </a:solidFill>
                <a:latin typeface="Arial Bold" charset="0"/>
              </a:rPr>
              <a:t>‹#›</a:t>
            </a:fld>
            <a:endParaRPr lang="en-US" sz="900" b="1" i="0">
              <a:solidFill>
                <a:srgbClr val="00244F"/>
              </a:solidFill>
              <a:latin typeface="Arial 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060208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527FE7-115D-4249-92B6-224F57994E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885071"/>
            <a:ext cx="10514012" cy="620004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2100" b="1" i="0">
                <a:latin typeface="Arial Bold" charset="0"/>
                <a:ea typeface="Arial Bold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8C71B1D-1B2B-E843-BDB1-6BDF94DB65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10514012" cy="3684588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8A034551-9716-EF48-9F0F-2B3315E0F7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0153"/>
            <a:ext cx="10515600" cy="140491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2F47CE1-9EDA-1443-878F-01A629D8242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200" y="6241691"/>
            <a:ext cx="727716" cy="210984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EEDB89C5-883D-0240-8BB6-F3C53F6B5F34}"/>
              </a:ext>
            </a:extLst>
          </p:cNvPr>
          <p:cNvSpPr/>
          <p:nvPr userDrawn="1"/>
        </p:nvSpPr>
        <p:spPr>
          <a:xfrm>
            <a:off x="10819646" y="6117550"/>
            <a:ext cx="534154" cy="534154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>
              <a:latin typeface="Georgia Regular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C5472D2-85C0-AA4C-8A76-D1706C034C27}"/>
              </a:ext>
            </a:extLst>
          </p:cNvPr>
          <p:cNvSpPr txBox="1"/>
          <p:nvPr userDrawn="1"/>
        </p:nvSpPr>
        <p:spPr>
          <a:xfrm>
            <a:off x="10896223" y="6269211"/>
            <a:ext cx="381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1DBE37EB-5830-6541-81BA-748AEB24FC36}" type="slidenum">
              <a:rPr lang="en-US" sz="900" b="1" i="0" smtClean="0">
                <a:solidFill>
                  <a:srgbClr val="00244F"/>
                </a:solidFill>
                <a:latin typeface="Arial Bold" charset="0"/>
              </a:rPr>
              <a:t>‹#›</a:t>
            </a:fld>
            <a:endParaRPr lang="en-US" sz="900" b="1" i="0">
              <a:solidFill>
                <a:srgbClr val="00244F"/>
              </a:solidFill>
              <a:latin typeface="Arial 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511879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lumns (Subtitle + Conte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527FE7-115D-4249-92B6-224F57994E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885071"/>
            <a:ext cx="5157787" cy="620004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2100" b="1" i="0">
                <a:latin typeface="Arial Bold" charset="0"/>
                <a:ea typeface="Arial Bold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8C71B1D-1B2B-E843-BDB1-6BDF94DB65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7" y="2505075"/>
            <a:ext cx="5158800" cy="3684588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18EBCA9-544B-2841-939C-6C489008498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885071"/>
            <a:ext cx="5183188" cy="620004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2100" b="1" i="0">
                <a:latin typeface="Arial Bold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0B5E25-DEAC-9A4D-9E7E-8C54D64F556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8A034551-9716-EF48-9F0F-2B3315E0F7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0153"/>
            <a:ext cx="10515600" cy="140491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2F47CE1-9EDA-1443-878F-01A629D8242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200" y="6241691"/>
            <a:ext cx="727716" cy="210984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CBDE8351-B6BD-CE47-B484-01E590D1FF26}"/>
              </a:ext>
            </a:extLst>
          </p:cNvPr>
          <p:cNvSpPr/>
          <p:nvPr userDrawn="1"/>
        </p:nvSpPr>
        <p:spPr>
          <a:xfrm>
            <a:off x="10819646" y="6117550"/>
            <a:ext cx="534154" cy="534154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>
              <a:latin typeface="Georgia Regular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7A3B8E0-EDD7-814D-B49A-23FFB49B6C9D}"/>
              </a:ext>
            </a:extLst>
          </p:cNvPr>
          <p:cNvSpPr txBox="1"/>
          <p:nvPr userDrawn="1"/>
        </p:nvSpPr>
        <p:spPr>
          <a:xfrm>
            <a:off x="10896223" y="6269211"/>
            <a:ext cx="381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1DBE37EB-5830-6541-81BA-748AEB24FC36}" type="slidenum">
              <a:rPr lang="en-US" sz="900" b="1" i="0" smtClean="0">
                <a:solidFill>
                  <a:srgbClr val="00244F"/>
                </a:solidFill>
                <a:latin typeface="Arial Bold" charset="0"/>
              </a:rPr>
              <a:t>‹#›</a:t>
            </a:fld>
            <a:endParaRPr lang="en-US" sz="900" b="1" i="0">
              <a:solidFill>
                <a:srgbClr val="00244F"/>
              </a:solidFill>
              <a:latin typeface="Arial 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821533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lumns (Subtitle + Conte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527FE7-115D-4249-92B6-224F57994E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885071"/>
            <a:ext cx="3355693" cy="620004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2100" b="1" i="0">
                <a:latin typeface="Arial Bold" charset="0"/>
                <a:ea typeface="Arial Bold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8C71B1D-1B2B-E843-BDB1-6BDF94DB65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3355200" cy="36828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8A034551-9716-EF48-9F0F-2B3315E0F7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0153"/>
            <a:ext cx="10515600" cy="140491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2F47CE1-9EDA-1443-878F-01A629D8242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200" y="6241691"/>
            <a:ext cx="727716" cy="210984"/>
          </a:xfrm>
          <a:prstGeom prst="rect">
            <a:avLst/>
          </a:prstGeom>
        </p:spPr>
      </p:pic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083E8222-58D7-274E-8EF5-990DBBEAD37A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4418948" y="1885071"/>
            <a:ext cx="3355693" cy="620004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2100" b="1" i="0">
                <a:latin typeface="Arial Bold" charset="0"/>
                <a:ea typeface="Arial Bold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074E871E-2F6A-9845-B957-E1EB5C047842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418948" y="2505075"/>
            <a:ext cx="3355693" cy="3684588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274947A8-481C-7944-BCF7-5CD40EE4D71A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7998107" y="1885071"/>
            <a:ext cx="3355693" cy="620004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2100" b="1" i="0">
                <a:latin typeface="Arial Bold" charset="0"/>
                <a:ea typeface="Arial Bold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237D7E4F-DED3-514F-836F-A80AC454A9BE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7998107" y="2505075"/>
            <a:ext cx="3355693" cy="3684588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EAACE494-EA60-9944-98F6-F4E620F4E6BD}"/>
              </a:ext>
            </a:extLst>
          </p:cNvPr>
          <p:cNvSpPr/>
          <p:nvPr userDrawn="1"/>
        </p:nvSpPr>
        <p:spPr>
          <a:xfrm>
            <a:off x="10819646" y="6117550"/>
            <a:ext cx="534154" cy="534154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>
              <a:latin typeface="Georgia Regular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7AF0380-0696-D748-8C1A-791B875275D7}"/>
              </a:ext>
            </a:extLst>
          </p:cNvPr>
          <p:cNvSpPr txBox="1"/>
          <p:nvPr userDrawn="1"/>
        </p:nvSpPr>
        <p:spPr>
          <a:xfrm>
            <a:off x="10896223" y="6269211"/>
            <a:ext cx="381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1DBE37EB-5830-6541-81BA-748AEB24FC36}" type="slidenum">
              <a:rPr lang="en-US" sz="900" b="1" i="0" smtClean="0">
                <a:solidFill>
                  <a:srgbClr val="00244F"/>
                </a:solidFill>
                <a:latin typeface="Arial Bold" charset="0"/>
              </a:rPr>
              <a:t>‹#›</a:t>
            </a:fld>
            <a:endParaRPr lang="en-US" sz="900" b="1" i="0">
              <a:solidFill>
                <a:srgbClr val="00244F"/>
              </a:solidFill>
              <a:latin typeface="Arial 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634441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1 Column (Subtitle + Conte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527FE7-115D-4249-92B6-224F57994E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885071"/>
            <a:ext cx="5157787" cy="620004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2100" b="1" i="0">
                <a:latin typeface="Arial Bold" charset="0"/>
                <a:ea typeface="Arial Bold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8C71B1D-1B2B-E843-BDB1-6BDF94DB65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7" y="2505075"/>
            <a:ext cx="5158800" cy="3684588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8A034551-9716-EF48-9F0F-2B3315E0F7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0153"/>
            <a:ext cx="10515600" cy="140491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2F47CE1-9EDA-1443-878F-01A629D8242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200" y="6241691"/>
            <a:ext cx="727716" cy="210984"/>
          </a:xfrm>
          <a:prstGeom prst="rect">
            <a:avLst/>
          </a:prstGeom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A75D7BB0-8B7E-C840-9DF0-067997C2AC09}"/>
              </a:ext>
            </a:extLst>
          </p:cNvPr>
          <p:cNvSpPr/>
          <p:nvPr userDrawn="1"/>
        </p:nvSpPr>
        <p:spPr>
          <a:xfrm>
            <a:off x="10819646" y="6117550"/>
            <a:ext cx="534154" cy="534154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>
              <a:latin typeface="Georgia Regular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B39B3A9-983B-A943-847B-30FD6D163281}"/>
              </a:ext>
            </a:extLst>
          </p:cNvPr>
          <p:cNvSpPr txBox="1"/>
          <p:nvPr userDrawn="1"/>
        </p:nvSpPr>
        <p:spPr>
          <a:xfrm>
            <a:off x="10896223" y="6269211"/>
            <a:ext cx="381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1DBE37EB-5830-6541-81BA-748AEB24FC36}" type="slidenum">
              <a:rPr lang="en-US" sz="900" b="1" i="0" smtClean="0">
                <a:solidFill>
                  <a:srgbClr val="00244F"/>
                </a:solidFill>
                <a:latin typeface="Arial Bold" charset="0"/>
              </a:rPr>
              <a:t>‹#›</a:t>
            </a:fld>
            <a:endParaRPr lang="en-US" sz="900" b="1" i="0">
              <a:solidFill>
                <a:srgbClr val="00244F"/>
              </a:solidFill>
              <a:latin typeface="Arial 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055339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 (Blu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D328C3D8-D546-334C-B4DB-16966FE55E56}"/>
              </a:ext>
            </a:extLst>
          </p:cNvPr>
          <p:cNvSpPr txBox="1"/>
          <p:nvPr userDrawn="1"/>
        </p:nvSpPr>
        <p:spPr>
          <a:xfrm>
            <a:off x="10623755" y="6269211"/>
            <a:ext cx="7300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833123A7-3996-E04A-847B-EF469B128779}" type="slidenum">
              <a:rPr lang="en-US" sz="900" b="1" i="0" smtClean="0">
                <a:solidFill>
                  <a:schemeClr val="bg1"/>
                </a:solidFill>
                <a:latin typeface="Arial Bold" charset="0"/>
              </a:rPr>
              <a:pPr algn="r"/>
              <a:t>‹#›</a:t>
            </a:fld>
            <a:endParaRPr lang="en-US" sz="900" b="1" i="0">
              <a:solidFill>
                <a:schemeClr val="bg1"/>
              </a:solidFill>
              <a:latin typeface="Arial Bold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0806928-4F5E-4447-9BA5-CBAD3999249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200" y="6241691"/>
            <a:ext cx="727716" cy="210984"/>
          </a:xfrm>
          <a:prstGeom prst="rect">
            <a:avLst/>
          </a:prstGeom>
        </p:spPr>
      </p:pic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7BDD44B6-EDC6-8841-92F0-78978A6AB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193232"/>
            <a:ext cx="10515600" cy="396054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5A03EE98-B129-2F4C-8304-DC33E7FFE77E}"/>
              </a:ext>
            </a:extLst>
          </p:cNvPr>
          <p:cNvSpPr/>
          <p:nvPr userDrawn="1"/>
        </p:nvSpPr>
        <p:spPr>
          <a:xfrm>
            <a:off x="10819646" y="6117550"/>
            <a:ext cx="534154" cy="534154"/>
          </a:xfrm>
          <a:prstGeom prst="ellipse">
            <a:avLst/>
          </a:prstGeom>
          <a:solidFill>
            <a:srgbClr val="001D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>
              <a:latin typeface="Georgia Regular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1D8BB18-A20F-B943-95B7-05FDB86E95B6}"/>
              </a:ext>
            </a:extLst>
          </p:cNvPr>
          <p:cNvSpPr txBox="1"/>
          <p:nvPr userDrawn="1"/>
        </p:nvSpPr>
        <p:spPr>
          <a:xfrm>
            <a:off x="10896223" y="6269211"/>
            <a:ext cx="381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1DBE37EB-5830-6541-81BA-748AEB24FC36}" type="slidenum">
              <a:rPr lang="en-US" sz="900" b="1" i="0" smtClean="0">
                <a:solidFill>
                  <a:schemeClr val="tx1"/>
                </a:solidFill>
                <a:latin typeface="Arial Bold" charset="0"/>
              </a:rPr>
              <a:t>‹#›</a:t>
            </a:fld>
            <a:endParaRPr lang="en-US" sz="900" b="1" i="0">
              <a:solidFill>
                <a:schemeClr val="tx1"/>
              </a:solidFill>
              <a:latin typeface="Arial 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30458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 (Red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>
            <a:extLst>
              <a:ext uri="{FF2B5EF4-FFF2-40B4-BE49-F238E27FC236}">
                <a16:creationId xmlns:a16="http://schemas.microsoft.com/office/drawing/2014/main" id="{43D9C3A7-D395-5C4E-9E38-A1839CBBDD3A}"/>
              </a:ext>
            </a:extLst>
          </p:cNvPr>
          <p:cNvSpPr/>
          <p:nvPr userDrawn="1"/>
        </p:nvSpPr>
        <p:spPr>
          <a:xfrm>
            <a:off x="10819646" y="6117550"/>
            <a:ext cx="534154" cy="534154"/>
          </a:xfrm>
          <a:prstGeom prst="ellipse">
            <a:avLst/>
          </a:prstGeom>
          <a:solidFill>
            <a:srgbClr val="E858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>
              <a:latin typeface="Georgia Regular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66C59E4-4B47-D74A-8F1F-22748AB05FC8}"/>
              </a:ext>
            </a:extLst>
          </p:cNvPr>
          <p:cNvSpPr txBox="1"/>
          <p:nvPr userDrawn="1"/>
        </p:nvSpPr>
        <p:spPr>
          <a:xfrm>
            <a:off x="10896223" y="6269211"/>
            <a:ext cx="381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1DBE37EB-5830-6541-81BA-748AEB24FC36}" type="slidenum">
              <a:rPr lang="en-US" sz="900" b="1" i="0" smtClean="0">
                <a:solidFill>
                  <a:schemeClr val="bg1"/>
                </a:solidFill>
                <a:latin typeface="Arial Bold" charset="0"/>
              </a:rPr>
              <a:t>‹#›</a:t>
            </a:fld>
            <a:endParaRPr lang="en-US" sz="900" b="1" i="0">
              <a:solidFill>
                <a:schemeClr val="bg1"/>
              </a:solidFill>
              <a:latin typeface="Arial Bold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CF426C0-6824-9644-88D5-0497F86508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8200" y="6242201"/>
            <a:ext cx="727716" cy="209963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20C38A6B-379E-7C42-B08F-C02E59DA9C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193232"/>
            <a:ext cx="10515600" cy="396054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372278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5C384CE-5538-7840-940B-750B25048A1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200" y="6241691"/>
            <a:ext cx="727716" cy="210984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FF868E3B-49D2-0F49-97C2-41AC0C1C41DF}"/>
              </a:ext>
            </a:extLst>
          </p:cNvPr>
          <p:cNvSpPr/>
          <p:nvPr userDrawn="1"/>
        </p:nvSpPr>
        <p:spPr>
          <a:xfrm>
            <a:off x="10819646" y="6117550"/>
            <a:ext cx="534154" cy="534154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>
              <a:latin typeface="Georgia Regular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06FE54-87E6-B04F-B275-8E7F1A7BB870}"/>
              </a:ext>
            </a:extLst>
          </p:cNvPr>
          <p:cNvSpPr txBox="1"/>
          <p:nvPr userDrawn="1"/>
        </p:nvSpPr>
        <p:spPr>
          <a:xfrm>
            <a:off x="10896223" y="6269211"/>
            <a:ext cx="381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1DBE37EB-5830-6541-81BA-748AEB24FC36}" type="slidenum">
              <a:rPr lang="en-US" sz="900" b="1" i="0" smtClean="0">
                <a:solidFill>
                  <a:srgbClr val="00244F"/>
                </a:solidFill>
                <a:latin typeface="Arial Bold" charset="0"/>
              </a:rPr>
              <a:t>‹#›</a:t>
            </a:fld>
            <a:endParaRPr lang="en-US" sz="900" b="1" i="0">
              <a:solidFill>
                <a:srgbClr val="00244F"/>
              </a:solidFill>
              <a:latin typeface="Arial Bold" charset="0"/>
            </a:endParaRP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4C791646-4677-F749-A23F-C897230B2E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193232"/>
            <a:ext cx="10515600" cy="396054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8734345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Content +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D80E516-C187-D840-83DD-BD08A903FBB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80000" y="0"/>
            <a:ext cx="6012000" cy="6858000"/>
          </a:xfrm>
          <a:noFill/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FE73A64-C4A0-3543-A3BC-DB12C63475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0153"/>
            <a:ext cx="4607859" cy="1461188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10FD15A-C1E7-584C-9C09-D399DDD80D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941341"/>
            <a:ext cx="4607859" cy="3980135"/>
          </a:xfrm>
        </p:spPr>
        <p:txBody>
          <a:bodyPr>
            <a:noAutofit/>
          </a:bodyPr>
          <a:lstStyle>
            <a:lvl1pPr>
              <a:defRPr sz="1400" b="0" i="0">
                <a:latin typeface="Georgia Regular" charset="0"/>
              </a:defRPr>
            </a:lvl1pPr>
            <a:lvl2pPr>
              <a:defRPr sz="1400" b="0" i="0">
                <a:latin typeface="Georgia Regular" charset="0"/>
              </a:defRPr>
            </a:lvl2pPr>
            <a:lvl3pPr>
              <a:defRPr sz="1400" b="0" i="0">
                <a:latin typeface="Georgia Regular" charset="0"/>
              </a:defRPr>
            </a:lvl3pPr>
            <a:lvl4pPr>
              <a:defRPr sz="1400" b="0" i="0">
                <a:latin typeface="Georgia Regular" charset="0"/>
              </a:defRPr>
            </a:lvl4pPr>
            <a:lvl5pPr>
              <a:defRPr sz="1400" b="0" i="0">
                <a:solidFill>
                  <a:srgbClr val="00244F"/>
                </a:solidFill>
                <a:latin typeface="Georgia Regular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2568486-81B1-FE43-B88D-6C6D482143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200" y="6241691"/>
            <a:ext cx="727716" cy="210984"/>
          </a:xfrm>
          <a:prstGeom prst="rect">
            <a:avLst/>
          </a:prstGeom>
        </p:spPr>
      </p:pic>
      <p:sp>
        <p:nvSpPr>
          <p:cNvPr id="17" name="Oval 16">
            <a:extLst>
              <a:ext uri="{FF2B5EF4-FFF2-40B4-BE49-F238E27FC236}">
                <a16:creationId xmlns:a16="http://schemas.microsoft.com/office/drawing/2014/main" id="{F5AD9ACF-26AD-B348-88DB-8B131A73E195}"/>
              </a:ext>
            </a:extLst>
          </p:cNvPr>
          <p:cNvSpPr/>
          <p:nvPr userDrawn="1"/>
        </p:nvSpPr>
        <p:spPr>
          <a:xfrm>
            <a:off x="10819646" y="6117550"/>
            <a:ext cx="534154" cy="534154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>
              <a:latin typeface="Georgia Regular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82B397C-1D6B-B04C-B479-3E8ED1F62E35}"/>
              </a:ext>
            </a:extLst>
          </p:cNvPr>
          <p:cNvSpPr txBox="1"/>
          <p:nvPr userDrawn="1"/>
        </p:nvSpPr>
        <p:spPr>
          <a:xfrm>
            <a:off x="10896223" y="6269211"/>
            <a:ext cx="381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1DBE37EB-5830-6541-81BA-748AEB24FC36}" type="slidenum">
              <a:rPr lang="en-US" sz="900" b="1" i="0" smtClean="0">
                <a:solidFill>
                  <a:srgbClr val="00244F"/>
                </a:solidFill>
                <a:latin typeface="Arial Bold" charset="0"/>
              </a:rPr>
              <a:t>‹#›</a:t>
            </a:fld>
            <a:endParaRPr lang="en-US" sz="900" b="1" i="0">
              <a:solidFill>
                <a:srgbClr val="00244F"/>
              </a:solidFill>
              <a:latin typeface="Arial 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1737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+ Content +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D80E516-C187-D840-83DD-BD08A903FBB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12000" cy="6858000"/>
          </a:xfrm>
          <a:noFill/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FE73A64-C4A0-3543-A3BC-DB12C63475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45941" y="480153"/>
            <a:ext cx="4607859" cy="1461188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10FD15A-C1E7-584C-9C09-D399DDD80D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45941" y="1941341"/>
            <a:ext cx="4607859" cy="3980135"/>
          </a:xfrm>
        </p:spPr>
        <p:txBody>
          <a:bodyPr>
            <a:noAutofit/>
          </a:bodyPr>
          <a:lstStyle>
            <a:lvl1pPr>
              <a:defRPr sz="1400" b="0" i="0">
                <a:latin typeface="Georgia Regular" charset="0"/>
              </a:defRPr>
            </a:lvl1pPr>
            <a:lvl2pPr>
              <a:defRPr sz="1400" b="0" i="0">
                <a:latin typeface="Georgia Regular" charset="0"/>
              </a:defRPr>
            </a:lvl2pPr>
            <a:lvl3pPr>
              <a:defRPr sz="1400" b="0" i="0">
                <a:latin typeface="Georgia Regular" charset="0"/>
              </a:defRPr>
            </a:lvl3pPr>
            <a:lvl4pPr>
              <a:defRPr sz="1400" b="0" i="0">
                <a:latin typeface="Georgia Regular" charset="0"/>
              </a:defRPr>
            </a:lvl4pPr>
            <a:lvl5pPr>
              <a:defRPr sz="1400" b="0" i="0">
                <a:solidFill>
                  <a:srgbClr val="00244F"/>
                </a:solidFill>
                <a:latin typeface="Georgia Regular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2568486-81B1-FE43-B88D-6C6D482143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200" y="6241691"/>
            <a:ext cx="727716" cy="210984"/>
          </a:xfrm>
          <a:prstGeom prst="rect">
            <a:avLst/>
          </a:prstGeom>
        </p:spPr>
      </p:pic>
      <p:sp>
        <p:nvSpPr>
          <p:cNvPr id="16" name="Oval 15">
            <a:extLst>
              <a:ext uri="{FF2B5EF4-FFF2-40B4-BE49-F238E27FC236}">
                <a16:creationId xmlns:a16="http://schemas.microsoft.com/office/drawing/2014/main" id="{2FD92EC6-5F45-6B46-A75F-B7E233BD8D98}"/>
              </a:ext>
            </a:extLst>
          </p:cNvPr>
          <p:cNvSpPr/>
          <p:nvPr userDrawn="1"/>
        </p:nvSpPr>
        <p:spPr>
          <a:xfrm>
            <a:off x="10819646" y="6117550"/>
            <a:ext cx="534154" cy="534154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>
              <a:latin typeface="Georgia Regular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9B49577-6E9C-D949-8A2F-0352AB67FECE}"/>
              </a:ext>
            </a:extLst>
          </p:cNvPr>
          <p:cNvSpPr txBox="1"/>
          <p:nvPr userDrawn="1"/>
        </p:nvSpPr>
        <p:spPr>
          <a:xfrm>
            <a:off x="10896223" y="6269211"/>
            <a:ext cx="381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1DBE37EB-5830-6541-81BA-748AEB24FC36}" type="slidenum">
              <a:rPr lang="en-US" sz="900" b="1" i="0" smtClean="0">
                <a:solidFill>
                  <a:srgbClr val="00244F"/>
                </a:solidFill>
                <a:latin typeface="Arial Bold" charset="0"/>
              </a:rPr>
              <a:t>‹#›</a:t>
            </a:fld>
            <a:endParaRPr lang="en-US" sz="900" b="1" i="0">
              <a:solidFill>
                <a:srgbClr val="00244F"/>
              </a:solidFill>
              <a:latin typeface="Arial 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1806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13296947-3BA4-9644-A7BA-1A092E98B5C3}"/>
              </a:ext>
            </a:extLst>
          </p:cNvPr>
          <p:cNvSpPr/>
          <p:nvPr userDrawn="1"/>
        </p:nvSpPr>
        <p:spPr>
          <a:xfrm>
            <a:off x="-2075688" y="-2049680"/>
            <a:ext cx="10957361" cy="10957361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Georgia Regular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604DD1-A7F9-8247-B62A-019BC07C05A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67346"/>
            <a:ext cx="6343650" cy="4608748"/>
          </a:xfrm>
        </p:spPr>
        <p:txBody>
          <a:bodyPr>
            <a:noAutofit/>
          </a:bodyPr>
          <a:lstStyle>
            <a:lvl1pPr>
              <a:lnSpc>
                <a:spcPct val="120000"/>
              </a:lnSpc>
              <a:defRPr sz="1800" b="1" i="0">
                <a:latin typeface="Arial Bold" charset="0"/>
              </a:defRPr>
            </a:lvl1pPr>
            <a:lvl2pPr>
              <a:lnSpc>
                <a:spcPct val="120000"/>
              </a:lnSpc>
              <a:defRPr sz="1800" b="1" i="0">
                <a:latin typeface="Arial Bold" charset="0"/>
              </a:defRPr>
            </a:lvl2pPr>
            <a:lvl3pPr>
              <a:lnSpc>
                <a:spcPct val="120000"/>
              </a:lnSpc>
              <a:defRPr sz="1800" b="1" i="0">
                <a:latin typeface="Arial Bold" charset="0"/>
              </a:defRPr>
            </a:lvl3pPr>
            <a:lvl4pPr>
              <a:lnSpc>
                <a:spcPct val="120000"/>
              </a:lnSpc>
              <a:defRPr sz="1800" b="1" i="0">
                <a:latin typeface="Arial Bold" charset="0"/>
              </a:defRPr>
            </a:lvl4pPr>
            <a:lvl5pPr>
              <a:lnSpc>
                <a:spcPct val="120000"/>
              </a:lnSpc>
              <a:defRPr sz="1800" b="1" i="0">
                <a:solidFill>
                  <a:srgbClr val="00244F"/>
                </a:solidFill>
                <a:latin typeface="Arial Bold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B2923373-A1CA-9F4B-8553-7A6CE7940B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480153"/>
            <a:ext cx="10515600" cy="82159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ontent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970B626-7E4F-754A-A356-B0C1907190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200" y="6241691"/>
            <a:ext cx="727716" cy="210984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5395D273-FEB2-D940-A144-0C9A2514C51C}"/>
              </a:ext>
            </a:extLst>
          </p:cNvPr>
          <p:cNvSpPr/>
          <p:nvPr userDrawn="1"/>
        </p:nvSpPr>
        <p:spPr>
          <a:xfrm>
            <a:off x="10819646" y="6117550"/>
            <a:ext cx="534154" cy="534154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>
              <a:latin typeface="Georgia Regular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FAFFBD4-0B1F-C741-B246-9B9F11DBF1A6}"/>
              </a:ext>
            </a:extLst>
          </p:cNvPr>
          <p:cNvSpPr txBox="1"/>
          <p:nvPr userDrawn="1"/>
        </p:nvSpPr>
        <p:spPr>
          <a:xfrm>
            <a:off x="10896223" y="6269211"/>
            <a:ext cx="381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1DBE37EB-5830-6541-81BA-748AEB24FC36}" type="slidenum">
              <a:rPr lang="en-US" sz="900" b="1" i="0" smtClean="0">
                <a:solidFill>
                  <a:srgbClr val="00244F"/>
                </a:solidFill>
                <a:latin typeface="Arial Bold" charset="0"/>
              </a:rPr>
              <a:t>‹#›</a:t>
            </a:fld>
            <a:endParaRPr lang="en-US" sz="900" b="1" i="0">
              <a:solidFill>
                <a:srgbClr val="00244F"/>
              </a:solidFill>
              <a:latin typeface="Arial 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132173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8A034551-9716-EF48-9F0F-2B3315E0F7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0152"/>
            <a:ext cx="10515600" cy="139944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2F47CE1-9EDA-1443-878F-01A629D8242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200" y="6241691"/>
            <a:ext cx="727716" cy="210984"/>
          </a:xfrm>
          <a:prstGeom prst="rect">
            <a:avLst/>
          </a:prstGeom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B303DDCB-55D4-944F-BBB1-0AEEA59D05B4}"/>
              </a:ext>
            </a:extLst>
          </p:cNvPr>
          <p:cNvSpPr/>
          <p:nvPr userDrawn="1"/>
        </p:nvSpPr>
        <p:spPr>
          <a:xfrm>
            <a:off x="10819646" y="6117550"/>
            <a:ext cx="534154" cy="534154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>
              <a:latin typeface="Georgia Regular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6F8C3F9-950F-5143-B08C-DD5B1B7E4142}"/>
              </a:ext>
            </a:extLst>
          </p:cNvPr>
          <p:cNvSpPr txBox="1"/>
          <p:nvPr userDrawn="1"/>
        </p:nvSpPr>
        <p:spPr>
          <a:xfrm>
            <a:off x="10896223" y="6269211"/>
            <a:ext cx="381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1DBE37EB-5830-6541-81BA-748AEB24FC36}" type="slidenum">
              <a:rPr lang="en-US" sz="900" b="1" i="0" smtClean="0">
                <a:solidFill>
                  <a:srgbClr val="00244F"/>
                </a:solidFill>
                <a:latin typeface="Arial Bold" charset="0"/>
              </a:rPr>
              <a:t>‹#›</a:t>
            </a:fld>
            <a:endParaRPr lang="en-US" sz="900" b="1" i="0">
              <a:solidFill>
                <a:srgbClr val="00244F"/>
              </a:solidFill>
              <a:latin typeface="Arial 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11982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527FE7-115D-4249-92B6-224F57994E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885071"/>
            <a:ext cx="10514012" cy="620004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2100" b="1" i="0">
                <a:latin typeface="Arial Bold" charset="0"/>
                <a:ea typeface="Arial Bold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8A034551-9716-EF48-9F0F-2B3315E0F7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0153"/>
            <a:ext cx="10515600" cy="140491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2F47CE1-9EDA-1443-878F-01A629D8242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200" y="6241691"/>
            <a:ext cx="727716" cy="210984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EEDB89C5-883D-0240-8BB6-F3C53F6B5F34}"/>
              </a:ext>
            </a:extLst>
          </p:cNvPr>
          <p:cNvSpPr/>
          <p:nvPr userDrawn="1"/>
        </p:nvSpPr>
        <p:spPr>
          <a:xfrm>
            <a:off x="10819646" y="6117550"/>
            <a:ext cx="534154" cy="534154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>
              <a:latin typeface="Georgia Regular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C5472D2-85C0-AA4C-8A76-D1706C034C27}"/>
              </a:ext>
            </a:extLst>
          </p:cNvPr>
          <p:cNvSpPr txBox="1"/>
          <p:nvPr userDrawn="1"/>
        </p:nvSpPr>
        <p:spPr>
          <a:xfrm>
            <a:off x="10896223" y="6269211"/>
            <a:ext cx="381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1DBE37EB-5830-6541-81BA-748AEB24FC36}" type="slidenum">
              <a:rPr lang="en-US" sz="900" b="1" i="0" smtClean="0">
                <a:solidFill>
                  <a:srgbClr val="00244F"/>
                </a:solidFill>
                <a:latin typeface="Arial Bold" charset="0"/>
              </a:rPr>
              <a:t>‹#›</a:t>
            </a:fld>
            <a:endParaRPr lang="en-US" sz="900" b="1" i="0">
              <a:solidFill>
                <a:srgbClr val="00244F"/>
              </a:solidFill>
              <a:latin typeface="Arial 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199195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5C384CE-5538-7840-940B-750B25048A1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200" y="6241691"/>
            <a:ext cx="727716" cy="210984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FF868E3B-49D2-0F49-97C2-41AC0C1C41DF}"/>
              </a:ext>
            </a:extLst>
          </p:cNvPr>
          <p:cNvSpPr/>
          <p:nvPr userDrawn="1"/>
        </p:nvSpPr>
        <p:spPr>
          <a:xfrm>
            <a:off x="10819646" y="6117550"/>
            <a:ext cx="534154" cy="534154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>
              <a:latin typeface="Georgia Regular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06FE54-87E6-B04F-B275-8E7F1A7BB870}"/>
              </a:ext>
            </a:extLst>
          </p:cNvPr>
          <p:cNvSpPr txBox="1"/>
          <p:nvPr userDrawn="1"/>
        </p:nvSpPr>
        <p:spPr>
          <a:xfrm>
            <a:off x="10896223" y="6269211"/>
            <a:ext cx="381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1DBE37EB-5830-6541-81BA-748AEB24FC36}" type="slidenum">
              <a:rPr lang="en-US" sz="900" b="1" i="0" smtClean="0">
                <a:solidFill>
                  <a:srgbClr val="00244F"/>
                </a:solidFill>
                <a:latin typeface="Arial Bold" charset="0"/>
              </a:rPr>
              <a:t>‹#›</a:t>
            </a:fld>
            <a:endParaRPr lang="en-US" sz="900" b="1" i="0">
              <a:solidFill>
                <a:srgbClr val="00244F"/>
              </a:solidFill>
              <a:latin typeface="Arial 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75195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wid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5ECFBDB-3AC9-EC4A-81A5-3C7AAA90647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5C384CE-5538-7840-940B-750B25048A1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200" y="6241691"/>
            <a:ext cx="727716" cy="210984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FF868E3B-49D2-0F49-97C2-41AC0C1C41DF}"/>
              </a:ext>
            </a:extLst>
          </p:cNvPr>
          <p:cNvSpPr/>
          <p:nvPr userDrawn="1"/>
        </p:nvSpPr>
        <p:spPr>
          <a:xfrm>
            <a:off x="10819646" y="6117550"/>
            <a:ext cx="534154" cy="534154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>
              <a:latin typeface="Georgia Regular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06FE54-87E6-B04F-B275-8E7F1A7BB870}"/>
              </a:ext>
            </a:extLst>
          </p:cNvPr>
          <p:cNvSpPr txBox="1"/>
          <p:nvPr userDrawn="1"/>
        </p:nvSpPr>
        <p:spPr>
          <a:xfrm>
            <a:off x="10896223" y="6269211"/>
            <a:ext cx="381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1DBE37EB-5830-6541-81BA-748AEB24FC36}" type="slidenum">
              <a:rPr lang="en-US" sz="900" b="1" i="0" smtClean="0">
                <a:solidFill>
                  <a:srgbClr val="00244F"/>
                </a:solidFill>
                <a:latin typeface="Arial Bold" charset="0"/>
              </a:rPr>
              <a:t>‹#›</a:t>
            </a:fld>
            <a:endParaRPr lang="en-US" sz="900" b="1" i="0">
              <a:solidFill>
                <a:srgbClr val="00244F"/>
              </a:solidFill>
              <a:latin typeface="Arial 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108118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92A35CE-BCD2-4440-B926-98FD15BB905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24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Georgia Regular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8BBA808-B53B-2B42-A157-6A9259029FE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06573" y="3071454"/>
            <a:ext cx="2378853" cy="689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936623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23DE32A5-6181-4C51-AD5C-3F1A448478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/>
              <a:t>BASIC LAYOU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DB05156-7022-47FA-8449-64FDA730A9B5}"/>
              </a:ext>
            </a:extLst>
          </p:cNvPr>
          <p:cNvGrpSpPr/>
          <p:nvPr userDrawn="1"/>
        </p:nvGrpSpPr>
        <p:grpSpPr>
          <a:xfrm rot="5400000">
            <a:off x="5981671" y="5720329"/>
            <a:ext cx="228658" cy="1691575"/>
            <a:chOff x="7316420" y="1861156"/>
            <a:chExt cx="689857" cy="5103452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A3A6D6BC-9E2C-432C-9A5D-C060231AFDB0}"/>
                </a:ext>
              </a:extLst>
            </p:cNvPr>
            <p:cNvSpPr/>
            <p:nvPr/>
          </p:nvSpPr>
          <p:spPr>
            <a:xfrm>
              <a:off x="7316420" y="1861156"/>
              <a:ext cx="689857" cy="689857"/>
            </a:xfrm>
            <a:prstGeom prst="ellipse">
              <a:avLst/>
            </a:prstGeom>
            <a:solidFill>
              <a:schemeClr val="accent5"/>
            </a:solidFill>
            <a:ln w="63500">
              <a:noFill/>
            </a:ln>
            <a:effectLst>
              <a:innerShdw blurRad="101600" dist="88900" dir="13500000">
                <a:prstClr val="black">
                  <a:alpha val="56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>
                <a:cs typeface="Arial" pitchFamily="34" charset="0"/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A3C81B2F-B325-4145-8798-0F28B0C98B7C}"/>
                </a:ext>
              </a:extLst>
            </p:cNvPr>
            <p:cNvSpPr/>
            <p:nvPr/>
          </p:nvSpPr>
          <p:spPr>
            <a:xfrm>
              <a:off x="7316420" y="2743875"/>
              <a:ext cx="689857" cy="689857"/>
            </a:xfrm>
            <a:prstGeom prst="ellipse">
              <a:avLst/>
            </a:prstGeom>
            <a:solidFill>
              <a:schemeClr val="accent4"/>
            </a:solidFill>
            <a:ln w="63500">
              <a:noFill/>
            </a:ln>
            <a:effectLst>
              <a:innerShdw blurRad="101600" dist="88900" dir="13500000">
                <a:prstClr val="black">
                  <a:alpha val="56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>
                <a:cs typeface="Arial" pitchFamily="34" charset="0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FBE6035F-7CC6-46C7-9AEB-6ADA10B1D38B}"/>
                </a:ext>
              </a:extLst>
            </p:cNvPr>
            <p:cNvSpPr/>
            <p:nvPr/>
          </p:nvSpPr>
          <p:spPr>
            <a:xfrm>
              <a:off x="7316420" y="3626594"/>
              <a:ext cx="689857" cy="689857"/>
            </a:xfrm>
            <a:prstGeom prst="ellipse">
              <a:avLst/>
            </a:prstGeom>
            <a:solidFill>
              <a:schemeClr val="accent3"/>
            </a:solidFill>
            <a:ln w="63500">
              <a:noFill/>
            </a:ln>
            <a:effectLst>
              <a:innerShdw blurRad="101600" dist="88900" dir="13500000">
                <a:prstClr val="black">
                  <a:alpha val="56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>
                <a:cs typeface="Arial" pitchFamily="34" charset="0"/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55801913-98AE-438B-BDE8-12666D966E27}"/>
                </a:ext>
              </a:extLst>
            </p:cNvPr>
            <p:cNvSpPr/>
            <p:nvPr/>
          </p:nvSpPr>
          <p:spPr>
            <a:xfrm>
              <a:off x="7316420" y="4509313"/>
              <a:ext cx="689857" cy="689857"/>
            </a:xfrm>
            <a:prstGeom prst="ellipse">
              <a:avLst/>
            </a:prstGeom>
            <a:solidFill>
              <a:schemeClr val="accent2"/>
            </a:solidFill>
            <a:ln w="63500">
              <a:noFill/>
            </a:ln>
            <a:effectLst>
              <a:innerShdw blurRad="101600" dist="88900" dir="13500000">
                <a:prstClr val="black">
                  <a:alpha val="56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>
                <a:cs typeface="Arial" pitchFamily="34" charset="0"/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38C4E16A-515C-4D25-BD61-670F72620E9D}"/>
                </a:ext>
              </a:extLst>
            </p:cNvPr>
            <p:cNvSpPr/>
            <p:nvPr/>
          </p:nvSpPr>
          <p:spPr>
            <a:xfrm>
              <a:off x="7316420" y="5392032"/>
              <a:ext cx="689857" cy="689857"/>
            </a:xfrm>
            <a:prstGeom prst="ellipse">
              <a:avLst/>
            </a:prstGeom>
            <a:solidFill>
              <a:schemeClr val="accent1"/>
            </a:solidFill>
            <a:ln w="63500">
              <a:noFill/>
            </a:ln>
            <a:effectLst>
              <a:innerShdw blurRad="101600" dist="88900" dir="13500000">
                <a:prstClr val="black">
                  <a:alpha val="56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>
                <a:cs typeface="Arial" pitchFamily="34" charset="0"/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3CCA7F11-F003-4C26-B567-7140268ADCEF}"/>
                </a:ext>
              </a:extLst>
            </p:cNvPr>
            <p:cNvSpPr/>
            <p:nvPr/>
          </p:nvSpPr>
          <p:spPr>
            <a:xfrm>
              <a:off x="7316420" y="6274751"/>
              <a:ext cx="689857" cy="689857"/>
            </a:xfrm>
            <a:prstGeom prst="ellipse">
              <a:avLst/>
            </a:prstGeom>
            <a:solidFill>
              <a:schemeClr val="accent6"/>
            </a:solidFill>
            <a:ln w="63500">
              <a:noFill/>
            </a:ln>
            <a:effectLst>
              <a:innerShdw blurRad="101600" dist="88900" dir="13500000">
                <a:prstClr val="black">
                  <a:alpha val="56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8933940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23DE32A5-6181-4C51-AD5C-3F1A448478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16205271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869711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6447730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aam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EF70765A-4598-4D75-8EBE-B820808F655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/>
              <a:t>Our Team LAYOUT</a:t>
            </a:r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F9DC0811-0AEE-48AE-88E3-0CE98AC8678E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4523957" y="1362066"/>
            <a:ext cx="1720091" cy="1720282"/>
          </a:xfrm>
          <a:prstGeom prst="ellipse">
            <a:avLst/>
          </a:prstGeom>
          <a:solidFill>
            <a:schemeClr val="bg1">
              <a:lumMod val="95000"/>
            </a:schemeClr>
          </a:solidFill>
          <a:ln w="47625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marR="0" indent="0" algn="ctr" defTabSz="91444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 algn="ctr"/>
            <a:r>
              <a:rPr lang="en-US" altLang="ko-KR"/>
              <a:t>Place Your Picture Here</a:t>
            </a:r>
            <a:endParaRPr lang="ko-KR" altLang="en-US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BB684A2A-4E63-4C7E-9DDA-5481BB9652DD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756409" y="4067345"/>
            <a:ext cx="1586755" cy="1586931"/>
          </a:xfrm>
          <a:prstGeom prst="ellipse">
            <a:avLst/>
          </a:prstGeom>
          <a:solidFill>
            <a:schemeClr val="bg1">
              <a:lumMod val="95000"/>
            </a:schemeClr>
          </a:solidFill>
          <a:ln w="47625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marR="0" indent="0" algn="ctr" defTabSz="91444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 algn="ctr"/>
            <a:r>
              <a:rPr lang="en-US" altLang="ko-KR"/>
              <a:t>Place Your Picture Here</a:t>
            </a:r>
            <a:endParaRPr lang="ko-KR" altLang="en-US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7FF7F52A-8872-45A7-9CB0-6399F1B288D6}"/>
              </a:ext>
            </a:extLst>
          </p:cNvPr>
          <p:cNvSpPr>
            <a:spLocks noGrp="1"/>
          </p:cNvSpPr>
          <p:nvPr userDrawn="1">
            <p:ph type="pic" sz="quarter" idx="45" hasCustomPrompt="1"/>
          </p:nvPr>
        </p:nvSpPr>
        <p:spPr>
          <a:xfrm>
            <a:off x="4554917" y="4067345"/>
            <a:ext cx="1586755" cy="1586931"/>
          </a:xfrm>
          <a:prstGeom prst="ellipse">
            <a:avLst/>
          </a:prstGeom>
          <a:solidFill>
            <a:schemeClr val="bg1">
              <a:lumMod val="95000"/>
            </a:schemeClr>
          </a:solidFill>
          <a:ln w="47625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marR="0" indent="0" algn="ctr" defTabSz="91444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 algn="ctr"/>
            <a:r>
              <a:rPr lang="en-US" altLang="ko-KR"/>
              <a:t>Place Your Picture Here</a:t>
            </a:r>
            <a:endParaRPr lang="ko-KR" altLang="en-US"/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08A4017F-6A05-43A5-995A-D8C10EA54CBA}"/>
              </a:ext>
            </a:extLst>
          </p:cNvPr>
          <p:cNvSpPr>
            <a:spLocks noGrp="1"/>
          </p:cNvSpPr>
          <p:nvPr userDrawn="1">
            <p:ph type="pic" sz="quarter" idx="46" hasCustomPrompt="1"/>
          </p:nvPr>
        </p:nvSpPr>
        <p:spPr>
          <a:xfrm>
            <a:off x="8353425" y="4067345"/>
            <a:ext cx="1586755" cy="1586931"/>
          </a:xfrm>
          <a:prstGeom prst="ellipse">
            <a:avLst/>
          </a:prstGeom>
          <a:solidFill>
            <a:schemeClr val="bg1">
              <a:lumMod val="95000"/>
            </a:schemeClr>
          </a:solidFill>
          <a:ln w="47625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marR="0" indent="0" algn="ctr" defTabSz="91444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 algn="ctr"/>
            <a:r>
              <a:rPr lang="en-US" altLang="ko-KR"/>
              <a:t>Place Your Picture Here</a:t>
            </a:r>
            <a:endParaRPr lang="ko-KR" altLang="en-US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770E9868-3AAD-4B34-BEA2-B50526787336}"/>
              </a:ext>
            </a:extLst>
          </p:cNvPr>
          <p:cNvGrpSpPr/>
          <p:nvPr userDrawn="1"/>
        </p:nvGrpSpPr>
        <p:grpSpPr>
          <a:xfrm rot="5400000">
            <a:off x="5981671" y="5720329"/>
            <a:ext cx="228658" cy="1691575"/>
            <a:chOff x="7316420" y="1861156"/>
            <a:chExt cx="689857" cy="5103452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2514F1D8-E525-4DE8-B724-643ABAC9AE07}"/>
                </a:ext>
              </a:extLst>
            </p:cNvPr>
            <p:cNvSpPr/>
            <p:nvPr/>
          </p:nvSpPr>
          <p:spPr>
            <a:xfrm>
              <a:off x="7316420" y="1861156"/>
              <a:ext cx="689857" cy="689857"/>
            </a:xfrm>
            <a:prstGeom prst="ellipse">
              <a:avLst/>
            </a:prstGeom>
            <a:solidFill>
              <a:schemeClr val="accent5"/>
            </a:solidFill>
            <a:ln w="63500">
              <a:noFill/>
            </a:ln>
            <a:effectLst>
              <a:innerShdw blurRad="101600" dist="88900" dir="13500000">
                <a:prstClr val="black">
                  <a:alpha val="56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>
                <a:cs typeface="Arial" pitchFamily="34" charset="0"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FE862A4C-2F3A-44EA-9B13-AB448370E669}"/>
                </a:ext>
              </a:extLst>
            </p:cNvPr>
            <p:cNvSpPr/>
            <p:nvPr/>
          </p:nvSpPr>
          <p:spPr>
            <a:xfrm>
              <a:off x="7316420" y="2743875"/>
              <a:ext cx="689857" cy="689857"/>
            </a:xfrm>
            <a:prstGeom prst="ellipse">
              <a:avLst/>
            </a:prstGeom>
            <a:solidFill>
              <a:schemeClr val="accent4"/>
            </a:solidFill>
            <a:ln w="63500">
              <a:noFill/>
            </a:ln>
            <a:effectLst>
              <a:innerShdw blurRad="101600" dist="88900" dir="13500000">
                <a:prstClr val="black">
                  <a:alpha val="56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>
                <a:cs typeface="Arial" pitchFamily="34" charset="0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D6328244-9B76-44AD-9D98-ECA17C45B083}"/>
                </a:ext>
              </a:extLst>
            </p:cNvPr>
            <p:cNvSpPr/>
            <p:nvPr/>
          </p:nvSpPr>
          <p:spPr>
            <a:xfrm>
              <a:off x="7316420" y="3626594"/>
              <a:ext cx="689857" cy="689857"/>
            </a:xfrm>
            <a:prstGeom prst="ellipse">
              <a:avLst/>
            </a:prstGeom>
            <a:solidFill>
              <a:schemeClr val="accent3"/>
            </a:solidFill>
            <a:ln w="63500">
              <a:noFill/>
            </a:ln>
            <a:effectLst>
              <a:innerShdw blurRad="101600" dist="88900" dir="13500000">
                <a:prstClr val="black">
                  <a:alpha val="56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>
                <a:cs typeface="Arial" pitchFamily="34" charset="0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0089F497-0BD5-4E18-85F6-8EE310F96D0B}"/>
                </a:ext>
              </a:extLst>
            </p:cNvPr>
            <p:cNvSpPr/>
            <p:nvPr/>
          </p:nvSpPr>
          <p:spPr>
            <a:xfrm>
              <a:off x="7316420" y="4509313"/>
              <a:ext cx="689857" cy="689857"/>
            </a:xfrm>
            <a:prstGeom prst="ellipse">
              <a:avLst/>
            </a:prstGeom>
            <a:solidFill>
              <a:schemeClr val="accent2"/>
            </a:solidFill>
            <a:ln w="63500">
              <a:noFill/>
            </a:ln>
            <a:effectLst>
              <a:innerShdw blurRad="101600" dist="88900" dir="13500000">
                <a:prstClr val="black">
                  <a:alpha val="56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>
                <a:cs typeface="Arial" pitchFamily="34" charset="0"/>
              </a:endParaRP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56970D4C-7529-482D-9E5A-8E42BE680D8D}"/>
                </a:ext>
              </a:extLst>
            </p:cNvPr>
            <p:cNvSpPr/>
            <p:nvPr/>
          </p:nvSpPr>
          <p:spPr>
            <a:xfrm>
              <a:off x="7316420" y="5392032"/>
              <a:ext cx="689857" cy="689857"/>
            </a:xfrm>
            <a:prstGeom prst="ellipse">
              <a:avLst/>
            </a:prstGeom>
            <a:solidFill>
              <a:schemeClr val="accent1"/>
            </a:solidFill>
            <a:ln w="63500">
              <a:noFill/>
            </a:ln>
            <a:effectLst>
              <a:innerShdw blurRad="101600" dist="88900" dir="13500000">
                <a:prstClr val="black">
                  <a:alpha val="56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>
                <a:cs typeface="Arial" pitchFamily="34" charset="0"/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CF4CAE1C-AB8A-430F-A858-3AD8B0746998}"/>
                </a:ext>
              </a:extLst>
            </p:cNvPr>
            <p:cNvSpPr/>
            <p:nvPr/>
          </p:nvSpPr>
          <p:spPr>
            <a:xfrm>
              <a:off x="7316420" y="6274751"/>
              <a:ext cx="689857" cy="689857"/>
            </a:xfrm>
            <a:prstGeom prst="ellipse">
              <a:avLst/>
            </a:prstGeom>
            <a:solidFill>
              <a:schemeClr val="accent6"/>
            </a:solidFill>
            <a:ln w="63500">
              <a:noFill/>
            </a:ln>
            <a:effectLst>
              <a:innerShdw blurRad="101600" dist="88900" dir="13500000">
                <a:prstClr val="black">
                  <a:alpha val="56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79528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604DD1-A7F9-8247-B62A-019BC07C05A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>
              <a:lnSpc>
                <a:spcPct val="120000"/>
              </a:lnSpc>
              <a:defRPr sz="1400" b="0" i="0">
                <a:latin typeface="Georgia Regular" charset="0"/>
              </a:defRPr>
            </a:lvl1pPr>
            <a:lvl2pPr>
              <a:lnSpc>
                <a:spcPct val="120000"/>
              </a:lnSpc>
              <a:defRPr sz="1400" b="0" i="0">
                <a:latin typeface="Georgia Regular" charset="0"/>
              </a:defRPr>
            </a:lvl2pPr>
            <a:lvl3pPr>
              <a:lnSpc>
                <a:spcPct val="120000"/>
              </a:lnSpc>
              <a:defRPr sz="1400" b="0" i="0">
                <a:latin typeface="Georgia Regular" charset="0"/>
              </a:defRPr>
            </a:lvl3pPr>
            <a:lvl4pPr>
              <a:lnSpc>
                <a:spcPct val="120000"/>
              </a:lnSpc>
              <a:defRPr sz="1400" b="0" i="0">
                <a:latin typeface="Georgia Regular" charset="0"/>
              </a:defRPr>
            </a:lvl4pPr>
            <a:lvl5pPr>
              <a:lnSpc>
                <a:spcPct val="120000"/>
              </a:lnSpc>
              <a:defRPr sz="1400" b="0" i="0">
                <a:solidFill>
                  <a:srgbClr val="00244F"/>
                </a:solidFill>
                <a:latin typeface="Georgia Regular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B2923373-A1CA-9F4B-8553-7A6CE7940B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0153"/>
            <a:ext cx="10515600" cy="146118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970B626-7E4F-754A-A356-B0C1907190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200" y="6241691"/>
            <a:ext cx="727716" cy="210984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5395D273-FEB2-D940-A144-0C9A2514C51C}"/>
              </a:ext>
            </a:extLst>
          </p:cNvPr>
          <p:cNvSpPr/>
          <p:nvPr userDrawn="1"/>
        </p:nvSpPr>
        <p:spPr>
          <a:xfrm>
            <a:off x="10819646" y="6117550"/>
            <a:ext cx="534154" cy="534154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>
              <a:latin typeface="Georgia Regular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FAFFBD4-0B1F-C741-B246-9B9F11DBF1A6}"/>
              </a:ext>
            </a:extLst>
          </p:cNvPr>
          <p:cNvSpPr txBox="1"/>
          <p:nvPr userDrawn="1"/>
        </p:nvSpPr>
        <p:spPr>
          <a:xfrm>
            <a:off x="10896223" y="6269211"/>
            <a:ext cx="381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1DBE37EB-5830-6541-81BA-748AEB24FC36}" type="slidenum">
              <a:rPr lang="en-US" sz="900" b="1" i="0" smtClean="0">
                <a:solidFill>
                  <a:srgbClr val="00244F"/>
                </a:solidFill>
                <a:latin typeface="Arial Bold" charset="0"/>
              </a:rPr>
              <a:t>‹#›</a:t>
            </a:fld>
            <a:endParaRPr lang="en-US" sz="900" b="1" i="0">
              <a:solidFill>
                <a:srgbClr val="00244F"/>
              </a:solidFill>
              <a:latin typeface="Arial 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383508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EDA40FE-25EC-4F3B-AFD0-21C347F85953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769399" y="-1"/>
            <a:ext cx="6881081" cy="6871547"/>
          </a:xfrm>
          <a:custGeom>
            <a:avLst/>
            <a:gdLst>
              <a:gd name="connsiteX0" fmla="*/ 0 w 6858000"/>
              <a:gd name="connsiteY0" fmla="*/ 0 h 6848498"/>
              <a:gd name="connsiteX1" fmla="*/ 3429000 w 6858000"/>
              <a:gd name="connsiteY1" fmla="*/ 0 h 6848498"/>
              <a:gd name="connsiteX2" fmla="*/ 6858000 w 6858000"/>
              <a:gd name="connsiteY2" fmla="*/ 3429000 h 6848498"/>
              <a:gd name="connsiteX3" fmla="*/ 3438502 w 6858000"/>
              <a:gd name="connsiteY3" fmla="*/ 6848498 h 6848498"/>
              <a:gd name="connsiteX4" fmla="*/ 9502 w 6858000"/>
              <a:gd name="connsiteY4" fmla="*/ 6848498 h 6848498"/>
              <a:gd name="connsiteX5" fmla="*/ 3429000 w 6858000"/>
              <a:gd name="connsiteY5" fmla="*/ 3429000 h 6848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58000" h="6848498">
                <a:moveTo>
                  <a:pt x="0" y="0"/>
                </a:moveTo>
                <a:lnTo>
                  <a:pt x="3429000" y="0"/>
                </a:lnTo>
                <a:lnTo>
                  <a:pt x="6858000" y="3429000"/>
                </a:lnTo>
                <a:lnTo>
                  <a:pt x="3438502" y="6848498"/>
                </a:lnTo>
                <a:lnTo>
                  <a:pt x="9502" y="6848498"/>
                </a:lnTo>
                <a:lnTo>
                  <a:pt x="3429000" y="3429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marR="0" indent="0" algn="ctr" defTabSz="91444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 algn="ctr"/>
            <a:r>
              <a:rPr lang="en-US" altLang="ko-KR"/>
              <a:t>Place Your Picture Here</a:t>
            </a:r>
            <a:endParaRPr lang="ko-KR" alt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3B18C6E2-188D-48FE-BE1D-63F8CBBE66E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-5528" y="0"/>
            <a:ext cx="3990210" cy="6858000"/>
          </a:xfrm>
          <a:custGeom>
            <a:avLst/>
            <a:gdLst>
              <a:gd name="connsiteX0" fmla="*/ 0 w 3984681"/>
              <a:gd name="connsiteY0" fmla="*/ 0 h 6848498"/>
              <a:gd name="connsiteX1" fmla="*/ 555684 w 3984681"/>
              <a:gd name="connsiteY1" fmla="*/ 0 h 6848498"/>
              <a:gd name="connsiteX2" fmla="*/ 3984681 w 3984681"/>
              <a:gd name="connsiteY2" fmla="*/ 3428997 h 6848498"/>
              <a:gd name="connsiteX3" fmla="*/ 565179 w 3984681"/>
              <a:gd name="connsiteY3" fmla="*/ 6848498 h 6848498"/>
              <a:gd name="connsiteX4" fmla="*/ 0 w 3984681"/>
              <a:gd name="connsiteY4" fmla="*/ 6848498 h 6848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4681" h="6848498">
                <a:moveTo>
                  <a:pt x="0" y="0"/>
                </a:moveTo>
                <a:lnTo>
                  <a:pt x="555684" y="0"/>
                </a:lnTo>
                <a:lnTo>
                  <a:pt x="3984681" y="3428997"/>
                </a:lnTo>
                <a:lnTo>
                  <a:pt x="565179" y="6848498"/>
                </a:lnTo>
                <a:lnTo>
                  <a:pt x="0" y="684849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marR="0" indent="0" algn="ctr" defTabSz="91444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 algn="ctr"/>
            <a:r>
              <a:rPr lang="en-US" altLang="ko-KR"/>
              <a:t>Place Your Picture Here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8622421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5136466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ntents slide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Freeform: Shape 140">
            <a:extLst>
              <a:ext uri="{FF2B5EF4-FFF2-40B4-BE49-F238E27FC236}">
                <a16:creationId xmlns:a16="http://schemas.microsoft.com/office/drawing/2014/main" id="{E1A58DF6-EE24-4D91-8403-F5F5EE802B14}"/>
              </a:ext>
            </a:extLst>
          </p:cNvPr>
          <p:cNvSpPr/>
          <p:nvPr userDrawn="1"/>
        </p:nvSpPr>
        <p:spPr>
          <a:xfrm>
            <a:off x="0" y="-1"/>
            <a:ext cx="6210518" cy="6263593"/>
          </a:xfrm>
          <a:custGeom>
            <a:avLst/>
            <a:gdLst>
              <a:gd name="connsiteX0" fmla="*/ 0 w 6210518"/>
              <a:gd name="connsiteY0" fmla="*/ 0 h 6344514"/>
              <a:gd name="connsiteX1" fmla="*/ 6210518 w 6210518"/>
              <a:gd name="connsiteY1" fmla="*/ 0 h 6344514"/>
              <a:gd name="connsiteX2" fmla="*/ 0 w 6210518"/>
              <a:gd name="connsiteY2" fmla="*/ 6344514 h 6344514"/>
              <a:gd name="connsiteX0" fmla="*/ 0 w 6210518"/>
              <a:gd name="connsiteY0" fmla="*/ 0 h 6295961"/>
              <a:gd name="connsiteX1" fmla="*/ 6210518 w 6210518"/>
              <a:gd name="connsiteY1" fmla="*/ 0 h 6295961"/>
              <a:gd name="connsiteX2" fmla="*/ 0 w 6210518"/>
              <a:gd name="connsiteY2" fmla="*/ 6295961 h 6295961"/>
              <a:gd name="connsiteX3" fmla="*/ 0 w 6210518"/>
              <a:gd name="connsiteY3" fmla="*/ 0 h 6295961"/>
              <a:gd name="connsiteX0" fmla="*/ 0 w 6210518"/>
              <a:gd name="connsiteY0" fmla="*/ 0 h 6263593"/>
              <a:gd name="connsiteX1" fmla="*/ 6210518 w 6210518"/>
              <a:gd name="connsiteY1" fmla="*/ 0 h 6263593"/>
              <a:gd name="connsiteX2" fmla="*/ 0 w 6210518"/>
              <a:gd name="connsiteY2" fmla="*/ 6263593 h 6263593"/>
              <a:gd name="connsiteX3" fmla="*/ 0 w 6210518"/>
              <a:gd name="connsiteY3" fmla="*/ 0 h 6263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210518" h="6263593">
                <a:moveTo>
                  <a:pt x="0" y="0"/>
                </a:moveTo>
                <a:lnTo>
                  <a:pt x="6210518" y="0"/>
                </a:lnTo>
                <a:lnTo>
                  <a:pt x="0" y="626359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6" name="Picture Placeholder 135">
            <a:extLst>
              <a:ext uri="{FF2B5EF4-FFF2-40B4-BE49-F238E27FC236}">
                <a16:creationId xmlns:a16="http://schemas.microsoft.com/office/drawing/2014/main" id="{52619E89-8BE6-4882-80BE-E5B90A2E25D0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274951" y="665214"/>
            <a:ext cx="11588489" cy="3069750"/>
          </a:xfrm>
          <a:custGeom>
            <a:avLst/>
            <a:gdLst>
              <a:gd name="connsiteX0" fmla="*/ 8538295 w 11588489"/>
              <a:gd name="connsiteY0" fmla="*/ 1638313 h 3069750"/>
              <a:gd name="connsiteX1" fmla="*/ 9254015 w 11588489"/>
              <a:gd name="connsiteY1" fmla="*/ 2354032 h 3069750"/>
              <a:gd name="connsiteX2" fmla="*/ 8538297 w 11588489"/>
              <a:gd name="connsiteY2" fmla="*/ 3069750 h 3069750"/>
              <a:gd name="connsiteX3" fmla="*/ 7822577 w 11588489"/>
              <a:gd name="connsiteY3" fmla="*/ 2354032 h 3069750"/>
              <a:gd name="connsiteX4" fmla="*/ 10099736 w 11588489"/>
              <a:gd name="connsiteY4" fmla="*/ 1634131 h 3069750"/>
              <a:gd name="connsiteX5" fmla="*/ 10815454 w 11588489"/>
              <a:gd name="connsiteY5" fmla="*/ 2349850 h 3069750"/>
              <a:gd name="connsiteX6" fmla="*/ 10099737 w 11588489"/>
              <a:gd name="connsiteY6" fmla="*/ 3065568 h 3069750"/>
              <a:gd name="connsiteX7" fmla="*/ 9384018 w 11588489"/>
              <a:gd name="connsiteY7" fmla="*/ 2349849 h 3069750"/>
              <a:gd name="connsiteX8" fmla="*/ 6976855 w 11588489"/>
              <a:gd name="connsiteY8" fmla="*/ 1622938 h 3069750"/>
              <a:gd name="connsiteX9" fmla="*/ 7692574 w 11588489"/>
              <a:gd name="connsiteY9" fmla="*/ 2338658 h 3069750"/>
              <a:gd name="connsiteX10" fmla="*/ 6976856 w 11588489"/>
              <a:gd name="connsiteY10" fmla="*/ 3054377 h 3069750"/>
              <a:gd name="connsiteX11" fmla="*/ 6261136 w 11588489"/>
              <a:gd name="connsiteY11" fmla="*/ 2338657 h 3069750"/>
              <a:gd name="connsiteX12" fmla="*/ 5415414 w 11588489"/>
              <a:gd name="connsiteY12" fmla="*/ 1607564 h 3069750"/>
              <a:gd name="connsiteX13" fmla="*/ 6131134 w 11588489"/>
              <a:gd name="connsiteY13" fmla="*/ 2323284 h 3069750"/>
              <a:gd name="connsiteX14" fmla="*/ 5415415 w 11588489"/>
              <a:gd name="connsiteY14" fmla="*/ 3039002 h 3069750"/>
              <a:gd name="connsiteX15" fmla="*/ 4699696 w 11588489"/>
              <a:gd name="connsiteY15" fmla="*/ 2323283 h 3069750"/>
              <a:gd name="connsiteX16" fmla="*/ 3853976 w 11588489"/>
              <a:gd name="connsiteY16" fmla="*/ 1592191 h 3069750"/>
              <a:gd name="connsiteX17" fmla="*/ 4569692 w 11588489"/>
              <a:gd name="connsiteY17" fmla="*/ 2307910 h 3069750"/>
              <a:gd name="connsiteX18" fmla="*/ 3853976 w 11588489"/>
              <a:gd name="connsiteY18" fmla="*/ 3023628 h 3069750"/>
              <a:gd name="connsiteX19" fmla="*/ 3138256 w 11588489"/>
              <a:gd name="connsiteY19" fmla="*/ 2307910 h 3069750"/>
              <a:gd name="connsiteX20" fmla="*/ 2292535 w 11588489"/>
              <a:gd name="connsiteY20" fmla="*/ 1576817 h 3069750"/>
              <a:gd name="connsiteX21" fmla="*/ 3008253 w 11588489"/>
              <a:gd name="connsiteY21" fmla="*/ 2292536 h 3069750"/>
              <a:gd name="connsiteX22" fmla="*/ 2292536 w 11588489"/>
              <a:gd name="connsiteY22" fmla="*/ 3008255 h 3069750"/>
              <a:gd name="connsiteX23" fmla="*/ 1576817 w 11588489"/>
              <a:gd name="connsiteY23" fmla="*/ 2292535 h 3069750"/>
              <a:gd name="connsiteX24" fmla="*/ 731094 w 11588489"/>
              <a:gd name="connsiteY24" fmla="*/ 1561441 h 3069750"/>
              <a:gd name="connsiteX25" fmla="*/ 1446815 w 11588489"/>
              <a:gd name="connsiteY25" fmla="*/ 2277160 h 3069750"/>
              <a:gd name="connsiteX26" fmla="*/ 731095 w 11588489"/>
              <a:gd name="connsiteY26" fmla="*/ 2992879 h 3069750"/>
              <a:gd name="connsiteX27" fmla="*/ 15375 w 11588489"/>
              <a:gd name="connsiteY27" fmla="*/ 2277159 h 3069750"/>
              <a:gd name="connsiteX28" fmla="*/ 10872769 w 11588489"/>
              <a:gd name="connsiteY28" fmla="*/ 861096 h 3069750"/>
              <a:gd name="connsiteX29" fmla="*/ 11588489 w 11588489"/>
              <a:gd name="connsiteY29" fmla="*/ 1576815 h 3069750"/>
              <a:gd name="connsiteX30" fmla="*/ 10872770 w 11588489"/>
              <a:gd name="connsiteY30" fmla="*/ 2292534 h 3069750"/>
              <a:gd name="connsiteX31" fmla="*/ 10157052 w 11588489"/>
              <a:gd name="connsiteY31" fmla="*/ 1576814 h 3069750"/>
              <a:gd name="connsiteX32" fmla="*/ 7749888 w 11588489"/>
              <a:gd name="connsiteY32" fmla="*/ 849905 h 3069750"/>
              <a:gd name="connsiteX33" fmla="*/ 8465606 w 11588489"/>
              <a:gd name="connsiteY33" fmla="*/ 1565624 h 3069750"/>
              <a:gd name="connsiteX34" fmla="*/ 7749889 w 11588489"/>
              <a:gd name="connsiteY34" fmla="*/ 2281343 h 3069750"/>
              <a:gd name="connsiteX35" fmla="*/ 7034169 w 11588489"/>
              <a:gd name="connsiteY35" fmla="*/ 1565624 h 3069750"/>
              <a:gd name="connsiteX36" fmla="*/ 9311327 w 11588489"/>
              <a:gd name="connsiteY36" fmla="*/ 845723 h 3069750"/>
              <a:gd name="connsiteX37" fmla="*/ 10027046 w 11588489"/>
              <a:gd name="connsiteY37" fmla="*/ 1561442 h 3069750"/>
              <a:gd name="connsiteX38" fmla="*/ 9311329 w 11588489"/>
              <a:gd name="connsiteY38" fmla="*/ 2277161 h 3069750"/>
              <a:gd name="connsiteX39" fmla="*/ 8595610 w 11588489"/>
              <a:gd name="connsiteY39" fmla="*/ 1561441 h 3069750"/>
              <a:gd name="connsiteX40" fmla="*/ 6188447 w 11588489"/>
              <a:gd name="connsiteY40" fmla="*/ 834531 h 3069750"/>
              <a:gd name="connsiteX41" fmla="*/ 6904166 w 11588489"/>
              <a:gd name="connsiteY41" fmla="*/ 1550250 h 3069750"/>
              <a:gd name="connsiteX42" fmla="*/ 6188447 w 11588489"/>
              <a:gd name="connsiteY42" fmla="*/ 2265969 h 3069750"/>
              <a:gd name="connsiteX43" fmla="*/ 5472728 w 11588489"/>
              <a:gd name="connsiteY43" fmla="*/ 1550249 h 3069750"/>
              <a:gd name="connsiteX44" fmla="*/ 4627006 w 11588489"/>
              <a:gd name="connsiteY44" fmla="*/ 819156 h 3069750"/>
              <a:gd name="connsiteX45" fmla="*/ 5342726 w 11588489"/>
              <a:gd name="connsiteY45" fmla="*/ 1534875 h 3069750"/>
              <a:gd name="connsiteX46" fmla="*/ 4627008 w 11588489"/>
              <a:gd name="connsiteY46" fmla="*/ 2250595 h 3069750"/>
              <a:gd name="connsiteX47" fmla="*/ 3911289 w 11588489"/>
              <a:gd name="connsiteY47" fmla="*/ 1534875 h 3069750"/>
              <a:gd name="connsiteX48" fmla="*/ 3065568 w 11588489"/>
              <a:gd name="connsiteY48" fmla="*/ 803783 h 3069750"/>
              <a:gd name="connsiteX49" fmla="*/ 3781287 w 11588489"/>
              <a:gd name="connsiteY49" fmla="*/ 1519502 h 3069750"/>
              <a:gd name="connsiteX50" fmla="*/ 3065567 w 11588489"/>
              <a:gd name="connsiteY50" fmla="*/ 2235221 h 3069750"/>
              <a:gd name="connsiteX51" fmla="*/ 2349849 w 11588489"/>
              <a:gd name="connsiteY51" fmla="*/ 1519502 h 3069750"/>
              <a:gd name="connsiteX52" fmla="*/ 1504128 w 11588489"/>
              <a:gd name="connsiteY52" fmla="*/ 788408 h 3069750"/>
              <a:gd name="connsiteX53" fmla="*/ 2219846 w 11588489"/>
              <a:gd name="connsiteY53" fmla="*/ 1504127 h 3069750"/>
              <a:gd name="connsiteX54" fmla="*/ 1504128 w 11588489"/>
              <a:gd name="connsiteY54" fmla="*/ 2219847 h 3069750"/>
              <a:gd name="connsiteX55" fmla="*/ 788409 w 11588489"/>
              <a:gd name="connsiteY55" fmla="*/ 1504127 h 3069750"/>
              <a:gd name="connsiteX56" fmla="*/ 8522921 w 11588489"/>
              <a:gd name="connsiteY56" fmla="*/ 76872 h 3069750"/>
              <a:gd name="connsiteX57" fmla="*/ 9238640 w 11588489"/>
              <a:gd name="connsiteY57" fmla="*/ 792590 h 3069750"/>
              <a:gd name="connsiteX58" fmla="*/ 8522921 w 11588489"/>
              <a:gd name="connsiteY58" fmla="*/ 1508309 h 3069750"/>
              <a:gd name="connsiteX59" fmla="*/ 7807202 w 11588489"/>
              <a:gd name="connsiteY59" fmla="*/ 792589 h 3069750"/>
              <a:gd name="connsiteX60" fmla="*/ 10084360 w 11588489"/>
              <a:gd name="connsiteY60" fmla="*/ 72688 h 3069750"/>
              <a:gd name="connsiteX61" fmla="*/ 10800080 w 11588489"/>
              <a:gd name="connsiteY61" fmla="*/ 788407 h 3069750"/>
              <a:gd name="connsiteX62" fmla="*/ 10084362 w 11588489"/>
              <a:gd name="connsiteY62" fmla="*/ 1504125 h 3069750"/>
              <a:gd name="connsiteX63" fmla="*/ 9368642 w 11588489"/>
              <a:gd name="connsiteY63" fmla="*/ 788406 h 3069750"/>
              <a:gd name="connsiteX64" fmla="*/ 6961480 w 11588489"/>
              <a:gd name="connsiteY64" fmla="*/ 61496 h 3069750"/>
              <a:gd name="connsiteX65" fmla="*/ 7677199 w 11588489"/>
              <a:gd name="connsiteY65" fmla="*/ 777215 h 3069750"/>
              <a:gd name="connsiteX66" fmla="*/ 6961481 w 11588489"/>
              <a:gd name="connsiteY66" fmla="*/ 1492934 h 3069750"/>
              <a:gd name="connsiteX67" fmla="*/ 6245761 w 11588489"/>
              <a:gd name="connsiteY67" fmla="*/ 777215 h 3069750"/>
              <a:gd name="connsiteX68" fmla="*/ 5400039 w 11588489"/>
              <a:gd name="connsiteY68" fmla="*/ 46123 h 3069750"/>
              <a:gd name="connsiteX69" fmla="*/ 6115758 w 11588489"/>
              <a:gd name="connsiteY69" fmla="*/ 761842 h 3069750"/>
              <a:gd name="connsiteX70" fmla="*/ 5400040 w 11588489"/>
              <a:gd name="connsiteY70" fmla="*/ 1477561 h 3069750"/>
              <a:gd name="connsiteX71" fmla="*/ 4684320 w 11588489"/>
              <a:gd name="connsiteY71" fmla="*/ 761841 h 3069750"/>
              <a:gd name="connsiteX72" fmla="*/ 3838601 w 11588489"/>
              <a:gd name="connsiteY72" fmla="*/ 30748 h 3069750"/>
              <a:gd name="connsiteX73" fmla="*/ 4554317 w 11588489"/>
              <a:gd name="connsiteY73" fmla="*/ 746468 h 3069750"/>
              <a:gd name="connsiteX74" fmla="*/ 3838601 w 11588489"/>
              <a:gd name="connsiteY74" fmla="*/ 1462185 h 3069750"/>
              <a:gd name="connsiteX75" fmla="*/ 3122882 w 11588489"/>
              <a:gd name="connsiteY75" fmla="*/ 746466 h 3069750"/>
              <a:gd name="connsiteX76" fmla="*/ 2277161 w 11588489"/>
              <a:gd name="connsiteY76" fmla="*/ 15374 h 3069750"/>
              <a:gd name="connsiteX77" fmla="*/ 2992879 w 11588489"/>
              <a:gd name="connsiteY77" fmla="*/ 731094 h 3069750"/>
              <a:gd name="connsiteX78" fmla="*/ 2277161 w 11588489"/>
              <a:gd name="connsiteY78" fmla="*/ 1446812 h 3069750"/>
              <a:gd name="connsiteX79" fmla="*/ 1561440 w 11588489"/>
              <a:gd name="connsiteY79" fmla="*/ 731092 h 3069750"/>
              <a:gd name="connsiteX80" fmla="*/ 715719 w 11588489"/>
              <a:gd name="connsiteY80" fmla="*/ 0 h 3069750"/>
              <a:gd name="connsiteX81" fmla="*/ 1431439 w 11588489"/>
              <a:gd name="connsiteY81" fmla="*/ 715719 h 3069750"/>
              <a:gd name="connsiteX82" fmla="*/ 715719 w 11588489"/>
              <a:gd name="connsiteY82" fmla="*/ 1431438 h 3069750"/>
              <a:gd name="connsiteX83" fmla="*/ 0 w 11588489"/>
              <a:gd name="connsiteY83" fmla="*/ 715719 h 3069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</a:cxnLst>
            <a:rect l="l" t="t" r="r" b="b"/>
            <a:pathLst>
              <a:path w="11588489" h="3069750">
                <a:moveTo>
                  <a:pt x="8538295" y="1638313"/>
                </a:moveTo>
                <a:lnTo>
                  <a:pt x="9254015" y="2354032"/>
                </a:lnTo>
                <a:lnTo>
                  <a:pt x="8538297" y="3069750"/>
                </a:lnTo>
                <a:lnTo>
                  <a:pt x="7822577" y="2354032"/>
                </a:lnTo>
                <a:close/>
                <a:moveTo>
                  <a:pt x="10099736" y="1634131"/>
                </a:moveTo>
                <a:lnTo>
                  <a:pt x="10815454" y="2349850"/>
                </a:lnTo>
                <a:lnTo>
                  <a:pt x="10099737" y="3065568"/>
                </a:lnTo>
                <a:lnTo>
                  <a:pt x="9384018" y="2349849"/>
                </a:lnTo>
                <a:close/>
                <a:moveTo>
                  <a:pt x="6976855" y="1622938"/>
                </a:moveTo>
                <a:lnTo>
                  <a:pt x="7692574" y="2338658"/>
                </a:lnTo>
                <a:lnTo>
                  <a:pt x="6976856" y="3054377"/>
                </a:lnTo>
                <a:lnTo>
                  <a:pt x="6261136" y="2338657"/>
                </a:lnTo>
                <a:close/>
                <a:moveTo>
                  <a:pt x="5415414" y="1607564"/>
                </a:moveTo>
                <a:lnTo>
                  <a:pt x="6131134" y="2323284"/>
                </a:lnTo>
                <a:lnTo>
                  <a:pt x="5415415" y="3039002"/>
                </a:lnTo>
                <a:lnTo>
                  <a:pt x="4699696" y="2323283"/>
                </a:lnTo>
                <a:close/>
                <a:moveTo>
                  <a:pt x="3853976" y="1592191"/>
                </a:moveTo>
                <a:lnTo>
                  <a:pt x="4569692" y="2307910"/>
                </a:lnTo>
                <a:lnTo>
                  <a:pt x="3853976" y="3023628"/>
                </a:lnTo>
                <a:lnTo>
                  <a:pt x="3138256" y="2307910"/>
                </a:lnTo>
                <a:close/>
                <a:moveTo>
                  <a:pt x="2292535" y="1576817"/>
                </a:moveTo>
                <a:lnTo>
                  <a:pt x="3008253" y="2292536"/>
                </a:lnTo>
                <a:lnTo>
                  <a:pt x="2292536" y="3008255"/>
                </a:lnTo>
                <a:lnTo>
                  <a:pt x="1576817" y="2292535"/>
                </a:lnTo>
                <a:close/>
                <a:moveTo>
                  <a:pt x="731094" y="1561441"/>
                </a:moveTo>
                <a:lnTo>
                  <a:pt x="1446815" y="2277160"/>
                </a:lnTo>
                <a:lnTo>
                  <a:pt x="731095" y="2992879"/>
                </a:lnTo>
                <a:lnTo>
                  <a:pt x="15375" y="2277159"/>
                </a:lnTo>
                <a:close/>
                <a:moveTo>
                  <a:pt x="10872769" y="861096"/>
                </a:moveTo>
                <a:lnTo>
                  <a:pt x="11588489" y="1576815"/>
                </a:lnTo>
                <a:lnTo>
                  <a:pt x="10872770" y="2292534"/>
                </a:lnTo>
                <a:lnTo>
                  <a:pt x="10157052" y="1576814"/>
                </a:lnTo>
                <a:close/>
                <a:moveTo>
                  <a:pt x="7749888" y="849905"/>
                </a:moveTo>
                <a:lnTo>
                  <a:pt x="8465606" y="1565624"/>
                </a:lnTo>
                <a:lnTo>
                  <a:pt x="7749889" y="2281343"/>
                </a:lnTo>
                <a:lnTo>
                  <a:pt x="7034169" y="1565624"/>
                </a:lnTo>
                <a:close/>
                <a:moveTo>
                  <a:pt x="9311327" y="845723"/>
                </a:moveTo>
                <a:lnTo>
                  <a:pt x="10027046" y="1561442"/>
                </a:lnTo>
                <a:lnTo>
                  <a:pt x="9311329" y="2277161"/>
                </a:lnTo>
                <a:lnTo>
                  <a:pt x="8595610" y="1561441"/>
                </a:lnTo>
                <a:close/>
                <a:moveTo>
                  <a:pt x="6188447" y="834531"/>
                </a:moveTo>
                <a:lnTo>
                  <a:pt x="6904166" y="1550250"/>
                </a:lnTo>
                <a:lnTo>
                  <a:pt x="6188447" y="2265969"/>
                </a:lnTo>
                <a:lnTo>
                  <a:pt x="5472728" y="1550249"/>
                </a:lnTo>
                <a:close/>
                <a:moveTo>
                  <a:pt x="4627006" y="819156"/>
                </a:moveTo>
                <a:lnTo>
                  <a:pt x="5342726" y="1534875"/>
                </a:lnTo>
                <a:lnTo>
                  <a:pt x="4627008" y="2250595"/>
                </a:lnTo>
                <a:lnTo>
                  <a:pt x="3911289" y="1534875"/>
                </a:lnTo>
                <a:close/>
                <a:moveTo>
                  <a:pt x="3065568" y="803783"/>
                </a:moveTo>
                <a:lnTo>
                  <a:pt x="3781287" y="1519502"/>
                </a:lnTo>
                <a:lnTo>
                  <a:pt x="3065567" y="2235221"/>
                </a:lnTo>
                <a:lnTo>
                  <a:pt x="2349849" y="1519502"/>
                </a:lnTo>
                <a:close/>
                <a:moveTo>
                  <a:pt x="1504128" y="788408"/>
                </a:moveTo>
                <a:lnTo>
                  <a:pt x="2219846" y="1504127"/>
                </a:lnTo>
                <a:lnTo>
                  <a:pt x="1504128" y="2219847"/>
                </a:lnTo>
                <a:lnTo>
                  <a:pt x="788409" y="1504127"/>
                </a:lnTo>
                <a:close/>
                <a:moveTo>
                  <a:pt x="8522921" y="76872"/>
                </a:moveTo>
                <a:lnTo>
                  <a:pt x="9238640" y="792590"/>
                </a:lnTo>
                <a:lnTo>
                  <a:pt x="8522921" y="1508309"/>
                </a:lnTo>
                <a:lnTo>
                  <a:pt x="7807202" y="792589"/>
                </a:lnTo>
                <a:close/>
                <a:moveTo>
                  <a:pt x="10084360" y="72688"/>
                </a:moveTo>
                <a:lnTo>
                  <a:pt x="10800080" y="788407"/>
                </a:lnTo>
                <a:lnTo>
                  <a:pt x="10084362" y="1504125"/>
                </a:lnTo>
                <a:lnTo>
                  <a:pt x="9368642" y="788406"/>
                </a:lnTo>
                <a:close/>
                <a:moveTo>
                  <a:pt x="6961480" y="61496"/>
                </a:moveTo>
                <a:lnTo>
                  <a:pt x="7677199" y="777215"/>
                </a:lnTo>
                <a:lnTo>
                  <a:pt x="6961481" y="1492934"/>
                </a:lnTo>
                <a:lnTo>
                  <a:pt x="6245761" y="777215"/>
                </a:lnTo>
                <a:close/>
                <a:moveTo>
                  <a:pt x="5400039" y="46123"/>
                </a:moveTo>
                <a:lnTo>
                  <a:pt x="6115758" y="761842"/>
                </a:lnTo>
                <a:lnTo>
                  <a:pt x="5400040" y="1477561"/>
                </a:lnTo>
                <a:lnTo>
                  <a:pt x="4684320" y="761841"/>
                </a:lnTo>
                <a:close/>
                <a:moveTo>
                  <a:pt x="3838601" y="30748"/>
                </a:moveTo>
                <a:lnTo>
                  <a:pt x="4554317" y="746468"/>
                </a:lnTo>
                <a:lnTo>
                  <a:pt x="3838601" y="1462185"/>
                </a:lnTo>
                <a:lnTo>
                  <a:pt x="3122882" y="746466"/>
                </a:lnTo>
                <a:close/>
                <a:moveTo>
                  <a:pt x="2277161" y="15374"/>
                </a:moveTo>
                <a:lnTo>
                  <a:pt x="2992879" y="731094"/>
                </a:lnTo>
                <a:lnTo>
                  <a:pt x="2277161" y="1446812"/>
                </a:lnTo>
                <a:lnTo>
                  <a:pt x="1561440" y="731092"/>
                </a:lnTo>
                <a:close/>
                <a:moveTo>
                  <a:pt x="715719" y="0"/>
                </a:moveTo>
                <a:lnTo>
                  <a:pt x="1431439" y="715719"/>
                </a:lnTo>
                <a:lnTo>
                  <a:pt x="715719" y="1431438"/>
                </a:lnTo>
                <a:lnTo>
                  <a:pt x="0" y="71571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marR="0" indent="0" algn="ctr" defTabSz="91444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 algn="ctr"/>
            <a:r>
              <a:rPr lang="en-US" altLang="ko-KR"/>
              <a:t>Place Your Picture Here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164735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6409679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7320969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04472DF4-780C-4ADE-ADF2-F9FF59D5E3DF}"/>
              </a:ext>
            </a:extLst>
          </p:cNvPr>
          <p:cNvSpPr/>
          <p:nvPr userDrawn="1"/>
        </p:nvSpPr>
        <p:spPr>
          <a:xfrm>
            <a:off x="0" y="4146072"/>
            <a:ext cx="4218052" cy="427271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softEdge rad="2032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8DA4AA9B-DE3D-40EB-9F5D-E33991966CF3}"/>
              </a:ext>
            </a:extLst>
          </p:cNvPr>
          <p:cNvSpPr/>
          <p:nvPr userDrawn="1"/>
        </p:nvSpPr>
        <p:spPr>
          <a:xfrm>
            <a:off x="8014620" y="4146072"/>
            <a:ext cx="4218052" cy="427271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softEdge rad="2032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C0BCB32D-63B6-403B-AF38-CB68742DC0CC}"/>
              </a:ext>
            </a:extLst>
          </p:cNvPr>
          <p:cNvSpPr/>
          <p:nvPr userDrawn="1"/>
        </p:nvSpPr>
        <p:spPr>
          <a:xfrm>
            <a:off x="3880338" y="4498201"/>
            <a:ext cx="4431324" cy="448874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softEdge rad="2032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grpSp>
        <p:nvGrpSpPr>
          <p:cNvPr id="5" name="Graphic 14">
            <a:extLst>
              <a:ext uri="{FF2B5EF4-FFF2-40B4-BE49-F238E27FC236}">
                <a16:creationId xmlns:a16="http://schemas.microsoft.com/office/drawing/2014/main" id="{EC269C82-1A20-453E-9C19-936C54DAF495}"/>
              </a:ext>
            </a:extLst>
          </p:cNvPr>
          <p:cNvGrpSpPr/>
          <p:nvPr userDrawn="1"/>
        </p:nvGrpSpPr>
        <p:grpSpPr>
          <a:xfrm>
            <a:off x="4181510" y="1466504"/>
            <a:ext cx="3966027" cy="3201070"/>
            <a:chOff x="2444748" y="555045"/>
            <a:chExt cx="7282048" cy="5727454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976E0F3D-2583-4D45-BFC6-CB87342E7D61}"/>
                </a:ext>
              </a:extLst>
            </p:cNvPr>
            <p:cNvSpPr/>
            <p:nvPr/>
          </p:nvSpPr>
          <p:spPr>
            <a:xfrm>
              <a:off x="4964693" y="5443837"/>
              <a:ext cx="2168250" cy="818208"/>
            </a:xfrm>
            <a:custGeom>
              <a:avLst/>
              <a:gdLst>
                <a:gd name="connsiteX0" fmla="*/ 1941333 w 2168250"/>
                <a:gd name="connsiteY0" fmla="*/ 525699 h 818207"/>
                <a:gd name="connsiteX1" fmla="*/ 1785874 w 2168250"/>
                <a:gd name="connsiteY1" fmla="*/ 30683 h 818207"/>
                <a:gd name="connsiteX2" fmla="*/ 1114943 w 2168250"/>
                <a:gd name="connsiteY2" fmla="*/ 30683 h 818207"/>
                <a:gd name="connsiteX3" fmla="*/ 1065851 w 2168250"/>
                <a:gd name="connsiteY3" fmla="*/ 30683 h 818207"/>
                <a:gd name="connsiteX4" fmla="*/ 390830 w 2168250"/>
                <a:gd name="connsiteY4" fmla="*/ 30683 h 818207"/>
                <a:gd name="connsiteX5" fmla="*/ 235370 w 2168250"/>
                <a:gd name="connsiteY5" fmla="*/ 525699 h 818207"/>
                <a:gd name="connsiteX6" fmla="*/ 259916 w 2168250"/>
                <a:gd name="connsiteY6" fmla="*/ 816162 h 818207"/>
                <a:gd name="connsiteX7" fmla="*/ 1065851 w 2168250"/>
                <a:gd name="connsiteY7" fmla="*/ 816162 h 818207"/>
                <a:gd name="connsiteX8" fmla="*/ 1114943 w 2168250"/>
                <a:gd name="connsiteY8" fmla="*/ 816162 h 818207"/>
                <a:gd name="connsiteX9" fmla="*/ 1920878 w 2168250"/>
                <a:gd name="connsiteY9" fmla="*/ 816162 h 818207"/>
                <a:gd name="connsiteX10" fmla="*/ 1941333 w 2168250"/>
                <a:gd name="connsiteY10" fmla="*/ 525699 h 818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68250" h="818207">
                  <a:moveTo>
                    <a:pt x="1941333" y="525699"/>
                  </a:moveTo>
                  <a:cubicBezTo>
                    <a:pt x="1789965" y="370239"/>
                    <a:pt x="1785874" y="30683"/>
                    <a:pt x="1785874" y="30683"/>
                  </a:cubicBezTo>
                  <a:lnTo>
                    <a:pt x="1114943" y="30683"/>
                  </a:lnTo>
                  <a:lnTo>
                    <a:pt x="1065851" y="30683"/>
                  </a:lnTo>
                  <a:lnTo>
                    <a:pt x="390830" y="30683"/>
                  </a:lnTo>
                  <a:cubicBezTo>
                    <a:pt x="390830" y="30683"/>
                    <a:pt x="386739" y="366148"/>
                    <a:pt x="235370" y="525699"/>
                  </a:cubicBezTo>
                  <a:cubicBezTo>
                    <a:pt x="84002" y="681158"/>
                    <a:pt x="-149188" y="816162"/>
                    <a:pt x="259916" y="816162"/>
                  </a:cubicBezTo>
                  <a:cubicBezTo>
                    <a:pt x="587199" y="816162"/>
                    <a:pt x="939029" y="816162"/>
                    <a:pt x="1065851" y="816162"/>
                  </a:cubicBezTo>
                  <a:cubicBezTo>
                    <a:pt x="1098579" y="816162"/>
                    <a:pt x="1114943" y="816162"/>
                    <a:pt x="1114943" y="816162"/>
                  </a:cubicBezTo>
                  <a:cubicBezTo>
                    <a:pt x="1245857" y="816162"/>
                    <a:pt x="1597686" y="816162"/>
                    <a:pt x="1920878" y="816162"/>
                  </a:cubicBezTo>
                  <a:cubicBezTo>
                    <a:pt x="2329982" y="816162"/>
                    <a:pt x="2092702" y="681158"/>
                    <a:pt x="1941333" y="525699"/>
                  </a:cubicBezTo>
                  <a:close/>
                </a:path>
              </a:pathLst>
            </a:custGeom>
            <a:gradFill>
              <a:gsLst>
                <a:gs pos="0">
                  <a:schemeClr val="bg1">
                    <a:lumMod val="75000"/>
                  </a:schemeClr>
                </a:gs>
                <a:gs pos="53000">
                  <a:schemeClr val="bg1">
                    <a:lumMod val="85000"/>
                  </a:schemeClr>
                </a:gs>
                <a:gs pos="8300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62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57FAD70-6D4B-482B-95A9-4E04FB55ECCF}"/>
                </a:ext>
              </a:extLst>
            </p:cNvPr>
            <p:cNvSpPr/>
            <p:nvPr/>
          </p:nvSpPr>
          <p:spPr>
            <a:xfrm>
              <a:off x="2444748" y="555045"/>
              <a:ext cx="7282048" cy="4950157"/>
            </a:xfrm>
            <a:custGeom>
              <a:avLst/>
              <a:gdLst>
                <a:gd name="connsiteX0" fmla="*/ 7038632 w 7282048"/>
                <a:gd name="connsiteY0" fmla="*/ 30683 h 4950157"/>
                <a:gd name="connsiteX1" fmla="*/ 3704436 w 7282048"/>
                <a:gd name="connsiteY1" fmla="*/ 30683 h 4950157"/>
                <a:gd name="connsiteX2" fmla="*/ 3589886 w 7282048"/>
                <a:gd name="connsiteY2" fmla="*/ 30683 h 4950157"/>
                <a:gd name="connsiteX3" fmla="*/ 259781 w 7282048"/>
                <a:gd name="connsiteY3" fmla="*/ 30683 h 4950157"/>
                <a:gd name="connsiteX4" fmla="*/ 30683 w 7282048"/>
                <a:gd name="connsiteY4" fmla="*/ 259781 h 4950157"/>
                <a:gd name="connsiteX5" fmla="*/ 30683 w 7282048"/>
                <a:gd name="connsiteY5" fmla="*/ 4698558 h 4950157"/>
                <a:gd name="connsiteX6" fmla="*/ 239326 w 7282048"/>
                <a:gd name="connsiteY6" fmla="*/ 4931748 h 4950157"/>
                <a:gd name="connsiteX7" fmla="*/ 7042723 w 7282048"/>
                <a:gd name="connsiteY7" fmla="*/ 4931748 h 4950157"/>
                <a:gd name="connsiteX8" fmla="*/ 7251366 w 7282048"/>
                <a:gd name="connsiteY8" fmla="*/ 4698558 h 4950157"/>
                <a:gd name="connsiteX9" fmla="*/ 7251366 w 7282048"/>
                <a:gd name="connsiteY9" fmla="*/ 259781 h 4950157"/>
                <a:gd name="connsiteX10" fmla="*/ 7038632 w 7282048"/>
                <a:gd name="connsiteY10" fmla="*/ 30683 h 4950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282048" h="4950157">
                  <a:moveTo>
                    <a:pt x="7038632" y="30683"/>
                  </a:moveTo>
                  <a:lnTo>
                    <a:pt x="3704436" y="30683"/>
                  </a:lnTo>
                  <a:lnTo>
                    <a:pt x="3589886" y="30683"/>
                  </a:lnTo>
                  <a:lnTo>
                    <a:pt x="259781" y="30683"/>
                  </a:lnTo>
                  <a:cubicBezTo>
                    <a:pt x="141141" y="30683"/>
                    <a:pt x="30683" y="128868"/>
                    <a:pt x="30683" y="259781"/>
                  </a:cubicBezTo>
                  <a:lnTo>
                    <a:pt x="30683" y="4698558"/>
                  </a:lnTo>
                  <a:cubicBezTo>
                    <a:pt x="30683" y="4829472"/>
                    <a:pt x="124777" y="4931748"/>
                    <a:pt x="239326" y="4931748"/>
                  </a:cubicBezTo>
                  <a:lnTo>
                    <a:pt x="7042723" y="4931748"/>
                  </a:lnTo>
                  <a:cubicBezTo>
                    <a:pt x="7157272" y="4931748"/>
                    <a:pt x="7251366" y="4825380"/>
                    <a:pt x="7251366" y="4698558"/>
                  </a:cubicBezTo>
                  <a:lnTo>
                    <a:pt x="7251366" y="259781"/>
                  </a:lnTo>
                  <a:cubicBezTo>
                    <a:pt x="7251366" y="128868"/>
                    <a:pt x="7157272" y="30683"/>
                    <a:pt x="7038632" y="30683"/>
                  </a:cubicBezTo>
                  <a:close/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9D563A12-0F0A-4174-9A89-B35A42440D1A}"/>
                </a:ext>
              </a:extLst>
            </p:cNvPr>
            <p:cNvSpPr/>
            <p:nvPr/>
          </p:nvSpPr>
          <p:spPr>
            <a:xfrm>
              <a:off x="8706599" y="5435655"/>
              <a:ext cx="490925" cy="81821"/>
            </a:xfrm>
            <a:custGeom>
              <a:avLst/>
              <a:gdLst>
                <a:gd name="connsiteX0" fmla="*/ 32212 w 490924"/>
                <a:gd name="connsiteY0" fmla="*/ 30683 h 81820"/>
                <a:gd name="connsiteX1" fmla="*/ 64939 w 490924"/>
                <a:gd name="connsiteY1" fmla="*/ 71593 h 81820"/>
                <a:gd name="connsiteX2" fmla="*/ 461771 w 490924"/>
                <a:gd name="connsiteY2" fmla="*/ 71593 h 81820"/>
                <a:gd name="connsiteX3" fmla="*/ 498590 w 490924"/>
                <a:gd name="connsiteY3" fmla="*/ 30683 h 81820"/>
                <a:gd name="connsiteX4" fmla="*/ 32212 w 490924"/>
                <a:gd name="connsiteY4" fmla="*/ 30683 h 81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0924" h="81820">
                  <a:moveTo>
                    <a:pt x="32212" y="30683"/>
                  </a:moveTo>
                  <a:cubicBezTo>
                    <a:pt x="32212" y="30683"/>
                    <a:pt x="19938" y="67502"/>
                    <a:pt x="64939" y="71593"/>
                  </a:cubicBezTo>
                  <a:lnTo>
                    <a:pt x="461771" y="71593"/>
                  </a:lnTo>
                  <a:cubicBezTo>
                    <a:pt x="461771" y="71593"/>
                    <a:pt x="502681" y="75684"/>
                    <a:pt x="498590" y="30683"/>
                  </a:cubicBezTo>
                  <a:lnTo>
                    <a:pt x="32212" y="30683"/>
                  </a:lnTo>
                  <a:close/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0C2CEB12-9BC1-4648-9624-BD1C7A1F9020}"/>
                </a:ext>
              </a:extLst>
            </p:cNvPr>
            <p:cNvSpPr/>
            <p:nvPr/>
          </p:nvSpPr>
          <p:spPr>
            <a:xfrm>
              <a:off x="2481568" y="595956"/>
              <a:ext cx="7200228" cy="4336501"/>
            </a:xfrm>
            <a:custGeom>
              <a:avLst/>
              <a:gdLst>
                <a:gd name="connsiteX0" fmla="*/ 6973175 w 7200227"/>
                <a:gd name="connsiteY0" fmla="*/ 30683 h 4336501"/>
                <a:gd name="connsiteX1" fmla="*/ 3671707 w 7200227"/>
                <a:gd name="connsiteY1" fmla="*/ 30683 h 4336501"/>
                <a:gd name="connsiteX2" fmla="*/ 3561249 w 7200227"/>
                <a:gd name="connsiteY2" fmla="*/ 30683 h 4336501"/>
                <a:gd name="connsiteX3" fmla="*/ 259781 w 7200227"/>
                <a:gd name="connsiteY3" fmla="*/ 30683 h 4336501"/>
                <a:gd name="connsiteX4" fmla="*/ 30683 w 7200227"/>
                <a:gd name="connsiteY4" fmla="*/ 231144 h 4336501"/>
                <a:gd name="connsiteX5" fmla="*/ 30683 w 7200227"/>
                <a:gd name="connsiteY5" fmla="*/ 4330365 h 4336501"/>
                <a:gd name="connsiteX6" fmla="*/ 7185909 w 7200227"/>
                <a:gd name="connsiteY6" fmla="*/ 4330365 h 4336501"/>
                <a:gd name="connsiteX7" fmla="*/ 7185909 w 7200227"/>
                <a:gd name="connsiteY7" fmla="*/ 231144 h 4336501"/>
                <a:gd name="connsiteX8" fmla="*/ 6973175 w 7200227"/>
                <a:gd name="connsiteY8" fmla="*/ 30683 h 4336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00227" h="4336501">
                  <a:moveTo>
                    <a:pt x="6973175" y="30683"/>
                  </a:moveTo>
                  <a:lnTo>
                    <a:pt x="3671707" y="30683"/>
                  </a:lnTo>
                  <a:lnTo>
                    <a:pt x="3561249" y="30683"/>
                  </a:lnTo>
                  <a:lnTo>
                    <a:pt x="259781" y="30683"/>
                  </a:lnTo>
                  <a:cubicBezTo>
                    <a:pt x="141141" y="30683"/>
                    <a:pt x="30683" y="112504"/>
                    <a:pt x="30683" y="231144"/>
                  </a:cubicBezTo>
                  <a:lnTo>
                    <a:pt x="30683" y="4330365"/>
                  </a:lnTo>
                  <a:lnTo>
                    <a:pt x="7185909" y="4330365"/>
                  </a:lnTo>
                  <a:lnTo>
                    <a:pt x="7185909" y="231144"/>
                  </a:lnTo>
                  <a:cubicBezTo>
                    <a:pt x="7185909" y="112504"/>
                    <a:pt x="7091815" y="30683"/>
                    <a:pt x="6973175" y="30683"/>
                  </a:cubicBezTo>
                  <a:close/>
                </a:path>
              </a:pathLst>
            </a:custGeom>
            <a:solidFill>
              <a:srgbClr val="231F2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80E5679B-A26F-4D11-A60A-B1A0979D6CDD}"/>
                </a:ext>
              </a:extLst>
            </p:cNvPr>
            <p:cNvSpPr/>
            <p:nvPr/>
          </p:nvSpPr>
          <p:spPr>
            <a:xfrm>
              <a:off x="4968919" y="6159768"/>
              <a:ext cx="2168250" cy="122731"/>
            </a:xfrm>
            <a:custGeom>
              <a:avLst/>
              <a:gdLst>
                <a:gd name="connsiteX0" fmla="*/ 30683 w 2168250"/>
                <a:gd name="connsiteY0" fmla="*/ 34774 h 122731"/>
                <a:gd name="connsiteX1" fmla="*/ 30683 w 2168250"/>
                <a:gd name="connsiteY1" fmla="*/ 34774 h 122731"/>
                <a:gd name="connsiteX2" fmla="*/ 30683 w 2168250"/>
                <a:gd name="connsiteY2" fmla="*/ 38865 h 122731"/>
                <a:gd name="connsiteX3" fmla="*/ 30683 w 2168250"/>
                <a:gd name="connsiteY3" fmla="*/ 38865 h 122731"/>
                <a:gd name="connsiteX4" fmla="*/ 263872 w 2168250"/>
                <a:gd name="connsiteY4" fmla="*/ 96140 h 122731"/>
                <a:gd name="connsiteX5" fmla="*/ 1069807 w 2168250"/>
                <a:gd name="connsiteY5" fmla="*/ 96140 h 122731"/>
                <a:gd name="connsiteX6" fmla="*/ 1118899 w 2168250"/>
                <a:gd name="connsiteY6" fmla="*/ 96140 h 122731"/>
                <a:gd name="connsiteX7" fmla="*/ 1924834 w 2168250"/>
                <a:gd name="connsiteY7" fmla="*/ 96140 h 122731"/>
                <a:gd name="connsiteX8" fmla="*/ 2153932 w 2168250"/>
                <a:gd name="connsiteY8" fmla="*/ 30683 h 122731"/>
                <a:gd name="connsiteX9" fmla="*/ 2137568 w 2168250"/>
                <a:gd name="connsiteY9" fmla="*/ 30683 h 122731"/>
                <a:gd name="connsiteX10" fmla="*/ 2137568 w 2168250"/>
                <a:gd name="connsiteY10" fmla="*/ 30683 h 122731"/>
                <a:gd name="connsiteX11" fmla="*/ 30683 w 2168250"/>
                <a:gd name="connsiteY11" fmla="*/ 30683 h 122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68250" h="122731">
                  <a:moveTo>
                    <a:pt x="30683" y="34774"/>
                  </a:moveTo>
                  <a:lnTo>
                    <a:pt x="30683" y="34774"/>
                  </a:lnTo>
                  <a:cubicBezTo>
                    <a:pt x="30683" y="38865"/>
                    <a:pt x="30683" y="38865"/>
                    <a:pt x="30683" y="38865"/>
                  </a:cubicBezTo>
                  <a:lnTo>
                    <a:pt x="30683" y="38865"/>
                  </a:lnTo>
                  <a:cubicBezTo>
                    <a:pt x="30683" y="79775"/>
                    <a:pt x="96139" y="96140"/>
                    <a:pt x="263872" y="96140"/>
                  </a:cubicBezTo>
                  <a:cubicBezTo>
                    <a:pt x="591155" y="96140"/>
                    <a:pt x="942984" y="96140"/>
                    <a:pt x="1069807" y="96140"/>
                  </a:cubicBezTo>
                  <a:cubicBezTo>
                    <a:pt x="1102535" y="96140"/>
                    <a:pt x="1118899" y="96140"/>
                    <a:pt x="1118899" y="96140"/>
                  </a:cubicBezTo>
                  <a:cubicBezTo>
                    <a:pt x="1249812" y="96140"/>
                    <a:pt x="1601642" y="96140"/>
                    <a:pt x="1924834" y="96140"/>
                  </a:cubicBezTo>
                  <a:cubicBezTo>
                    <a:pt x="2092566" y="96140"/>
                    <a:pt x="2149841" y="75684"/>
                    <a:pt x="2153932" y="30683"/>
                  </a:cubicBezTo>
                  <a:lnTo>
                    <a:pt x="2137568" y="30683"/>
                  </a:lnTo>
                  <a:lnTo>
                    <a:pt x="2137568" y="30683"/>
                  </a:lnTo>
                  <a:lnTo>
                    <a:pt x="30683" y="30683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19D55C80-D642-4CD0-B4B5-4986DF17909C}"/>
                </a:ext>
              </a:extLst>
            </p:cNvPr>
            <p:cNvSpPr/>
            <p:nvPr/>
          </p:nvSpPr>
          <p:spPr>
            <a:xfrm>
              <a:off x="2481568" y="4903820"/>
              <a:ext cx="7200228" cy="572745"/>
            </a:xfrm>
            <a:custGeom>
              <a:avLst/>
              <a:gdLst>
                <a:gd name="connsiteX0" fmla="*/ 30683 w 7200227"/>
                <a:gd name="connsiteY0" fmla="*/ 362057 h 572745"/>
                <a:gd name="connsiteX1" fmla="*/ 259781 w 7200227"/>
                <a:gd name="connsiteY1" fmla="*/ 562518 h 572745"/>
                <a:gd name="connsiteX2" fmla="*/ 3561249 w 7200227"/>
                <a:gd name="connsiteY2" fmla="*/ 562518 h 572745"/>
                <a:gd name="connsiteX3" fmla="*/ 3671707 w 7200227"/>
                <a:gd name="connsiteY3" fmla="*/ 562518 h 572745"/>
                <a:gd name="connsiteX4" fmla="*/ 6973175 w 7200227"/>
                <a:gd name="connsiteY4" fmla="*/ 562518 h 572745"/>
                <a:gd name="connsiteX5" fmla="*/ 7185909 w 7200227"/>
                <a:gd name="connsiteY5" fmla="*/ 362057 h 572745"/>
                <a:gd name="connsiteX6" fmla="*/ 7185909 w 7200227"/>
                <a:gd name="connsiteY6" fmla="*/ 30683 h 572745"/>
                <a:gd name="connsiteX7" fmla="*/ 30683 w 7200227"/>
                <a:gd name="connsiteY7" fmla="*/ 30683 h 572745"/>
                <a:gd name="connsiteX8" fmla="*/ 30683 w 7200227"/>
                <a:gd name="connsiteY8" fmla="*/ 362057 h 572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00227" h="572745">
                  <a:moveTo>
                    <a:pt x="30683" y="362057"/>
                  </a:moveTo>
                  <a:cubicBezTo>
                    <a:pt x="30683" y="464333"/>
                    <a:pt x="141141" y="562518"/>
                    <a:pt x="259781" y="562518"/>
                  </a:cubicBezTo>
                  <a:lnTo>
                    <a:pt x="3561249" y="562518"/>
                  </a:lnTo>
                  <a:lnTo>
                    <a:pt x="3671707" y="562518"/>
                  </a:lnTo>
                  <a:lnTo>
                    <a:pt x="6973175" y="562518"/>
                  </a:lnTo>
                  <a:cubicBezTo>
                    <a:pt x="7091815" y="562518"/>
                    <a:pt x="7185909" y="464333"/>
                    <a:pt x="7185909" y="362057"/>
                  </a:cubicBezTo>
                  <a:lnTo>
                    <a:pt x="7185909" y="30683"/>
                  </a:lnTo>
                  <a:lnTo>
                    <a:pt x="30683" y="30683"/>
                  </a:lnTo>
                  <a:lnTo>
                    <a:pt x="30683" y="362057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874C12F8-D0E0-45A4-AC42-BDCA423A40CA}"/>
                </a:ext>
              </a:extLst>
            </p:cNvPr>
            <p:cNvSpPr/>
            <p:nvPr/>
          </p:nvSpPr>
          <p:spPr>
            <a:xfrm>
              <a:off x="2747714" y="910966"/>
              <a:ext cx="6676116" cy="3763756"/>
            </a:xfrm>
            <a:custGeom>
              <a:avLst/>
              <a:gdLst>
                <a:gd name="connsiteX0" fmla="*/ 30683 w 6586571"/>
                <a:gd name="connsiteY0" fmla="*/ 30683 h 3763755"/>
                <a:gd name="connsiteX1" fmla="*/ 6564071 w 6586571"/>
                <a:gd name="connsiteY1" fmla="*/ 30683 h 3763755"/>
                <a:gd name="connsiteX2" fmla="*/ 6564071 w 6586571"/>
                <a:gd name="connsiteY2" fmla="*/ 3753528 h 3763755"/>
                <a:gd name="connsiteX3" fmla="*/ 30683 w 6586571"/>
                <a:gd name="connsiteY3" fmla="*/ 3753528 h 3763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86571" h="3763755">
                  <a:moveTo>
                    <a:pt x="30683" y="30683"/>
                  </a:moveTo>
                  <a:lnTo>
                    <a:pt x="6564071" y="30683"/>
                  </a:lnTo>
                  <a:lnTo>
                    <a:pt x="6564071" y="3753528"/>
                  </a:lnTo>
                  <a:lnTo>
                    <a:pt x="30683" y="3753528"/>
                  </a:lnTo>
                  <a:close/>
                </a:path>
              </a:pathLst>
            </a:custGeom>
            <a:solidFill>
              <a:srgbClr val="F2F2F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41FEF898-9667-4F86-A5F6-CEDDC6C293EB}"/>
                </a:ext>
              </a:extLst>
            </p:cNvPr>
            <p:cNvSpPr/>
            <p:nvPr/>
          </p:nvSpPr>
          <p:spPr>
            <a:xfrm>
              <a:off x="5654591" y="939518"/>
              <a:ext cx="3769239" cy="3736342"/>
            </a:xfrm>
            <a:custGeom>
              <a:avLst/>
              <a:gdLst>
                <a:gd name="connsiteX0" fmla="*/ 2567127 w 4009217"/>
                <a:gd name="connsiteY0" fmla="*/ 30683 h 4295590"/>
                <a:gd name="connsiteX1" fmla="*/ 3798529 w 4009217"/>
                <a:gd name="connsiteY1" fmla="*/ 30683 h 4295590"/>
                <a:gd name="connsiteX2" fmla="*/ 4007172 w 4009217"/>
                <a:gd name="connsiteY2" fmla="*/ 272054 h 4295590"/>
                <a:gd name="connsiteX3" fmla="*/ 3998990 w 4009217"/>
                <a:gd name="connsiteY3" fmla="*/ 4268999 h 4295590"/>
                <a:gd name="connsiteX4" fmla="*/ 30683 w 4009217"/>
                <a:gd name="connsiteY4" fmla="*/ 4268999 h 4295590"/>
                <a:gd name="connsiteX0" fmla="*/ 2536444 w 3976489"/>
                <a:gd name="connsiteY0" fmla="*/ 0 h 4238316"/>
                <a:gd name="connsiteX1" fmla="*/ 3976489 w 3976489"/>
                <a:gd name="connsiteY1" fmla="*/ 241371 h 4238316"/>
                <a:gd name="connsiteX2" fmla="*/ 3968307 w 3976489"/>
                <a:gd name="connsiteY2" fmla="*/ 4238316 h 4238316"/>
                <a:gd name="connsiteX3" fmla="*/ 0 w 3976489"/>
                <a:gd name="connsiteY3" fmla="*/ 4238316 h 4238316"/>
                <a:gd name="connsiteX0" fmla="*/ 2536444 w 3976489"/>
                <a:gd name="connsiteY0" fmla="*/ 0 h 4238316"/>
                <a:gd name="connsiteX1" fmla="*/ 3976489 w 3976489"/>
                <a:gd name="connsiteY1" fmla="*/ 213683 h 4238316"/>
                <a:gd name="connsiteX2" fmla="*/ 3968307 w 3976489"/>
                <a:gd name="connsiteY2" fmla="*/ 4238316 h 4238316"/>
                <a:gd name="connsiteX3" fmla="*/ 0 w 3976489"/>
                <a:gd name="connsiteY3" fmla="*/ 4238316 h 4238316"/>
                <a:gd name="connsiteX0" fmla="*/ 2473335 w 3976489"/>
                <a:gd name="connsiteY0" fmla="*/ 0 h 4035268"/>
                <a:gd name="connsiteX1" fmla="*/ 3976489 w 3976489"/>
                <a:gd name="connsiteY1" fmla="*/ 10635 h 4035268"/>
                <a:gd name="connsiteX2" fmla="*/ 3968307 w 3976489"/>
                <a:gd name="connsiteY2" fmla="*/ 4035268 h 4035268"/>
                <a:gd name="connsiteX3" fmla="*/ 0 w 3976489"/>
                <a:gd name="connsiteY3" fmla="*/ 4035268 h 4035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76489" h="4035268">
                  <a:moveTo>
                    <a:pt x="2473335" y="0"/>
                  </a:moveTo>
                  <a:lnTo>
                    <a:pt x="3976489" y="10635"/>
                  </a:lnTo>
                  <a:cubicBezTo>
                    <a:pt x="3973762" y="1342950"/>
                    <a:pt x="3971034" y="2702953"/>
                    <a:pt x="3968307" y="4035268"/>
                  </a:cubicBezTo>
                  <a:lnTo>
                    <a:pt x="0" y="4035268"/>
                  </a:lnTo>
                </a:path>
              </a:pathLst>
            </a:custGeom>
            <a:solidFill>
              <a:srgbClr val="999999">
                <a:alpha val="1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4" name="Graphic 14">
            <a:extLst>
              <a:ext uri="{FF2B5EF4-FFF2-40B4-BE49-F238E27FC236}">
                <a16:creationId xmlns:a16="http://schemas.microsoft.com/office/drawing/2014/main" id="{6466E66D-3BAE-425D-BC41-650435BB6D1C}"/>
              </a:ext>
            </a:extLst>
          </p:cNvPr>
          <p:cNvGrpSpPr/>
          <p:nvPr userDrawn="1"/>
        </p:nvGrpSpPr>
        <p:grpSpPr>
          <a:xfrm>
            <a:off x="802991" y="2123122"/>
            <a:ext cx="2744170" cy="2214881"/>
            <a:chOff x="2444748" y="555045"/>
            <a:chExt cx="7282048" cy="5727454"/>
          </a:xfrm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DFBCB55E-BA4A-4722-B00E-1D42824A242D}"/>
                </a:ext>
              </a:extLst>
            </p:cNvPr>
            <p:cNvSpPr/>
            <p:nvPr/>
          </p:nvSpPr>
          <p:spPr>
            <a:xfrm>
              <a:off x="4964693" y="5443837"/>
              <a:ext cx="2168250" cy="818208"/>
            </a:xfrm>
            <a:custGeom>
              <a:avLst/>
              <a:gdLst>
                <a:gd name="connsiteX0" fmla="*/ 1941333 w 2168250"/>
                <a:gd name="connsiteY0" fmla="*/ 525699 h 818207"/>
                <a:gd name="connsiteX1" fmla="*/ 1785874 w 2168250"/>
                <a:gd name="connsiteY1" fmla="*/ 30683 h 818207"/>
                <a:gd name="connsiteX2" fmla="*/ 1114943 w 2168250"/>
                <a:gd name="connsiteY2" fmla="*/ 30683 h 818207"/>
                <a:gd name="connsiteX3" fmla="*/ 1065851 w 2168250"/>
                <a:gd name="connsiteY3" fmla="*/ 30683 h 818207"/>
                <a:gd name="connsiteX4" fmla="*/ 390830 w 2168250"/>
                <a:gd name="connsiteY4" fmla="*/ 30683 h 818207"/>
                <a:gd name="connsiteX5" fmla="*/ 235370 w 2168250"/>
                <a:gd name="connsiteY5" fmla="*/ 525699 h 818207"/>
                <a:gd name="connsiteX6" fmla="*/ 259916 w 2168250"/>
                <a:gd name="connsiteY6" fmla="*/ 816162 h 818207"/>
                <a:gd name="connsiteX7" fmla="*/ 1065851 w 2168250"/>
                <a:gd name="connsiteY7" fmla="*/ 816162 h 818207"/>
                <a:gd name="connsiteX8" fmla="*/ 1114943 w 2168250"/>
                <a:gd name="connsiteY8" fmla="*/ 816162 h 818207"/>
                <a:gd name="connsiteX9" fmla="*/ 1920878 w 2168250"/>
                <a:gd name="connsiteY9" fmla="*/ 816162 h 818207"/>
                <a:gd name="connsiteX10" fmla="*/ 1941333 w 2168250"/>
                <a:gd name="connsiteY10" fmla="*/ 525699 h 818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68250" h="818207">
                  <a:moveTo>
                    <a:pt x="1941333" y="525699"/>
                  </a:moveTo>
                  <a:cubicBezTo>
                    <a:pt x="1789965" y="370239"/>
                    <a:pt x="1785874" y="30683"/>
                    <a:pt x="1785874" y="30683"/>
                  </a:cubicBezTo>
                  <a:lnTo>
                    <a:pt x="1114943" y="30683"/>
                  </a:lnTo>
                  <a:lnTo>
                    <a:pt x="1065851" y="30683"/>
                  </a:lnTo>
                  <a:lnTo>
                    <a:pt x="390830" y="30683"/>
                  </a:lnTo>
                  <a:cubicBezTo>
                    <a:pt x="390830" y="30683"/>
                    <a:pt x="386739" y="366148"/>
                    <a:pt x="235370" y="525699"/>
                  </a:cubicBezTo>
                  <a:cubicBezTo>
                    <a:pt x="84002" y="681158"/>
                    <a:pt x="-149188" y="816162"/>
                    <a:pt x="259916" y="816162"/>
                  </a:cubicBezTo>
                  <a:cubicBezTo>
                    <a:pt x="587199" y="816162"/>
                    <a:pt x="939029" y="816162"/>
                    <a:pt x="1065851" y="816162"/>
                  </a:cubicBezTo>
                  <a:cubicBezTo>
                    <a:pt x="1098579" y="816162"/>
                    <a:pt x="1114943" y="816162"/>
                    <a:pt x="1114943" y="816162"/>
                  </a:cubicBezTo>
                  <a:cubicBezTo>
                    <a:pt x="1245857" y="816162"/>
                    <a:pt x="1597686" y="816162"/>
                    <a:pt x="1920878" y="816162"/>
                  </a:cubicBezTo>
                  <a:cubicBezTo>
                    <a:pt x="2329982" y="816162"/>
                    <a:pt x="2092702" y="681158"/>
                    <a:pt x="1941333" y="525699"/>
                  </a:cubicBezTo>
                  <a:close/>
                </a:path>
              </a:pathLst>
            </a:custGeom>
            <a:gradFill>
              <a:gsLst>
                <a:gs pos="0">
                  <a:schemeClr val="bg1">
                    <a:lumMod val="75000"/>
                  </a:schemeClr>
                </a:gs>
                <a:gs pos="53000">
                  <a:schemeClr val="bg1">
                    <a:lumMod val="85000"/>
                  </a:schemeClr>
                </a:gs>
                <a:gs pos="8300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62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6756075A-4F2A-4B6D-9790-C67B8D4AAF71}"/>
                </a:ext>
              </a:extLst>
            </p:cNvPr>
            <p:cNvSpPr/>
            <p:nvPr/>
          </p:nvSpPr>
          <p:spPr>
            <a:xfrm>
              <a:off x="2444748" y="555045"/>
              <a:ext cx="7282048" cy="4950157"/>
            </a:xfrm>
            <a:custGeom>
              <a:avLst/>
              <a:gdLst>
                <a:gd name="connsiteX0" fmla="*/ 7038632 w 7282048"/>
                <a:gd name="connsiteY0" fmla="*/ 30683 h 4950157"/>
                <a:gd name="connsiteX1" fmla="*/ 3704436 w 7282048"/>
                <a:gd name="connsiteY1" fmla="*/ 30683 h 4950157"/>
                <a:gd name="connsiteX2" fmla="*/ 3589886 w 7282048"/>
                <a:gd name="connsiteY2" fmla="*/ 30683 h 4950157"/>
                <a:gd name="connsiteX3" fmla="*/ 259781 w 7282048"/>
                <a:gd name="connsiteY3" fmla="*/ 30683 h 4950157"/>
                <a:gd name="connsiteX4" fmla="*/ 30683 w 7282048"/>
                <a:gd name="connsiteY4" fmla="*/ 259781 h 4950157"/>
                <a:gd name="connsiteX5" fmla="*/ 30683 w 7282048"/>
                <a:gd name="connsiteY5" fmla="*/ 4698558 h 4950157"/>
                <a:gd name="connsiteX6" fmla="*/ 239326 w 7282048"/>
                <a:gd name="connsiteY6" fmla="*/ 4931748 h 4950157"/>
                <a:gd name="connsiteX7" fmla="*/ 7042723 w 7282048"/>
                <a:gd name="connsiteY7" fmla="*/ 4931748 h 4950157"/>
                <a:gd name="connsiteX8" fmla="*/ 7251366 w 7282048"/>
                <a:gd name="connsiteY8" fmla="*/ 4698558 h 4950157"/>
                <a:gd name="connsiteX9" fmla="*/ 7251366 w 7282048"/>
                <a:gd name="connsiteY9" fmla="*/ 259781 h 4950157"/>
                <a:gd name="connsiteX10" fmla="*/ 7038632 w 7282048"/>
                <a:gd name="connsiteY10" fmla="*/ 30683 h 4950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282048" h="4950157">
                  <a:moveTo>
                    <a:pt x="7038632" y="30683"/>
                  </a:moveTo>
                  <a:lnTo>
                    <a:pt x="3704436" y="30683"/>
                  </a:lnTo>
                  <a:lnTo>
                    <a:pt x="3589886" y="30683"/>
                  </a:lnTo>
                  <a:lnTo>
                    <a:pt x="259781" y="30683"/>
                  </a:lnTo>
                  <a:cubicBezTo>
                    <a:pt x="141141" y="30683"/>
                    <a:pt x="30683" y="128868"/>
                    <a:pt x="30683" y="259781"/>
                  </a:cubicBezTo>
                  <a:lnTo>
                    <a:pt x="30683" y="4698558"/>
                  </a:lnTo>
                  <a:cubicBezTo>
                    <a:pt x="30683" y="4829472"/>
                    <a:pt x="124777" y="4931748"/>
                    <a:pt x="239326" y="4931748"/>
                  </a:cubicBezTo>
                  <a:lnTo>
                    <a:pt x="7042723" y="4931748"/>
                  </a:lnTo>
                  <a:cubicBezTo>
                    <a:pt x="7157272" y="4931748"/>
                    <a:pt x="7251366" y="4825380"/>
                    <a:pt x="7251366" y="4698558"/>
                  </a:cubicBezTo>
                  <a:lnTo>
                    <a:pt x="7251366" y="259781"/>
                  </a:lnTo>
                  <a:cubicBezTo>
                    <a:pt x="7251366" y="128868"/>
                    <a:pt x="7157272" y="30683"/>
                    <a:pt x="7038632" y="30683"/>
                  </a:cubicBezTo>
                  <a:close/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753DD044-D8CB-4BE4-A652-EC88AE72017E}"/>
                </a:ext>
              </a:extLst>
            </p:cNvPr>
            <p:cNvSpPr/>
            <p:nvPr/>
          </p:nvSpPr>
          <p:spPr>
            <a:xfrm>
              <a:off x="8706599" y="5435655"/>
              <a:ext cx="490925" cy="81821"/>
            </a:xfrm>
            <a:custGeom>
              <a:avLst/>
              <a:gdLst>
                <a:gd name="connsiteX0" fmla="*/ 32212 w 490924"/>
                <a:gd name="connsiteY0" fmla="*/ 30683 h 81820"/>
                <a:gd name="connsiteX1" fmla="*/ 64939 w 490924"/>
                <a:gd name="connsiteY1" fmla="*/ 71593 h 81820"/>
                <a:gd name="connsiteX2" fmla="*/ 461771 w 490924"/>
                <a:gd name="connsiteY2" fmla="*/ 71593 h 81820"/>
                <a:gd name="connsiteX3" fmla="*/ 498590 w 490924"/>
                <a:gd name="connsiteY3" fmla="*/ 30683 h 81820"/>
                <a:gd name="connsiteX4" fmla="*/ 32212 w 490924"/>
                <a:gd name="connsiteY4" fmla="*/ 30683 h 81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0924" h="81820">
                  <a:moveTo>
                    <a:pt x="32212" y="30683"/>
                  </a:moveTo>
                  <a:cubicBezTo>
                    <a:pt x="32212" y="30683"/>
                    <a:pt x="19938" y="67502"/>
                    <a:pt x="64939" y="71593"/>
                  </a:cubicBezTo>
                  <a:lnTo>
                    <a:pt x="461771" y="71593"/>
                  </a:lnTo>
                  <a:cubicBezTo>
                    <a:pt x="461771" y="71593"/>
                    <a:pt x="502681" y="75684"/>
                    <a:pt x="498590" y="30683"/>
                  </a:cubicBezTo>
                  <a:lnTo>
                    <a:pt x="32212" y="30683"/>
                  </a:lnTo>
                  <a:close/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4C0F7F19-7D20-46BD-BAF2-01D7B020C27A}"/>
                </a:ext>
              </a:extLst>
            </p:cNvPr>
            <p:cNvSpPr/>
            <p:nvPr/>
          </p:nvSpPr>
          <p:spPr>
            <a:xfrm>
              <a:off x="2481568" y="595956"/>
              <a:ext cx="7200228" cy="4336501"/>
            </a:xfrm>
            <a:custGeom>
              <a:avLst/>
              <a:gdLst>
                <a:gd name="connsiteX0" fmla="*/ 6973175 w 7200227"/>
                <a:gd name="connsiteY0" fmla="*/ 30683 h 4336501"/>
                <a:gd name="connsiteX1" fmla="*/ 3671707 w 7200227"/>
                <a:gd name="connsiteY1" fmla="*/ 30683 h 4336501"/>
                <a:gd name="connsiteX2" fmla="*/ 3561249 w 7200227"/>
                <a:gd name="connsiteY2" fmla="*/ 30683 h 4336501"/>
                <a:gd name="connsiteX3" fmla="*/ 259781 w 7200227"/>
                <a:gd name="connsiteY3" fmla="*/ 30683 h 4336501"/>
                <a:gd name="connsiteX4" fmla="*/ 30683 w 7200227"/>
                <a:gd name="connsiteY4" fmla="*/ 231144 h 4336501"/>
                <a:gd name="connsiteX5" fmla="*/ 30683 w 7200227"/>
                <a:gd name="connsiteY5" fmla="*/ 4330365 h 4336501"/>
                <a:gd name="connsiteX6" fmla="*/ 7185909 w 7200227"/>
                <a:gd name="connsiteY6" fmla="*/ 4330365 h 4336501"/>
                <a:gd name="connsiteX7" fmla="*/ 7185909 w 7200227"/>
                <a:gd name="connsiteY7" fmla="*/ 231144 h 4336501"/>
                <a:gd name="connsiteX8" fmla="*/ 6973175 w 7200227"/>
                <a:gd name="connsiteY8" fmla="*/ 30683 h 4336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00227" h="4336501">
                  <a:moveTo>
                    <a:pt x="6973175" y="30683"/>
                  </a:moveTo>
                  <a:lnTo>
                    <a:pt x="3671707" y="30683"/>
                  </a:lnTo>
                  <a:lnTo>
                    <a:pt x="3561249" y="30683"/>
                  </a:lnTo>
                  <a:lnTo>
                    <a:pt x="259781" y="30683"/>
                  </a:lnTo>
                  <a:cubicBezTo>
                    <a:pt x="141141" y="30683"/>
                    <a:pt x="30683" y="112504"/>
                    <a:pt x="30683" y="231144"/>
                  </a:cubicBezTo>
                  <a:lnTo>
                    <a:pt x="30683" y="4330365"/>
                  </a:lnTo>
                  <a:lnTo>
                    <a:pt x="7185909" y="4330365"/>
                  </a:lnTo>
                  <a:lnTo>
                    <a:pt x="7185909" y="231144"/>
                  </a:lnTo>
                  <a:cubicBezTo>
                    <a:pt x="7185909" y="112504"/>
                    <a:pt x="7091815" y="30683"/>
                    <a:pt x="6973175" y="30683"/>
                  </a:cubicBezTo>
                  <a:close/>
                </a:path>
              </a:pathLst>
            </a:custGeom>
            <a:solidFill>
              <a:srgbClr val="231F2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DA2D2FE-EA18-49F0-9EF7-0F43A5C301F6}"/>
                </a:ext>
              </a:extLst>
            </p:cNvPr>
            <p:cNvSpPr/>
            <p:nvPr/>
          </p:nvSpPr>
          <p:spPr>
            <a:xfrm>
              <a:off x="4968919" y="6159768"/>
              <a:ext cx="2168250" cy="122731"/>
            </a:xfrm>
            <a:custGeom>
              <a:avLst/>
              <a:gdLst>
                <a:gd name="connsiteX0" fmla="*/ 30683 w 2168250"/>
                <a:gd name="connsiteY0" fmla="*/ 34774 h 122731"/>
                <a:gd name="connsiteX1" fmla="*/ 30683 w 2168250"/>
                <a:gd name="connsiteY1" fmla="*/ 34774 h 122731"/>
                <a:gd name="connsiteX2" fmla="*/ 30683 w 2168250"/>
                <a:gd name="connsiteY2" fmla="*/ 38865 h 122731"/>
                <a:gd name="connsiteX3" fmla="*/ 30683 w 2168250"/>
                <a:gd name="connsiteY3" fmla="*/ 38865 h 122731"/>
                <a:gd name="connsiteX4" fmla="*/ 263872 w 2168250"/>
                <a:gd name="connsiteY4" fmla="*/ 96140 h 122731"/>
                <a:gd name="connsiteX5" fmla="*/ 1069807 w 2168250"/>
                <a:gd name="connsiteY5" fmla="*/ 96140 h 122731"/>
                <a:gd name="connsiteX6" fmla="*/ 1118899 w 2168250"/>
                <a:gd name="connsiteY6" fmla="*/ 96140 h 122731"/>
                <a:gd name="connsiteX7" fmla="*/ 1924834 w 2168250"/>
                <a:gd name="connsiteY7" fmla="*/ 96140 h 122731"/>
                <a:gd name="connsiteX8" fmla="*/ 2153932 w 2168250"/>
                <a:gd name="connsiteY8" fmla="*/ 30683 h 122731"/>
                <a:gd name="connsiteX9" fmla="*/ 2137568 w 2168250"/>
                <a:gd name="connsiteY9" fmla="*/ 30683 h 122731"/>
                <a:gd name="connsiteX10" fmla="*/ 2137568 w 2168250"/>
                <a:gd name="connsiteY10" fmla="*/ 30683 h 122731"/>
                <a:gd name="connsiteX11" fmla="*/ 30683 w 2168250"/>
                <a:gd name="connsiteY11" fmla="*/ 30683 h 122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68250" h="122731">
                  <a:moveTo>
                    <a:pt x="30683" y="34774"/>
                  </a:moveTo>
                  <a:lnTo>
                    <a:pt x="30683" y="34774"/>
                  </a:lnTo>
                  <a:cubicBezTo>
                    <a:pt x="30683" y="38865"/>
                    <a:pt x="30683" y="38865"/>
                    <a:pt x="30683" y="38865"/>
                  </a:cubicBezTo>
                  <a:lnTo>
                    <a:pt x="30683" y="38865"/>
                  </a:lnTo>
                  <a:cubicBezTo>
                    <a:pt x="30683" y="79775"/>
                    <a:pt x="96139" y="96140"/>
                    <a:pt x="263872" y="96140"/>
                  </a:cubicBezTo>
                  <a:cubicBezTo>
                    <a:pt x="591155" y="96140"/>
                    <a:pt x="942984" y="96140"/>
                    <a:pt x="1069807" y="96140"/>
                  </a:cubicBezTo>
                  <a:cubicBezTo>
                    <a:pt x="1102535" y="96140"/>
                    <a:pt x="1118899" y="96140"/>
                    <a:pt x="1118899" y="96140"/>
                  </a:cubicBezTo>
                  <a:cubicBezTo>
                    <a:pt x="1249812" y="96140"/>
                    <a:pt x="1601642" y="96140"/>
                    <a:pt x="1924834" y="96140"/>
                  </a:cubicBezTo>
                  <a:cubicBezTo>
                    <a:pt x="2092566" y="96140"/>
                    <a:pt x="2149841" y="75684"/>
                    <a:pt x="2153932" y="30683"/>
                  </a:cubicBezTo>
                  <a:lnTo>
                    <a:pt x="2137568" y="30683"/>
                  </a:lnTo>
                  <a:lnTo>
                    <a:pt x="2137568" y="30683"/>
                  </a:lnTo>
                  <a:lnTo>
                    <a:pt x="30683" y="30683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35A0640C-4A28-4749-A6D0-C5A294D5F97D}"/>
                </a:ext>
              </a:extLst>
            </p:cNvPr>
            <p:cNvSpPr/>
            <p:nvPr/>
          </p:nvSpPr>
          <p:spPr>
            <a:xfrm>
              <a:off x="2481568" y="4903820"/>
              <a:ext cx="7200228" cy="572745"/>
            </a:xfrm>
            <a:custGeom>
              <a:avLst/>
              <a:gdLst>
                <a:gd name="connsiteX0" fmla="*/ 30683 w 7200227"/>
                <a:gd name="connsiteY0" fmla="*/ 362057 h 572745"/>
                <a:gd name="connsiteX1" fmla="*/ 259781 w 7200227"/>
                <a:gd name="connsiteY1" fmla="*/ 562518 h 572745"/>
                <a:gd name="connsiteX2" fmla="*/ 3561249 w 7200227"/>
                <a:gd name="connsiteY2" fmla="*/ 562518 h 572745"/>
                <a:gd name="connsiteX3" fmla="*/ 3671707 w 7200227"/>
                <a:gd name="connsiteY3" fmla="*/ 562518 h 572745"/>
                <a:gd name="connsiteX4" fmla="*/ 6973175 w 7200227"/>
                <a:gd name="connsiteY4" fmla="*/ 562518 h 572745"/>
                <a:gd name="connsiteX5" fmla="*/ 7185909 w 7200227"/>
                <a:gd name="connsiteY5" fmla="*/ 362057 h 572745"/>
                <a:gd name="connsiteX6" fmla="*/ 7185909 w 7200227"/>
                <a:gd name="connsiteY6" fmla="*/ 30683 h 572745"/>
                <a:gd name="connsiteX7" fmla="*/ 30683 w 7200227"/>
                <a:gd name="connsiteY7" fmla="*/ 30683 h 572745"/>
                <a:gd name="connsiteX8" fmla="*/ 30683 w 7200227"/>
                <a:gd name="connsiteY8" fmla="*/ 362057 h 572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00227" h="572745">
                  <a:moveTo>
                    <a:pt x="30683" y="362057"/>
                  </a:moveTo>
                  <a:cubicBezTo>
                    <a:pt x="30683" y="464333"/>
                    <a:pt x="141141" y="562518"/>
                    <a:pt x="259781" y="562518"/>
                  </a:cubicBezTo>
                  <a:lnTo>
                    <a:pt x="3561249" y="562518"/>
                  </a:lnTo>
                  <a:lnTo>
                    <a:pt x="3671707" y="562518"/>
                  </a:lnTo>
                  <a:lnTo>
                    <a:pt x="6973175" y="562518"/>
                  </a:lnTo>
                  <a:cubicBezTo>
                    <a:pt x="7091815" y="562518"/>
                    <a:pt x="7185909" y="464333"/>
                    <a:pt x="7185909" y="362057"/>
                  </a:cubicBezTo>
                  <a:lnTo>
                    <a:pt x="7185909" y="30683"/>
                  </a:lnTo>
                  <a:lnTo>
                    <a:pt x="30683" y="30683"/>
                  </a:lnTo>
                  <a:lnTo>
                    <a:pt x="30683" y="362057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5B336D64-6D18-4EB9-9791-519A52CC9A37}"/>
                </a:ext>
              </a:extLst>
            </p:cNvPr>
            <p:cNvSpPr/>
            <p:nvPr/>
          </p:nvSpPr>
          <p:spPr>
            <a:xfrm>
              <a:off x="2747714" y="910966"/>
              <a:ext cx="6676116" cy="3763756"/>
            </a:xfrm>
            <a:custGeom>
              <a:avLst/>
              <a:gdLst>
                <a:gd name="connsiteX0" fmla="*/ 30683 w 6586571"/>
                <a:gd name="connsiteY0" fmla="*/ 30683 h 3763755"/>
                <a:gd name="connsiteX1" fmla="*/ 6564071 w 6586571"/>
                <a:gd name="connsiteY1" fmla="*/ 30683 h 3763755"/>
                <a:gd name="connsiteX2" fmla="*/ 6564071 w 6586571"/>
                <a:gd name="connsiteY2" fmla="*/ 3753528 h 3763755"/>
                <a:gd name="connsiteX3" fmla="*/ 30683 w 6586571"/>
                <a:gd name="connsiteY3" fmla="*/ 3753528 h 3763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86571" h="3763755">
                  <a:moveTo>
                    <a:pt x="30683" y="30683"/>
                  </a:moveTo>
                  <a:lnTo>
                    <a:pt x="6564071" y="30683"/>
                  </a:lnTo>
                  <a:lnTo>
                    <a:pt x="6564071" y="3753528"/>
                  </a:lnTo>
                  <a:lnTo>
                    <a:pt x="30683" y="3753528"/>
                  </a:lnTo>
                  <a:close/>
                </a:path>
              </a:pathLst>
            </a:custGeom>
            <a:solidFill>
              <a:srgbClr val="F2F2F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8B9CE25C-4F42-4A53-A78D-C2B80F3231D2}"/>
                </a:ext>
              </a:extLst>
            </p:cNvPr>
            <p:cNvSpPr/>
            <p:nvPr/>
          </p:nvSpPr>
          <p:spPr>
            <a:xfrm>
              <a:off x="5654591" y="939518"/>
              <a:ext cx="3769239" cy="3736342"/>
            </a:xfrm>
            <a:custGeom>
              <a:avLst/>
              <a:gdLst>
                <a:gd name="connsiteX0" fmla="*/ 2567127 w 4009217"/>
                <a:gd name="connsiteY0" fmla="*/ 30683 h 4295590"/>
                <a:gd name="connsiteX1" fmla="*/ 3798529 w 4009217"/>
                <a:gd name="connsiteY1" fmla="*/ 30683 h 4295590"/>
                <a:gd name="connsiteX2" fmla="*/ 4007172 w 4009217"/>
                <a:gd name="connsiteY2" fmla="*/ 272054 h 4295590"/>
                <a:gd name="connsiteX3" fmla="*/ 3998990 w 4009217"/>
                <a:gd name="connsiteY3" fmla="*/ 4268999 h 4295590"/>
                <a:gd name="connsiteX4" fmla="*/ 30683 w 4009217"/>
                <a:gd name="connsiteY4" fmla="*/ 4268999 h 4295590"/>
                <a:gd name="connsiteX0" fmla="*/ 2536444 w 3976489"/>
                <a:gd name="connsiteY0" fmla="*/ 0 h 4238316"/>
                <a:gd name="connsiteX1" fmla="*/ 3976489 w 3976489"/>
                <a:gd name="connsiteY1" fmla="*/ 241371 h 4238316"/>
                <a:gd name="connsiteX2" fmla="*/ 3968307 w 3976489"/>
                <a:gd name="connsiteY2" fmla="*/ 4238316 h 4238316"/>
                <a:gd name="connsiteX3" fmla="*/ 0 w 3976489"/>
                <a:gd name="connsiteY3" fmla="*/ 4238316 h 4238316"/>
                <a:gd name="connsiteX0" fmla="*/ 2536444 w 3976489"/>
                <a:gd name="connsiteY0" fmla="*/ 0 h 4238316"/>
                <a:gd name="connsiteX1" fmla="*/ 3976489 w 3976489"/>
                <a:gd name="connsiteY1" fmla="*/ 213683 h 4238316"/>
                <a:gd name="connsiteX2" fmla="*/ 3968307 w 3976489"/>
                <a:gd name="connsiteY2" fmla="*/ 4238316 h 4238316"/>
                <a:gd name="connsiteX3" fmla="*/ 0 w 3976489"/>
                <a:gd name="connsiteY3" fmla="*/ 4238316 h 4238316"/>
                <a:gd name="connsiteX0" fmla="*/ 2473335 w 3976489"/>
                <a:gd name="connsiteY0" fmla="*/ 0 h 4035268"/>
                <a:gd name="connsiteX1" fmla="*/ 3976489 w 3976489"/>
                <a:gd name="connsiteY1" fmla="*/ 10635 h 4035268"/>
                <a:gd name="connsiteX2" fmla="*/ 3968307 w 3976489"/>
                <a:gd name="connsiteY2" fmla="*/ 4035268 h 4035268"/>
                <a:gd name="connsiteX3" fmla="*/ 0 w 3976489"/>
                <a:gd name="connsiteY3" fmla="*/ 4035268 h 4035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76489" h="4035268">
                  <a:moveTo>
                    <a:pt x="2473335" y="0"/>
                  </a:moveTo>
                  <a:lnTo>
                    <a:pt x="3976489" y="10635"/>
                  </a:lnTo>
                  <a:cubicBezTo>
                    <a:pt x="3973762" y="1342950"/>
                    <a:pt x="3971034" y="2702953"/>
                    <a:pt x="3968307" y="4035268"/>
                  </a:cubicBezTo>
                  <a:lnTo>
                    <a:pt x="0" y="4035268"/>
                  </a:lnTo>
                </a:path>
              </a:pathLst>
            </a:custGeom>
            <a:solidFill>
              <a:srgbClr val="999999">
                <a:alpha val="1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3" name="Graphic 14">
            <a:extLst>
              <a:ext uri="{FF2B5EF4-FFF2-40B4-BE49-F238E27FC236}">
                <a16:creationId xmlns:a16="http://schemas.microsoft.com/office/drawing/2014/main" id="{4C761F98-172B-4C1D-AA69-0DDECF8B42B3}"/>
              </a:ext>
            </a:extLst>
          </p:cNvPr>
          <p:cNvGrpSpPr/>
          <p:nvPr userDrawn="1"/>
        </p:nvGrpSpPr>
        <p:grpSpPr>
          <a:xfrm>
            <a:off x="8753103" y="2123122"/>
            <a:ext cx="2744170" cy="2214881"/>
            <a:chOff x="2444748" y="555045"/>
            <a:chExt cx="7282048" cy="5727454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31DCA19F-9F67-49A5-A8DA-BAA1E14A3282}"/>
                </a:ext>
              </a:extLst>
            </p:cNvPr>
            <p:cNvSpPr/>
            <p:nvPr/>
          </p:nvSpPr>
          <p:spPr>
            <a:xfrm>
              <a:off x="4964693" y="5443837"/>
              <a:ext cx="2168250" cy="818208"/>
            </a:xfrm>
            <a:custGeom>
              <a:avLst/>
              <a:gdLst>
                <a:gd name="connsiteX0" fmla="*/ 1941333 w 2168250"/>
                <a:gd name="connsiteY0" fmla="*/ 525699 h 818207"/>
                <a:gd name="connsiteX1" fmla="*/ 1785874 w 2168250"/>
                <a:gd name="connsiteY1" fmla="*/ 30683 h 818207"/>
                <a:gd name="connsiteX2" fmla="*/ 1114943 w 2168250"/>
                <a:gd name="connsiteY2" fmla="*/ 30683 h 818207"/>
                <a:gd name="connsiteX3" fmla="*/ 1065851 w 2168250"/>
                <a:gd name="connsiteY3" fmla="*/ 30683 h 818207"/>
                <a:gd name="connsiteX4" fmla="*/ 390830 w 2168250"/>
                <a:gd name="connsiteY4" fmla="*/ 30683 h 818207"/>
                <a:gd name="connsiteX5" fmla="*/ 235370 w 2168250"/>
                <a:gd name="connsiteY5" fmla="*/ 525699 h 818207"/>
                <a:gd name="connsiteX6" fmla="*/ 259916 w 2168250"/>
                <a:gd name="connsiteY6" fmla="*/ 816162 h 818207"/>
                <a:gd name="connsiteX7" fmla="*/ 1065851 w 2168250"/>
                <a:gd name="connsiteY7" fmla="*/ 816162 h 818207"/>
                <a:gd name="connsiteX8" fmla="*/ 1114943 w 2168250"/>
                <a:gd name="connsiteY8" fmla="*/ 816162 h 818207"/>
                <a:gd name="connsiteX9" fmla="*/ 1920878 w 2168250"/>
                <a:gd name="connsiteY9" fmla="*/ 816162 h 818207"/>
                <a:gd name="connsiteX10" fmla="*/ 1941333 w 2168250"/>
                <a:gd name="connsiteY10" fmla="*/ 525699 h 818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68250" h="818207">
                  <a:moveTo>
                    <a:pt x="1941333" y="525699"/>
                  </a:moveTo>
                  <a:cubicBezTo>
                    <a:pt x="1789965" y="370239"/>
                    <a:pt x="1785874" y="30683"/>
                    <a:pt x="1785874" y="30683"/>
                  </a:cubicBezTo>
                  <a:lnTo>
                    <a:pt x="1114943" y="30683"/>
                  </a:lnTo>
                  <a:lnTo>
                    <a:pt x="1065851" y="30683"/>
                  </a:lnTo>
                  <a:lnTo>
                    <a:pt x="390830" y="30683"/>
                  </a:lnTo>
                  <a:cubicBezTo>
                    <a:pt x="390830" y="30683"/>
                    <a:pt x="386739" y="366148"/>
                    <a:pt x="235370" y="525699"/>
                  </a:cubicBezTo>
                  <a:cubicBezTo>
                    <a:pt x="84002" y="681158"/>
                    <a:pt x="-149188" y="816162"/>
                    <a:pt x="259916" y="816162"/>
                  </a:cubicBezTo>
                  <a:cubicBezTo>
                    <a:pt x="587199" y="816162"/>
                    <a:pt x="939029" y="816162"/>
                    <a:pt x="1065851" y="816162"/>
                  </a:cubicBezTo>
                  <a:cubicBezTo>
                    <a:pt x="1098579" y="816162"/>
                    <a:pt x="1114943" y="816162"/>
                    <a:pt x="1114943" y="816162"/>
                  </a:cubicBezTo>
                  <a:cubicBezTo>
                    <a:pt x="1245857" y="816162"/>
                    <a:pt x="1597686" y="816162"/>
                    <a:pt x="1920878" y="816162"/>
                  </a:cubicBezTo>
                  <a:cubicBezTo>
                    <a:pt x="2329982" y="816162"/>
                    <a:pt x="2092702" y="681158"/>
                    <a:pt x="1941333" y="525699"/>
                  </a:cubicBezTo>
                  <a:close/>
                </a:path>
              </a:pathLst>
            </a:custGeom>
            <a:gradFill>
              <a:gsLst>
                <a:gs pos="0">
                  <a:schemeClr val="bg1">
                    <a:lumMod val="75000"/>
                  </a:schemeClr>
                </a:gs>
                <a:gs pos="53000">
                  <a:schemeClr val="bg1">
                    <a:lumMod val="85000"/>
                  </a:schemeClr>
                </a:gs>
                <a:gs pos="8300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62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77B11387-2F56-4E1F-8723-F0F0CF79A78B}"/>
                </a:ext>
              </a:extLst>
            </p:cNvPr>
            <p:cNvSpPr/>
            <p:nvPr/>
          </p:nvSpPr>
          <p:spPr>
            <a:xfrm>
              <a:off x="2444748" y="555045"/>
              <a:ext cx="7282048" cy="4950157"/>
            </a:xfrm>
            <a:custGeom>
              <a:avLst/>
              <a:gdLst>
                <a:gd name="connsiteX0" fmla="*/ 7038632 w 7282048"/>
                <a:gd name="connsiteY0" fmla="*/ 30683 h 4950157"/>
                <a:gd name="connsiteX1" fmla="*/ 3704436 w 7282048"/>
                <a:gd name="connsiteY1" fmla="*/ 30683 h 4950157"/>
                <a:gd name="connsiteX2" fmla="*/ 3589886 w 7282048"/>
                <a:gd name="connsiteY2" fmla="*/ 30683 h 4950157"/>
                <a:gd name="connsiteX3" fmla="*/ 259781 w 7282048"/>
                <a:gd name="connsiteY3" fmla="*/ 30683 h 4950157"/>
                <a:gd name="connsiteX4" fmla="*/ 30683 w 7282048"/>
                <a:gd name="connsiteY4" fmla="*/ 259781 h 4950157"/>
                <a:gd name="connsiteX5" fmla="*/ 30683 w 7282048"/>
                <a:gd name="connsiteY5" fmla="*/ 4698558 h 4950157"/>
                <a:gd name="connsiteX6" fmla="*/ 239326 w 7282048"/>
                <a:gd name="connsiteY6" fmla="*/ 4931748 h 4950157"/>
                <a:gd name="connsiteX7" fmla="*/ 7042723 w 7282048"/>
                <a:gd name="connsiteY7" fmla="*/ 4931748 h 4950157"/>
                <a:gd name="connsiteX8" fmla="*/ 7251366 w 7282048"/>
                <a:gd name="connsiteY8" fmla="*/ 4698558 h 4950157"/>
                <a:gd name="connsiteX9" fmla="*/ 7251366 w 7282048"/>
                <a:gd name="connsiteY9" fmla="*/ 259781 h 4950157"/>
                <a:gd name="connsiteX10" fmla="*/ 7038632 w 7282048"/>
                <a:gd name="connsiteY10" fmla="*/ 30683 h 4950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282048" h="4950157">
                  <a:moveTo>
                    <a:pt x="7038632" y="30683"/>
                  </a:moveTo>
                  <a:lnTo>
                    <a:pt x="3704436" y="30683"/>
                  </a:lnTo>
                  <a:lnTo>
                    <a:pt x="3589886" y="30683"/>
                  </a:lnTo>
                  <a:lnTo>
                    <a:pt x="259781" y="30683"/>
                  </a:lnTo>
                  <a:cubicBezTo>
                    <a:pt x="141141" y="30683"/>
                    <a:pt x="30683" y="128868"/>
                    <a:pt x="30683" y="259781"/>
                  </a:cubicBezTo>
                  <a:lnTo>
                    <a:pt x="30683" y="4698558"/>
                  </a:lnTo>
                  <a:cubicBezTo>
                    <a:pt x="30683" y="4829472"/>
                    <a:pt x="124777" y="4931748"/>
                    <a:pt x="239326" y="4931748"/>
                  </a:cubicBezTo>
                  <a:lnTo>
                    <a:pt x="7042723" y="4931748"/>
                  </a:lnTo>
                  <a:cubicBezTo>
                    <a:pt x="7157272" y="4931748"/>
                    <a:pt x="7251366" y="4825380"/>
                    <a:pt x="7251366" y="4698558"/>
                  </a:cubicBezTo>
                  <a:lnTo>
                    <a:pt x="7251366" y="259781"/>
                  </a:lnTo>
                  <a:cubicBezTo>
                    <a:pt x="7251366" y="128868"/>
                    <a:pt x="7157272" y="30683"/>
                    <a:pt x="7038632" y="30683"/>
                  </a:cubicBezTo>
                  <a:close/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B733A570-34CE-4BC0-96F1-784046504334}"/>
                </a:ext>
              </a:extLst>
            </p:cNvPr>
            <p:cNvSpPr/>
            <p:nvPr/>
          </p:nvSpPr>
          <p:spPr>
            <a:xfrm>
              <a:off x="8706599" y="5435655"/>
              <a:ext cx="490925" cy="81821"/>
            </a:xfrm>
            <a:custGeom>
              <a:avLst/>
              <a:gdLst>
                <a:gd name="connsiteX0" fmla="*/ 32212 w 490924"/>
                <a:gd name="connsiteY0" fmla="*/ 30683 h 81820"/>
                <a:gd name="connsiteX1" fmla="*/ 64939 w 490924"/>
                <a:gd name="connsiteY1" fmla="*/ 71593 h 81820"/>
                <a:gd name="connsiteX2" fmla="*/ 461771 w 490924"/>
                <a:gd name="connsiteY2" fmla="*/ 71593 h 81820"/>
                <a:gd name="connsiteX3" fmla="*/ 498590 w 490924"/>
                <a:gd name="connsiteY3" fmla="*/ 30683 h 81820"/>
                <a:gd name="connsiteX4" fmla="*/ 32212 w 490924"/>
                <a:gd name="connsiteY4" fmla="*/ 30683 h 81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0924" h="81820">
                  <a:moveTo>
                    <a:pt x="32212" y="30683"/>
                  </a:moveTo>
                  <a:cubicBezTo>
                    <a:pt x="32212" y="30683"/>
                    <a:pt x="19938" y="67502"/>
                    <a:pt x="64939" y="71593"/>
                  </a:cubicBezTo>
                  <a:lnTo>
                    <a:pt x="461771" y="71593"/>
                  </a:lnTo>
                  <a:cubicBezTo>
                    <a:pt x="461771" y="71593"/>
                    <a:pt x="502681" y="75684"/>
                    <a:pt x="498590" y="30683"/>
                  </a:cubicBezTo>
                  <a:lnTo>
                    <a:pt x="32212" y="30683"/>
                  </a:lnTo>
                  <a:close/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06BF6594-0686-4B3A-8A22-E45AE30E1F02}"/>
                </a:ext>
              </a:extLst>
            </p:cNvPr>
            <p:cNvSpPr/>
            <p:nvPr/>
          </p:nvSpPr>
          <p:spPr>
            <a:xfrm>
              <a:off x="2481568" y="595956"/>
              <a:ext cx="7200228" cy="4336501"/>
            </a:xfrm>
            <a:custGeom>
              <a:avLst/>
              <a:gdLst>
                <a:gd name="connsiteX0" fmla="*/ 6973175 w 7200227"/>
                <a:gd name="connsiteY0" fmla="*/ 30683 h 4336501"/>
                <a:gd name="connsiteX1" fmla="*/ 3671707 w 7200227"/>
                <a:gd name="connsiteY1" fmla="*/ 30683 h 4336501"/>
                <a:gd name="connsiteX2" fmla="*/ 3561249 w 7200227"/>
                <a:gd name="connsiteY2" fmla="*/ 30683 h 4336501"/>
                <a:gd name="connsiteX3" fmla="*/ 259781 w 7200227"/>
                <a:gd name="connsiteY3" fmla="*/ 30683 h 4336501"/>
                <a:gd name="connsiteX4" fmla="*/ 30683 w 7200227"/>
                <a:gd name="connsiteY4" fmla="*/ 231144 h 4336501"/>
                <a:gd name="connsiteX5" fmla="*/ 30683 w 7200227"/>
                <a:gd name="connsiteY5" fmla="*/ 4330365 h 4336501"/>
                <a:gd name="connsiteX6" fmla="*/ 7185909 w 7200227"/>
                <a:gd name="connsiteY6" fmla="*/ 4330365 h 4336501"/>
                <a:gd name="connsiteX7" fmla="*/ 7185909 w 7200227"/>
                <a:gd name="connsiteY7" fmla="*/ 231144 h 4336501"/>
                <a:gd name="connsiteX8" fmla="*/ 6973175 w 7200227"/>
                <a:gd name="connsiteY8" fmla="*/ 30683 h 4336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00227" h="4336501">
                  <a:moveTo>
                    <a:pt x="6973175" y="30683"/>
                  </a:moveTo>
                  <a:lnTo>
                    <a:pt x="3671707" y="30683"/>
                  </a:lnTo>
                  <a:lnTo>
                    <a:pt x="3561249" y="30683"/>
                  </a:lnTo>
                  <a:lnTo>
                    <a:pt x="259781" y="30683"/>
                  </a:lnTo>
                  <a:cubicBezTo>
                    <a:pt x="141141" y="30683"/>
                    <a:pt x="30683" y="112504"/>
                    <a:pt x="30683" y="231144"/>
                  </a:cubicBezTo>
                  <a:lnTo>
                    <a:pt x="30683" y="4330365"/>
                  </a:lnTo>
                  <a:lnTo>
                    <a:pt x="7185909" y="4330365"/>
                  </a:lnTo>
                  <a:lnTo>
                    <a:pt x="7185909" y="231144"/>
                  </a:lnTo>
                  <a:cubicBezTo>
                    <a:pt x="7185909" y="112504"/>
                    <a:pt x="7091815" y="30683"/>
                    <a:pt x="6973175" y="30683"/>
                  </a:cubicBezTo>
                  <a:close/>
                </a:path>
              </a:pathLst>
            </a:custGeom>
            <a:solidFill>
              <a:srgbClr val="231F2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F34423DA-D34F-461C-861F-85E6100E7803}"/>
                </a:ext>
              </a:extLst>
            </p:cNvPr>
            <p:cNvSpPr/>
            <p:nvPr/>
          </p:nvSpPr>
          <p:spPr>
            <a:xfrm>
              <a:off x="4968919" y="6159768"/>
              <a:ext cx="2168250" cy="122731"/>
            </a:xfrm>
            <a:custGeom>
              <a:avLst/>
              <a:gdLst>
                <a:gd name="connsiteX0" fmla="*/ 30683 w 2168250"/>
                <a:gd name="connsiteY0" fmla="*/ 34774 h 122731"/>
                <a:gd name="connsiteX1" fmla="*/ 30683 w 2168250"/>
                <a:gd name="connsiteY1" fmla="*/ 34774 h 122731"/>
                <a:gd name="connsiteX2" fmla="*/ 30683 w 2168250"/>
                <a:gd name="connsiteY2" fmla="*/ 38865 h 122731"/>
                <a:gd name="connsiteX3" fmla="*/ 30683 w 2168250"/>
                <a:gd name="connsiteY3" fmla="*/ 38865 h 122731"/>
                <a:gd name="connsiteX4" fmla="*/ 263872 w 2168250"/>
                <a:gd name="connsiteY4" fmla="*/ 96140 h 122731"/>
                <a:gd name="connsiteX5" fmla="*/ 1069807 w 2168250"/>
                <a:gd name="connsiteY5" fmla="*/ 96140 h 122731"/>
                <a:gd name="connsiteX6" fmla="*/ 1118899 w 2168250"/>
                <a:gd name="connsiteY6" fmla="*/ 96140 h 122731"/>
                <a:gd name="connsiteX7" fmla="*/ 1924834 w 2168250"/>
                <a:gd name="connsiteY7" fmla="*/ 96140 h 122731"/>
                <a:gd name="connsiteX8" fmla="*/ 2153932 w 2168250"/>
                <a:gd name="connsiteY8" fmla="*/ 30683 h 122731"/>
                <a:gd name="connsiteX9" fmla="*/ 2137568 w 2168250"/>
                <a:gd name="connsiteY9" fmla="*/ 30683 h 122731"/>
                <a:gd name="connsiteX10" fmla="*/ 2137568 w 2168250"/>
                <a:gd name="connsiteY10" fmla="*/ 30683 h 122731"/>
                <a:gd name="connsiteX11" fmla="*/ 30683 w 2168250"/>
                <a:gd name="connsiteY11" fmla="*/ 30683 h 122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68250" h="122731">
                  <a:moveTo>
                    <a:pt x="30683" y="34774"/>
                  </a:moveTo>
                  <a:lnTo>
                    <a:pt x="30683" y="34774"/>
                  </a:lnTo>
                  <a:cubicBezTo>
                    <a:pt x="30683" y="38865"/>
                    <a:pt x="30683" y="38865"/>
                    <a:pt x="30683" y="38865"/>
                  </a:cubicBezTo>
                  <a:lnTo>
                    <a:pt x="30683" y="38865"/>
                  </a:lnTo>
                  <a:cubicBezTo>
                    <a:pt x="30683" y="79775"/>
                    <a:pt x="96139" y="96140"/>
                    <a:pt x="263872" y="96140"/>
                  </a:cubicBezTo>
                  <a:cubicBezTo>
                    <a:pt x="591155" y="96140"/>
                    <a:pt x="942984" y="96140"/>
                    <a:pt x="1069807" y="96140"/>
                  </a:cubicBezTo>
                  <a:cubicBezTo>
                    <a:pt x="1102535" y="96140"/>
                    <a:pt x="1118899" y="96140"/>
                    <a:pt x="1118899" y="96140"/>
                  </a:cubicBezTo>
                  <a:cubicBezTo>
                    <a:pt x="1249812" y="96140"/>
                    <a:pt x="1601642" y="96140"/>
                    <a:pt x="1924834" y="96140"/>
                  </a:cubicBezTo>
                  <a:cubicBezTo>
                    <a:pt x="2092566" y="96140"/>
                    <a:pt x="2149841" y="75684"/>
                    <a:pt x="2153932" y="30683"/>
                  </a:cubicBezTo>
                  <a:lnTo>
                    <a:pt x="2137568" y="30683"/>
                  </a:lnTo>
                  <a:lnTo>
                    <a:pt x="2137568" y="30683"/>
                  </a:lnTo>
                  <a:lnTo>
                    <a:pt x="30683" y="30683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8C16CA6-78CC-482B-B2E3-E2FE7687FF22}"/>
                </a:ext>
              </a:extLst>
            </p:cNvPr>
            <p:cNvSpPr/>
            <p:nvPr/>
          </p:nvSpPr>
          <p:spPr>
            <a:xfrm>
              <a:off x="2481568" y="4903820"/>
              <a:ext cx="7200228" cy="572745"/>
            </a:xfrm>
            <a:custGeom>
              <a:avLst/>
              <a:gdLst>
                <a:gd name="connsiteX0" fmla="*/ 30683 w 7200227"/>
                <a:gd name="connsiteY0" fmla="*/ 362057 h 572745"/>
                <a:gd name="connsiteX1" fmla="*/ 259781 w 7200227"/>
                <a:gd name="connsiteY1" fmla="*/ 562518 h 572745"/>
                <a:gd name="connsiteX2" fmla="*/ 3561249 w 7200227"/>
                <a:gd name="connsiteY2" fmla="*/ 562518 h 572745"/>
                <a:gd name="connsiteX3" fmla="*/ 3671707 w 7200227"/>
                <a:gd name="connsiteY3" fmla="*/ 562518 h 572745"/>
                <a:gd name="connsiteX4" fmla="*/ 6973175 w 7200227"/>
                <a:gd name="connsiteY4" fmla="*/ 562518 h 572745"/>
                <a:gd name="connsiteX5" fmla="*/ 7185909 w 7200227"/>
                <a:gd name="connsiteY5" fmla="*/ 362057 h 572745"/>
                <a:gd name="connsiteX6" fmla="*/ 7185909 w 7200227"/>
                <a:gd name="connsiteY6" fmla="*/ 30683 h 572745"/>
                <a:gd name="connsiteX7" fmla="*/ 30683 w 7200227"/>
                <a:gd name="connsiteY7" fmla="*/ 30683 h 572745"/>
                <a:gd name="connsiteX8" fmla="*/ 30683 w 7200227"/>
                <a:gd name="connsiteY8" fmla="*/ 362057 h 572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00227" h="572745">
                  <a:moveTo>
                    <a:pt x="30683" y="362057"/>
                  </a:moveTo>
                  <a:cubicBezTo>
                    <a:pt x="30683" y="464333"/>
                    <a:pt x="141141" y="562518"/>
                    <a:pt x="259781" y="562518"/>
                  </a:cubicBezTo>
                  <a:lnTo>
                    <a:pt x="3561249" y="562518"/>
                  </a:lnTo>
                  <a:lnTo>
                    <a:pt x="3671707" y="562518"/>
                  </a:lnTo>
                  <a:lnTo>
                    <a:pt x="6973175" y="562518"/>
                  </a:lnTo>
                  <a:cubicBezTo>
                    <a:pt x="7091815" y="562518"/>
                    <a:pt x="7185909" y="464333"/>
                    <a:pt x="7185909" y="362057"/>
                  </a:cubicBezTo>
                  <a:lnTo>
                    <a:pt x="7185909" y="30683"/>
                  </a:lnTo>
                  <a:lnTo>
                    <a:pt x="30683" y="30683"/>
                  </a:lnTo>
                  <a:lnTo>
                    <a:pt x="30683" y="362057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733250C-BA10-4121-AF30-F82F162C6D7E}"/>
                </a:ext>
              </a:extLst>
            </p:cNvPr>
            <p:cNvSpPr/>
            <p:nvPr/>
          </p:nvSpPr>
          <p:spPr>
            <a:xfrm>
              <a:off x="2747714" y="910966"/>
              <a:ext cx="6676116" cy="3763756"/>
            </a:xfrm>
            <a:custGeom>
              <a:avLst/>
              <a:gdLst>
                <a:gd name="connsiteX0" fmla="*/ 30683 w 6586571"/>
                <a:gd name="connsiteY0" fmla="*/ 30683 h 3763755"/>
                <a:gd name="connsiteX1" fmla="*/ 6564071 w 6586571"/>
                <a:gd name="connsiteY1" fmla="*/ 30683 h 3763755"/>
                <a:gd name="connsiteX2" fmla="*/ 6564071 w 6586571"/>
                <a:gd name="connsiteY2" fmla="*/ 3753528 h 3763755"/>
                <a:gd name="connsiteX3" fmla="*/ 30683 w 6586571"/>
                <a:gd name="connsiteY3" fmla="*/ 3753528 h 3763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86571" h="3763755">
                  <a:moveTo>
                    <a:pt x="30683" y="30683"/>
                  </a:moveTo>
                  <a:lnTo>
                    <a:pt x="6564071" y="30683"/>
                  </a:lnTo>
                  <a:lnTo>
                    <a:pt x="6564071" y="3753528"/>
                  </a:lnTo>
                  <a:lnTo>
                    <a:pt x="30683" y="3753528"/>
                  </a:lnTo>
                  <a:close/>
                </a:path>
              </a:pathLst>
            </a:custGeom>
            <a:solidFill>
              <a:srgbClr val="F2F2F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2D59BB2-DE53-439B-99EC-82AAEDD01EA7}"/>
                </a:ext>
              </a:extLst>
            </p:cNvPr>
            <p:cNvSpPr/>
            <p:nvPr/>
          </p:nvSpPr>
          <p:spPr>
            <a:xfrm>
              <a:off x="5654591" y="939518"/>
              <a:ext cx="3769239" cy="3736342"/>
            </a:xfrm>
            <a:custGeom>
              <a:avLst/>
              <a:gdLst>
                <a:gd name="connsiteX0" fmla="*/ 2567127 w 4009217"/>
                <a:gd name="connsiteY0" fmla="*/ 30683 h 4295590"/>
                <a:gd name="connsiteX1" fmla="*/ 3798529 w 4009217"/>
                <a:gd name="connsiteY1" fmla="*/ 30683 h 4295590"/>
                <a:gd name="connsiteX2" fmla="*/ 4007172 w 4009217"/>
                <a:gd name="connsiteY2" fmla="*/ 272054 h 4295590"/>
                <a:gd name="connsiteX3" fmla="*/ 3998990 w 4009217"/>
                <a:gd name="connsiteY3" fmla="*/ 4268999 h 4295590"/>
                <a:gd name="connsiteX4" fmla="*/ 30683 w 4009217"/>
                <a:gd name="connsiteY4" fmla="*/ 4268999 h 4295590"/>
                <a:gd name="connsiteX0" fmla="*/ 2536444 w 3976489"/>
                <a:gd name="connsiteY0" fmla="*/ 0 h 4238316"/>
                <a:gd name="connsiteX1" fmla="*/ 3976489 w 3976489"/>
                <a:gd name="connsiteY1" fmla="*/ 241371 h 4238316"/>
                <a:gd name="connsiteX2" fmla="*/ 3968307 w 3976489"/>
                <a:gd name="connsiteY2" fmla="*/ 4238316 h 4238316"/>
                <a:gd name="connsiteX3" fmla="*/ 0 w 3976489"/>
                <a:gd name="connsiteY3" fmla="*/ 4238316 h 4238316"/>
                <a:gd name="connsiteX0" fmla="*/ 2536444 w 3976489"/>
                <a:gd name="connsiteY0" fmla="*/ 0 h 4238316"/>
                <a:gd name="connsiteX1" fmla="*/ 3976489 w 3976489"/>
                <a:gd name="connsiteY1" fmla="*/ 213683 h 4238316"/>
                <a:gd name="connsiteX2" fmla="*/ 3968307 w 3976489"/>
                <a:gd name="connsiteY2" fmla="*/ 4238316 h 4238316"/>
                <a:gd name="connsiteX3" fmla="*/ 0 w 3976489"/>
                <a:gd name="connsiteY3" fmla="*/ 4238316 h 4238316"/>
                <a:gd name="connsiteX0" fmla="*/ 2473335 w 3976489"/>
                <a:gd name="connsiteY0" fmla="*/ 0 h 4035268"/>
                <a:gd name="connsiteX1" fmla="*/ 3976489 w 3976489"/>
                <a:gd name="connsiteY1" fmla="*/ 10635 h 4035268"/>
                <a:gd name="connsiteX2" fmla="*/ 3968307 w 3976489"/>
                <a:gd name="connsiteY2" fmla="*/ 4035268 h 4035268"/>
                <a:gd name="connsiteX3" fmla="*/ 0 w 3976489"/>
                <a:gd name="connsiteY3" fmla="*/ 4035268 h 4035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76489" h="4035268">
                  <a:moveTo>
                    <a:pt x="2473335" y="0"/>
                  </a:moveTo>
                  <a:lnTo>
                    <a:pt x="3976489" y="10635"/>
                  </a:lnTo>
                  <a:cubicBezTo>
                    <a:pt x="3973762" y="1342950"/>
                    <a:pt x="3971034" y="2702953"/>
                    <a:pt x="3968307" y="4035268"/>
                  </a:cubicBezTo>
                  <a:lnTo>
                    <a:pt x="0" y="4035268"/>
                  </a:lnTo>
                </a:path>
              </a:pathLst>
            </a:custGeom>
            <a:solidFill>
              <a:srgbClr val="999999">
                <a:alpha val="1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2" name="그림 개체 틀 2">
            <a:extLst>
              <a:ext uri="{FF2B5EF4-FFF2-40B4-BE49-F238E27FC236}">
                <a16:creationId xmlns:a16="http://schemas.microsoft.com/office/drawing/2014/main" id="{0DB6E3C2-C40C-4102-BF69-47AA9B9BAD7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90236" y="1620355"/>
            <a:ext cx="3747829" cy="21844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/>
              <a:t>Place Your Picture Here</a:t>
            </a:r>
            <a:endParaRPr lang="ko-KR" altLang="en-US"/>
          </a:p>
        </p:txBody>
      </p:sp>
      <p:sp>
        <p:nvSpPr>
          <p:cNvPr id="33" name="그림 개체 틀 2">
            <a:extLst>
              <a:ext uri="{FF2B5EF4-FFF2-40B4-BE49-F238E27FC236}">
                <a16:creationId xmlns:a16="http://schemas.microsoft.com/office/drawing/2014/main" id="{677CFC62-2B4A-456E-BE05-1E1E77FC63B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8338" y="2225935"/>
            <a:ext cx="2513477" cy="149764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/>
              <a:t>Place Your Picture Here</a:t>
            </a:r>
            <a:endParaRPr lang="ko-KR" altLang="en-US"/>
          </a:p>
        </p:txBody>
      </p:sp>
      <p:sp>
        <p:nvSpPr>
          <p:cNvPr id="34" name="그림 개체 틀 2">
            <a:extLst>
              <a:ext uri="{FF2B5EF4-FFF2-40B4-BE49-F238E27FC236}">
                <a16:creationId xmlns:a16="http://schemas.microsoft.com/office/drawing/2014/main" id="{B8AF8CA0-D485-461D-B32B-288B7416459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8868450" y="2225935"/>
            <a:ext cx="2513477" cy="149764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/>
              <a:t>Place Your Picture Here</a:t>
            </a:r>
            <a:endParaRPr lang="ko-KR" altLang="en-US"/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C92F677F-2353-4295-A595-533F1F0904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/>
              <a:t>BASIC LAYOUT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85B0FBAA-C8B0-4DB6-BFD4-9779F94E5944}"/>
              </a:ext>
            </a:extLst>
          </p:cNvPr>
          <p:cNvGrpSpPr/>
          <p:nvPr userDrawn="1"/>
        </p:nvGrpSpPr>
        <p:grpSpPr>
          <a:xfrm rot="5400000">
            <a:off x="5981671" y="5720329"/>
            <a:ext cx="228658" cy="1691575"/>
            <a:chOff x="7316420" y="1861156"/>
            <a:chExt cx="689857" cy="5103452"/>
          </a:xfrm>
        </p:grpSpPr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08290DD0-F2B3-4172-8DFA-3BA8A5F6400F}"/>
                </a:ext>
              </a:extLst>
            </p:cNvPr>
            <p:cNvSpPr/>
            <p:nvPr/>
          </p:nvSpPr>
          <p:spPr>
            <a:xfrm>
              <a:off x="7316420" y="1861156"/>
              <a:ext cx="689857" cy="689857"/>
            </a:xfrm>
            <a:prstGeom prst="ellipse">
              <a:avLst/>
            </a:prstGeom>
            <a:solidFill>
              <a:schemeClr val="accent5"/>
            </a:solidFill>
            <a:ln w="63500">
              <a:noFill/>
            </a:ln>
            <a:effectLst>
              <a:innerShdw blurRad="101600" dist="88900" dir="13500000">
                <a:prstClr val="black">
                  <a:alpha val="56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>
                <a:cs typeface="Arial" pitchFamily="34" charset="0"/>
              </a:endParaRPr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2D53E9A3-E57B-4204-BF9B-4AE6E66ADDF8}"/>
                </a:ext>
              </a:extLst>
            </p:cNvPr>
            <p:cNvSpPr/>
            <p:nvPr/>
          </p:nvSpPr>
          <p:spPr>
            <a:xfrm>
              <a:off x="7316420" y="2743875"/>
              <a:ext cx="689857" cy="689857"/>
            </a:xfrm>
            <a:prstGeom prst="ellipse">
              <a:avLst/>
            </a:prstGeom>
            <a:solidFill>
              <a:schemeClr val="accent4"/>
            </a:solidFill>
            <a:ln w="63500">
              <a:noFill/>
            </a:ln>
            <a:effectLst>
              <a:innerShdw blurRad="101600" dist="88900" dir="13500000">
                <a:prstClr val="black">
                  <a:alpha val="56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>
                <a:cs typeface="Arial" pitchFamily="34" charset="0"/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B4F5CA35-04A5-473F-998F-C7756015249C}"/>
                </a:ext>
              </a:extLst>
            </p:cNvPr>
            <p:cNvSpPr/>
            <p:nvPr/>
          </p:nvSpPr>
          <p:spPr>
            <a:xfrm>
              <a:off x="7316420" y="3626594"/>
              <a:ext cx="689857" cy="689857"/>
            </a:xfrm>
            <a:prstGeom prst="ellipse">
              <a:avLst/>
            </a:prstGeom>
            <a:solidFill>
              <a:schemeClr val="accent3"/>
            </a:solidFill>
            <a:ln w="63500">
              <a:noFill/>
            </a:ln>
            <a:effectLst>
              <a:innerShdw blurRad="101600" dist="88900" dir="13500000">
                <a:prstClr val="black">
                  <a:alpha val="56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>
                <a:cs typeface="Arial" pitchFamily="34" charset="0"/>
              </a:endParaRPr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8934F24F-7B1B-4044-AFBE-2466FBD7B2C7}"/>
                </a:ext>
              </a:extLst>
            </p:cNvPr>
            <p:cNvSpPr/>
            <p:nvPr/>
          </p:nvSpPr>
          <p:spPr>
            <a:xfrm>
              <a:off x="7316420" y="4509313"/>
              <a:ext cx="689857" cy="689857"/>
            </a:xfrm>
            <a:prstGeom prst="ellipse">
              <a:avLst/>
            </a:prstGeom>
            <a:solidFill>
              <a:schemeClr val="accent2"/>
            </a:solidFill>
            <a:ln w="63500">
              <a:noFill/>
            </a:ln>
            <a:effectLst>
              <a:innerShdw blurRad="101600" dist="88900" dir="13500000">
                <a:prstClr val="black">
                  <a:alpha val="56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>
                <a:cs typeface="Arial" pitchFamily="34" charset="0"/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9EC92AEB-CA32-4F13-976C-FE745F858304}"/>
                </a:ext>
              </a:extLst>
            </p:cNvPr>
            <p:cNvSpPr/>
            <p:nvPr/>
          </p:nvSpPr>
          <p:spPr>
            <a:xfrm>
              <a:off x="7316420" y="5392032"/>
              <a:ext cx="689857" cy="689857"/>
            </a:xfrm>
            <a:prstGeom prst="ellipse">
              <a:avLst/>
            </a:prstGeom>
            <a:solidFill>
              <a:schemeClr val="accent1"/>
            </a:solidFill>
            <a:ln w="63500">
              <a:noFill/>
            </a:ln>
            <a:effectLst>
              <a:innerShdw blurRad="101600" dist="88900" dir="13500000">
                <a:prstClr val="black">
                  <a:alpha val="56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>
                <a:cs typeface="Arial" pitchFamily="34" charset="0"/>
              </a:endParaRP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48872E85-CFD3-4815-85A8-0CCEC4689539}"/>
                </a:ext>
              </a:extLst>
            </p:cNvPr>
            <p:cNvSpPr/>
            <p:nvPr/>
          </p:nvSpPr>
          <p:spPr>
            <a:xfrm>
              <a:off x="7316420" y="6274751"/>
              <a:ext cx="689857" cy="689857"/>
            </a:xfrm>
            <a:prstGeom prst="ellipse">
              <a:avLst/>
            </a:prstGeom>
            <a:solidFill>
              <a:schemeClr val="accent6"/>
            </a:solidFill>
            <a:ln w="63500">
              <a:noFill/>
            </a:ln>
            <a:effectLst>
              <a:innerShdw blurRad="101600" dist="88900" dir="13500000">
                <a:prstClr val="black">
                  <a:alpha val="56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263454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3195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7881578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775D3304-F06B-4905-8034-326782C7E4EA}"/>
              </a:ext>
            </a:extLst>
          </p:cNvPr>
          <p:cNvGrpSpPr/>
          <p:nvPr userDrawn="1"/>
        </p:nvGrpSpPr>
        <p:grpSpPr>
          <a:xfrm>
            <a:off x="2924901" y="1599606"/>
            <a:ext cx="6342197" cy="3484608"/>
            <a:chOff x="-548507" y="477868"/>
            <a:chExt cx="11570449" cy="6357177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07F8A63B-D184-4CD5-8DBC-971A155CA923}"/>
                </a:ext>
              </a:extLst>
            </p:cNvPr>
            <p:cNvSpPr/>
            <p:nvPr/>
          </p:nvSpPr>
          <p:spPr>
            <a:xfrm>
              <a:off x="-482765" y="6440599"/>
              <a:ext cx="11438966" cy="394446"/>
            </a:xfrm>
            <a:custGeom>
              <a:avLst/>
              <a:gdLst>
                <a:gd name="connsiteX0" fmla="*/ 1605439 w 1657350"/>
                <a:gd name="connsiteY0" fmla="*/ 54769 h 57150"/>
                <a:gd name="connsiteX1" fmla="*/ 1652111 w 1657350"/>
                <a:gd name="connsiteY1" fmla="*/ 22384 h 57150"/>
                <a:gd name="connsiteX2" fmla="*/ 1652111 w 1657350"/>
                <a:gd name="connsiteY2" fmla="*/ 22384 h 57150"/>
                <a:gd name="connsiteX3" fmla="*/ 1636871 w 1657350"/>
                <a:gd name="connsiteY3" fmla="*/ 7144 h 57150"/>
                <a:gd name="connsiteX4" fmla="*/ 44291 w 1657350"/>
                <a:gd name="connsiteY4" fmla="*/ 12859 h 57150"/>
                <a:gd name="connsiteX5" fmla="*/ 23336 w 1657350"/>
                <a:gd name="connsiteY5" fmla="*/ 12859 h 57150"/>
                <a:gd name="connsiteX6" fmla="*/ 7144 w 1657350"/>
                <a:gd name="connsiteY6" fmla="*/ 26194 h 57150"/>
                <a:gd name="connsiteX7" fmla="*/ 7144 w 1657350"/>
                <a:gd name="connsiteY7" fmla="*/ 26194 h 57150"/>
                <a:gd name="connsiteX8" fmla="*/ 50959 w 1657350"/>
                <a:gd name="connsiteY8" fmla="*/ 53816 h 57150"/>
                <a:gd name="connsiteX9" fmla="*/ 51911 w 1657350"/>
                <a:gd name="connsiteY9" fmla="*/ 54769 h 57150"/>
                <a:gd name="connsiteX10" fmla="*/ 51911 w 1657350"/>
                <a:gd name="connsiteY10" fmla="*/ 54769 h 57150"/>
                <a:gd name="connsiteX11" fmla="*/ 56674 w 1657350"/>
                <a:gd name="connsiteY11" fmla="*/ 54769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57350" h="57150">
                  <a:moveTo>
                    <a:pt x="1605439" y="54769"/>
                  </a:moveTo>
                  <a:cubicBezTo>
                    <a:pt x="1605439" y="54769"/>
                    <a:pt x="1638776" y="50959"/>
                    <a:pt x="1652111" y="22384"/>
                  </a:cubicBezTo>
                  <a:lnTo>
                    <a:pt x="1652111" y="22384"/>
                  </a:lnTo>
                  <a:cubicBezTo>
                    <a:pt x="1652111" y="13811"/>
                    <a:pt x="1645444" y="7144"/>
                    <a:pt x="1636871" y="7144"/>
                  </a:cubicBezTo>
                  <a:lnTo>
                    <a:pt x="44291" y="12859"/>
                  </a:lnTo>
                  <a:lnTo>
                    <a:pt x="23336" y="12859"/>
                  </a:lnTo>
                  <a:cubicBezTo>
                    <a:pt x="14764" y="12859"/>
                    <a:pt x="7144" y="18574"/>
                    <a:pt x="7144" y="26194"/>
                  </a:cubicBezTo>
                  <a:lnTo>
                    <a:pt x="7144" y="26194"/>
                  </a:lnTo>
                  <a:cubicBezTo>
                    <a:pt x="17621" y="45244"/>
                    <a:pt x="40481" y="51911"/>
                    <a:pt x="50959" y="53816"/>
                  </a:cubicBezTo>
                  <a:lnTo>
                    <a:pt x="51911" y="54769"/>
                  </a:lnTo>
                  <a:cubicBezTo>
                    <a:pt x="51911" y="54769"/>
                    <a:pt x="51911" y="54769"/>
                    <a:pt x="51911" y="54769"/>
                  </a:cubicBezTo>
                  <a:lnTo>
                    <a:pt x="56674" y="54769"/>
                  </a:lnTo>
                </a:path>
              </a:pathLst>
            </a:custGeom>
            <a:solidFill>
              <a:srgbClr val="5F676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A0B5DC62-199C-4D62-8C73-F7A0D4D68F6E}"/>
                </a:ext>
              </a:extLst>
            </p:cNvPr>
            <p:cNvSpPr/>
            <p:nvPr/>
          </p:nvSpPr>
          <p:spPr>
            <a:xfrm>
              <a:off x="700575" y="477868"/>
              <a:ext cx="9072285" cy="5916709"/>
            </a:xfrm>
            <a:custGeom>
              <a:avLst/>
              <a:gdLst>
                <a:gd name="connsiteX0" fmla="*/ 1311116 w 1314450"/>
                <a:gd name="connsiteY0" fmla="*/ 813911 h 857250"/>
                <a:gd name="connsiteX1" fmla="*/ 1281589 w 1314450"/>
                <a:gd name="connsiteY1" fmla="*/ 852964 h 857250"/>
                <a:gd name="connsiteX2" fmla="*/ 36671 w 1314450"/>
                <a:gd name="connsiteY2" fmla="*/ 852964 h 857250"/>
                <a:gd name="connsiteX3" fmla="*/ 7144 w 1314450"/>
                <a:gd name="connsiteY3" fmla="*/ 813911 h 857250"/>
                <a:gd name="connsiteX4" fmla="*/ 7144 w 1314450"/>
                <a:gd name="connsiteY4" fmla="*/ 46196 h 857250"/>
                <a:gd name="connsiteX5" fmla="*/ 36671 w 1314450"/>
                <a:gd name="connsiteY5" fmla="*/ 7144 h 857250"/>
                <a:gd name="connsiteX6" fmla="*/ 1281589 w 1314450"/>
                <a:gd name="connsiteY6" fmla="*/ 7144 h 857250"/>
                <a:gd name="connsiteX7" fmla="*/ 1311116 w 1314450"/>
                <a:gd name="connsiteY7" fmla="*/ 46196 h 857250"/>
                <a:gd name="connsiteX8" fmla="*/ 1311116 w 1314450"/>
                <a:gd name="connsiteY8" fmla="*/ 813911 h 857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14450" h="857250">
                  <a:moveTo>
                    <a:pt x="1311116" y="813911"/>
                  </a:moveTo>
                  <a:cubicBezTo>
                    <a:pt x="1311116" y="834866"/>
                    <a:pt x="1297781" y="852964"/>
                    <a:pt x="1281589" y="852964"/>
                  </a:cubicBezTo>
                  <a:lnTo>
                    <a:pt x="36671" y="852964"/>
                  </a:lnTo>
                  <a:cubicBezTo>
                    <a:pt x="20479" y="852964"/>
                    <a:pt x="7144" y="835819"/>
                    <a:pt x="7144" y="813911"/>
                  </a:cubicBezTo>
                  <a:lnTo>
                    <a:pt x="7144" y="46196"/>
                  </a:lnTo>
                  <a:cubicBezTo>
                    <a:pt x="7144" y="25241"/>
                    <a:pt x="20479" y="7144"/>
                    <a:pt x="36671" y="7144"/>
                  </a:cubicBezTo>
                  <a:lnTo>
                    <a:pt x="1281589" y="7144"/>
                  </a:lnTo>
                  <a:cubicBezTo>
                    <a:pt x="1297781" y="7144"/>
                    <a:pt x="1311116" y="24289"/>
                    <a:pt x="1311116" y="46196"/>
                  </a:cubicBezTo>
                  <a:lnTo>
                    <a:pt x="1311116" y="81391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72E1BB28-E75E-43C6-A518-41157449D91C}"/>
                </a:ext>
              </a:extLst>
            </p:cNvPr>
            <p:cNvSpPr/>
            <p:nvPr/>
          </p:nvSpPr>
          <p:spPr>
            <a:xfrm>
              <a:off x="1088451" y="839448"/>
              <a:ext cx="8283390" cy="5062073"/>
            </a:xfrm>
            <a:custGeom>
              <a:avLst/>
              <a:gdLst>
                <a:gd name="connsiteX0" fmla="*/ 7144 w 1200150"/>
                <a:gd name="connsiteY0" fmla="*/ 7144 h 733425"/>
                <a:gd name="connsiteX1" fmla="*/ 1196816 w 1200150"/>
                <a:gd name="connsiteY1" fmla="*/ 7144 h 733425"/>
                <a:gd name="connsiteX2" fmla="*/ 1196816 w 1200150"/>
                <a:gd name="connsiteY2" fmla="*/ 730091 h 733425"/>
                <a:gd name="connsiteX3" fmla="*/ 7144 w 1200150"/>
                <a:gd name="connsiteY3" fmla="*/ 730091 h 73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0150" h="733425">
                  <a:moveTo>
                    <a:pt x="7144" y="7144"/>
                  </a:moveTo>
                  <a:lnTo>
                    <a:pt x="1196816" y="7144"/>
                  </a:lnTo>
                  <a:lnTo>
                    <a:pt x="1196816" y="730091"/>
                  </a:lnTo>
                  <a:lnTo>
                    <a:pt x="7144" y="730091"/>
                  </a:lnTo>
                  <a:close/>
                </a:path>
              </a:pathLst>
            </a:custGeom>
            <a:solidFill>
              <a:srgbClr val="F2F2F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2E3A7629-E620-4EE4-9D18-57F801E2DA6D}"/>
                </a:ext>
              </a:extLst>
            </p:cNvPr>
            <p:cNvSpPr/>
            <p:nvPr/>
          </p:nvSpPr>
          <p:spPr>
            <a:xfrm>
              <a:off x="-548507" y="6164484"/>
              <a:ext cx="11570449" cy="460187"/>
            </a:xfrm>
            <a:custGeom>
              <a:avLst/>
              <a:gdLst>
                <a:gd name="connsiteX0" fmla="*/ 50006 w 1676400"/>
                <a:gd name="connsiteY0" fmla="*/ 7144 h 66675"/>
                <a:gd name="connsiteX1" fmla="*/ 1630204 w 1676400"/>
                <a:gd name="connsiteY1" fmla="*/ 7144 h 66675"/>
                <a:gd name="connsiteX2" fmla="*/ 1672114 w 1676400"/>
                <a:gd name="connsiteY2" fmla="*/ 49054 h 66675"/>
                <a:gd name="connsiteX3" fmla="*/ 1672114 w 1676400"/>
                <a:gd name="connsiteY3" fmla="*/ 57626 h 66675"/>
                <a:gd name="connsiteX4" fmla="*/ 1656874 w 1676400"/>
                <a:gd name="connsiteY4" fmla="*/ 62389 h 66675"/>
                <a:gd name="connsiteX5" fmla="*/ 1654016 w 1676400"/>
                <a:gd name="connsiteY5" fmla="*/ 62389 h 66675"/>
                <a:gd name="connsiteX6" fmla="*/ 29051 w 1676400"/>
                <a:gd name="connsiteY6" fmla="*/ 62389 h 66675"/>
                <a:gd name="connsiteX7" fmla="*/ 21431 w 1676400"/>
                <a:gd name="connsiteY7" fmla="*/ 63341 h 66675"/>
                <a:gd name="connsiteX8" fmla="*/ 7144 w 1676400"/>
                <a:gd name="connsiteY8" fmla="*/ 55721 h 66675"/>
                <a:gd name="connsiteX9" fmla="*/ 7144 w 1676400"/>
                <a:gd name="connsiteY9" fmla="*/ 48101 h 66675"/>
                <a:gd name="connsiteX10" fmla="*/ 50006 w 1676400"/>
                <a:gd name="connsiteY10" fmla="*/ 714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76400" h="66675">
                  <a:moveTo>
                    <a:pt x="50006" y="7144"/>
                  </a:moveTo>
                  <a:lnTo>
                    <a:pt x="1630204" y="7144"/>
                  </a:lnTo>
                  <a:cubicBezTo>
                    <a:pt x="1653064" y="7144"/>
                    <a:pt x="1672114" y="26194"/>
                    <a:pt x="1672114" y="49054"/>
                  </a:cubicBezTo>
                  <a:lnTo>
                    <a:pt x="1672114" y="57626"/>
                  </a:lnTo>
                  <a:cubicBezTo>
                    <a:pt x="1672114" y="57626"/>
                    <a:pt x="1674019" y="64294"/>
                    <a:pt x="1656874" y="62389"/>
                  </a:cubicBezTo>
                  <a:cubicBezTo>
                    <a:pt x="1655921" y="62389"/>
                    <a:pt x="1654969" y="62389"/>
                    <a:pt x="1654016" y="62389"/>
                  </a:cubicBezTo>
                  <a:lnTo>
                    <a:pt x="29051" y="62389"/>
                  </a:lnTo>
                  <a:cubicBezTo>
                    <a:pt x="26194" y="62389"/>
                    <a:pt x="24289" y="62389"/>
                    <a:pt x="21431" y="63341"/>
                  </a:cubicBezTo>
                  <a:cubicBezTo>
                    <a:pt x="16669" y="64294"/>
                    <a:pt x="8096" y="64294"/>
                    <a:pt x="7144" y="55721"/>
                  </a:cubicBezTo>
                  <a:lnTo>
                    <a:pt x="7144" y="48101"/>
                  </a:lnTo>
                  <a:cubicBezTo>
                    <a:pt x="8096" y="25241"/>
                    <a:pt x="26194" y="7144"/>
                    <a:pt x="50006" y="7144"/>
                  </a:cubicBezTo>
                  <a:close/>
                </a:path>
              </a:pathLst>
            </a:custGeom>
            <a:solidFill>
              <a:srgbClr val="CCCCC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D2E17E0E-FDBA-4A1F-B35B-4A34A311CB8A}"/>
                </a:ext>
              </a:extLst>
            </p:cNvPr>
            <p:cNvSpPr/>
            <p:nvPr/>
          </p:nvSpPr>
          <p:spPr>
            <a:xfrm>
              <a:off x="4438629" y="6215033"/>
              <a:ext cx="1618413" cy="184076"/>
            </a:xfrm>
            <a:custGeom>
              <a:avLst/>
              <a:gdLst>
                <a:gd name="connsiteX0" fmla="*/ 1478513 w 1618413"/>
                <a:gd name="connsiteY0" fmla="*/ 177499 h 184076"/>
                <a:gd name="connsiteX1" fmla="*/ 1485084 w 1618413"/>
                <a:gd name="connsiteY1" fmla="*/ 177499 h 184076"/>
                <a:gd name="connsiteX2" fmla="*/ 1502686 w 1618413"/>
                <a:gd name="connsiteY2" fmla="*/ 178122 h 184076"/>
                <a:gd name="connsiteX3" fmla="*/ 1499879 w 1618413"/>
                <a:gd name="connsiteY3" fmla="*/ 178526 h 184076"/>
                <a:gd name="connsiteX4" fmla="*/ 1478513 w 1618413"/>
                <a:gd name="connsiteY4" fmla="*/ 177499 h 184076"/>
                <a:gd name="connsiteX5" fmla="*/ 84799 w 1618413"/>
                <a:gd name="connsiteY5" fmla="*/ 170928 h 184076"/>
                <a:gd name="connsiteX6" fmla="*/ 117666 w 1618413"/>
                <a:gd name="connsiteY6" fmla="*/ 177499 h 184076"/>
                <a:gd name="connsiteX7" fmla="*/ 104518 w 1618413"/>
                <a:gd name="connsiteY7" fmla="*/ 177499 h 184076"/>
                <a:gd name="connsiteX8" fmla="*/ 84799 w 1618413"/>
                <a:gd name="connsiteY8" fmla="*/ 170928 h 184076"/>
                <a:gd name="connsiteX9" fmla="*/ 1603418 w 1618413"/>
                <a:gd name="connsiteY9" fmla="*/ 0 h 184076"/>
                <a:gd name="connsiteX10" fmla="*/ 1616567 w 1618413"/>
                <a:gd name="connsiteY10" fmla="*/ 0 h 184076"/>
                <a:gd name="connsiteX11" fmla="*/ 1511177 w 1618413"/>
                <a:gd name="connsiteY11" fmla="*/ 178423 h 184076"/>
                <a:gd name="connsiteX12" fmla="*/ 1502686 w 1618413"/>
                <a:gd name="connsiteY12" fmla="*/ 178122 h 184076"/>
                <a:gd name="connsiteX13" fmla="*/ 1521501 w 1618413"/>
                <a:gd name="connsiteY13" fmla="*/ 175419 h 184076"/>
                <a:gd name="connsiteX14" fmla="*/ 1603418 w 1618413"/>
                <a:gd name="connsiteY14" fmla="*/ 6571 h 184076"/>
                <a:gd name="connsiteX15" fmla="*/ 5911 w 1618413"/>
                <a:gd name="connsiteY15" fmla="*/ 0 h 184076"/>
                <a:gd name="connsiteX16" fmla="*/ 19060 w 1618413"/>
                <a:gd name="connsiteY16" fmla="*/ 6571 h 184076"/>
                <a:gd name="connsiteX17" fmla="*/ 91379 w 1618413"/>
                <a:gd name="connsiteY17" fmla="*/ 184076 h 184076"/>
                <a:gd name="connsiteX18" fmla="*/ 5911 w 1618413"/>
                <a:gd name="connsiteY18" fmla="*/ 0 h 184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8413" h="184076">
                  <a:moveTo>
                    <a:pt x="1478513" y="177499"/>
                  </a:moveTo>
                  <a:lnTo>
                    <a:pt x="1485084" y="177499"/>
                  </a:lnTo>
                  <a:lnTo>
                    <a:pt x="1502686" y="178122"/>
                  </a:lnTo>
                  <a:lnTo>
                    <a:pt x="1499879" y="178526"/>
                  </a:lnTo>
                  <a:cubicBezTo>
                    <a:pt x="1487142" y="179142"/>
                    <a:pt x="1478513" y="177499"/>
                    <a:pt x="1478513" y="177499"/>
                  </a:cubicBezTo>
                  <a:close/>
                  <a:moveTo>
                    <a:pt x="84799" y="170928"/>
                  </a:moveTo>
                  <a:cubicBezTo>
                    <a:pt x="97947" y="177499"/>
                    <a:pt x="104518" y="177499"/>
                    <a:pt x="117666" y="177499"/>
                  </a:cubicBezTo>
                  <a:lnTo>
                    <a:pt x="104518" y="177499"/>
                  </a:lnTo>
                  <a:cubicBezTo>
                    <a:pt x="97947" y="177499"/>
                    <a:pt x="91370" y="177499"/>
                    <a:pt x="84799" y="170928"/>
                  </a:cubicBezTo>
                  <a:close/>
                  <a:moveTo>
                    <a:pt x="1603418" y="0"/>
                  </a:moveTo>
                  <a:lnTo>
                    <a:pt x="1616567" y="0"/>
                  </a:lnTo>
                  <a:cubicBezTo>
                    <a:pt x="1631361" y="152847"/>
                    <a:pt x="1553705" y="176266"/>
                    <a:pt x="1511177" y="178423"/>
                  </a:cubicBezTo>
                  <a:lnTo>
                    <a:pt x="1502686" y="178122"/>
                  </a:lnTo>
                  <a:lnTo>
                    <a:pt x="1521501" y="175419"/>
                  </a:lnTo>
                  <a:cubicBezTo>
                    <a:pt x="1560791" y="165788"/>
                    <a:pt x="1611636" y="129836"/>
                    <a:pt x="1603418" y="6571"/>
                  </a:cubicBezTo>
                  <a:close/>
                  <a:moveTo>
                    <a:pt x="5911" y="0"/>
                  </a:moveTo>
                  <a:lnTo>
                    <a:pt x="19060" y="6571"/>
                  </a:lnTo>
                  <a:cubicBezTo>
                    <a:pt x="19060" y="6571"/>
                    <a:pt x="-20385" y="144631"/>
                    <a:pt x="91379" y="184076"/>
                  </a:cubicBezTo>
                  <a:cubicBezTo>
                    <a:pt x="-33534" y="151202"/>
                    <a:pt x="5911" y="0"/>
                    <a:pt x="5911" y="0"/>
                  </a:cubicBezTo>
                  <a:close/>
                </a:path>
              </a:pathLst>
            </a:custGeom>
            <a:solidFill>
              <a:srgbClr val="4D4D4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078CB813-0DBC-4674-9CCC-578B191804BD}"/>
                </a:ext>
              </a:extLst>
            </p:cNvPr>
            <p:cNvGrpSpPr/>
            <p:nvPr/>
          </p:nvGrpSpPr>
          <p:grpSpPr>
            <a:xfrm>
              <a:off x="1606" y="6382978"/>
              <a:ext cx="413937" cy="115242"/>
              <a:chOff x="5955" y="6353672"/>
              <a:chExt cx="413937" cy="115242"/>
            </a:xfrm>
          </p:grpSpPr>
          <p:sp>
            <p:nvSpPr>
              <p:cNvPr id="13" name="Rectangle: Rounded Corners 12">
                <a:extLst>
                  <a:ext uri="{FF2B5EF4-FFF2-40B4-BE49-F238E27FC236}">
                    <a16:creationId xmlns:a16="http://schemas.microsoft.com/office/drawing/2014/main" id="{EA461F5A-82E3-44FD-8776-84AECCFDBA9A}"/>
                  </a:ext>
                </a:extLst>
              </p:cNvPr>
              <p:cNvSpPr/>
              <p:nvPr/>
            </p:nvSpPr>
            <p:spPr>
              <a:xfrm>
                <a:off x="5955" y="6353672"/>
                <a:ext cx="413937" cy="115242"/>
              </a:xfrm>
              <a:prstGeom prst="roundRect">
                <a:avLst>
                  <a:gd name="adj" fmla="val 28154"/>
                </a:avLst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" name="Rectangle: Rounded Corners 13">
                <a:extLst>
                  <a:ext uri="{FF2B5EF4-FFF2-40B4-BE49-F238E27FC236}">
                    <a16:creationId xmlns:a16="http://schemas.microsoft.com/office/drawing/2014/main" id="{6A7A05AF-5E39-45CA-B25D-95424BDF8CE4}"/>
                  </a:ext>
                </a:extLst>
              </p:cNvPr>
              <p:cNvSpPr/>
              <p:nvPr/>
            </p:nvSpPr>
            <p:spPr>
              <a:xfrm>
                <a:off x="99417" y="6382279"/>
                <a:ext cx="227012" cy="55272"/>
              </a:xfrm>
              <a:prstGeom prst="roundRect">
                <a:avLst>
                  <a:gd name="adj" fmla="val 28154"/>
                </a:avLst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1EA28B16-E0A2-4B85-8806-216B2E392249}"/>
                </a:ext>
              </a:extLst>
            </p:cNvPr>
            <p:cNvGrpSpPr/>
            <p:nvPr/>
          </p:nvGrpSpPr>
          <p:grpSpPr>
            <a:xfrm>
              <a:off x="9855291" y="6381600"/>
              <a:ext cx="885989" cy="115242"/>
              <a:chOff x="5955" y="6353672"/>
              <a:chExt cx="413937" cy="115242"/>
            </a:xfrm>
          </p:grpSpPr>
          <p:sp>
            <p:nvSpPr>
              <p:cNvPr id="11" name="Rectangle: Rounded Corners 10">
                <a:extLst>
                  <a:ext uri="{FF2B5EF4-FFF2-40B4-BE49-F238E27FC236}">
                    <a16:creationId xmlns:a16="http://schemas.microsoft.com/office/drawing/2014/main" id="{D0038EED-C7DA-48EE-AAD1-4DA9DEB75622}"/>
                  </a:ext>
                </a:extLst>
              </p:cNvPr>
              <p:cNvSpPr/>
              <p:nvPr/>
            </p:nvSpPr>
            <p:spPr>
              <a:xfrm>
                <a:off x="5955" y="6353672"/>
                <a:ext cx="413937" cy="115242"/>
              </a:xfrm>
              <a:prstGeom prst="roundRect">
                <a:avLst>
                  <a:gd name="adj" fmla="val 28154"/>
                </a:avLst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Rectangle: Rounded Corners 11">
                <a:extLst>
                  <a:ext uri="{FF2B5EF4-FFF2-40B4-BE49-F238E27FC236}">
                    <a16:creationId xmlns:a16="http://schemas.microsoft.com/office/drawing/2014/main" id="{D62659C9-8BB8-41FC-9D6E-ED553BB90C46}"/>
                  </a:ext>
                </a:extLst>
              </p:cNvPr>
              <p:cNvSpPr/>
              <p:nvPr/>
            </p:nvSpPr>
            <p:spPr>
              <a:xfrm>
                <a:off x="84761" y="6382279"/>
                <a:ext cx="256326" cy="55272"/>
              </a:xfrm>
              <a:prstGeom prst="roundRect">
                <a:avLst>
                  <a:gd name="adj" fmla="val 28154"/>
                </a:avLst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0CCA88F-3BEA-464E-A4B9-A2B716420923}"/>
                </a:ext>
              </a:extLst>
            </p:cNvPr>
            <p:cNvSpPr/>
            <p:nvPr/>
          </p:nvSpPr>
          <p:spPr>
            <a:xfrm>
              <a:off x="3892805" y="496953"/>
              <a:ext cx="5479036" cy="5431217"/>
            </a:xfrm>
            <a:custGeom>
              <a:avLst/>
              <a:gdLst>
                <a:gd name="connsiteX0" fmla="*/ 2567127 w 4009217"/>
                <a:gd name="connsiteY0" fmla="*/ 30683 h 4295590"/>
                <a:gd name="connsiteX1" fmla="*/ 3798529 w 4009217"/>
                <a:gd name="connsiteY1" fmla="*/ 30683 h 4295590"/>
                <a:gd name="connsiteX2" fmla="*/ 4007172 w 4009217"/>
                <a:gd name="connsiteY2" fmla="*/ 272054 h 4295590"/>
                <a:gd name="connsiteX3" fmla="*/ 3998990 w 4009217"/>
                <a:gd name="connsiteY3" fmla="*/ 4268999 h 4295590"/>
                <a:gd name="connsiteX4" fmla="*/ 30683 w 4009217"/>
                <a:gd name="connsiteY4" fmla="*/ 4268999 h 4295590"/>
                <a:gd name="connsiteX0" fmla="*/ 2536444 w 3976489"/>
                <a:gd name="connsiteY0" fmla="*/ 0 h 4238316"/>
                <a:gd name="connsiteX1" fmla="*/ 3976489 w 3976489"/>
                <a:gd name="connsiteY1" fmla="*/ 241371 h 4238316"/>
                <a:gd name="connsiteX2" fmla="*/ 3968307 w 3976489"/>
                <a:gd name="connsiteY2" fmla="*/ 4238316 h 4238316"/>
                <a:gd name="connsiteX3" fmla="*/ 0 w 3976489"/>
                <a:gd name="connsiteY3" fmla="*/ 4238316 h 4238316"/>
                <a:gd name="connsiteX0" fmla="*/ 2536444 w 3976489"/>
                <a:gd name="connsiteY0" fmla="*/ 0 h 4238316"/>
                <a:gd name="connsiteX1" fmla="*/ 3976489 w 3976489"/>
                <a:gd name="connsiteY1" fmla="*/ 213683 h 4238316"/>
                <a:gd name="connsiteX2" fmla="*/ 3968307 w 3976489"/>
                <a:gd name="connsiteY2" fmla="*/ 4238316 h 4238316"/>
                <a:gd name="connsiteX3" fmla="*/ 0 w 3976489"/>
                <a:gd name="connsiteY3" fmla="*/ 4238316 h 4238316"/>
                <a:gd name="connsiteX0" fmla="*/ 2473335 w 3976489"/>
                <a:gd name="connsiteY0" fmla="*/ 0 h 4035268"/>
                <a:gd name="connsiteX1" fmla="*/ 3976489 w 3976489"/>
                <a:gd name="connsiteY1" fmla="*/ 10635 h 4035268"/>
                <a:gd name="connsiteX2" fmla="*/ 3968307 w 3976489"/>
                <a:gd name="connsiteY2" fmla="*/ 4035268 h 4035268"/>
                <a:gd name="connsiteX3" fmla="*/ 0 w 3976489"/>
                <a:gd name="connsiteY3" fmla="*/ 4035268 h 4035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76489" h="4035268">
                  <a:moveTo>
                    <a:pt x="2473335" y="0"/>
                  </a:moveTo>
                  <a:lnTo>
                    <a:pt x="3976489" y="10635"/>
                  </a:lnTo>
                  <a:cubicBezTo>
                    <a:pt x="3973762" y="1342950"/>
                    <a:pt x="3971034" y="2702953"/>
                    <a:pt x="3968307" y="4035268"/>
                  </a:cubicBezTo>
                  <a:lnTo>
                    <a:pt x="0" y="4035268"/>
                  </a:lnTo>
                </a:path>
              </a:pathLst>
            </a:custGeom>
            <a:solidFill>
              <a:srgbClr val="999999">
                <a:alpha val="1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6" name="그림 개체 틀 2">
            <a:extLst>
              <a:ext uri="{FF2B5EF4-FFF2-40B4-BE49-F238E27FC236}">
                <a16:creationId xmlns:a16="http://schemas.microsoft.com/office/drawing/2014/main" id="{64B25DB6-835E-4C42-B6ED-3C69DB29AD1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776996" y="1772575"/>
            <a:ext cx="4679027" cy="284612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en-US" altLang="ko-KR"/>
              <a:t>Place Your Picture Here And Send To Back</a:t>
            </a:r>
            <a:endParaRPr lang="ko-KR" altLang="en-US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94E4B220-F13F-4399-A985-9091E84BCEE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/>
              <a:t>BASIC LAYOUT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5CEEFBF-292E-495F-BB21-82A3E7605A30}"/>
              </a:ext>
            </a:extLst>
          </p:cNvPr>
          <p:cNvGrpSpPr/>
          <p:nvPr userDrawn="1"/>
        </p:nvGrpSpPr>
        <p:grpSpPr>
          <a:xfrm rot="5400000">
            <a:off x="5981671" y="5720329"/>
            <a:ext cx="228658" cy="1691575"/>
            <a:chOff x="7316420" y="1861156"/>
            <a:chExt cx="689857" cy="5103452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E0120445-9D2E-4C38-8C0F-33C6328651CD}"/>
                </a:ext>
              </a:extLst>
            </p:cNvPr>
            <p:cNvSpPr/>
            <p:nvPr/>
          </p:nvSpPr>
          <p:spPr>
            <a:xfrm>
              <a:off x="7316420" y="1861156"/>
              <a:ext cx="689857" cy="689857"/>
            </a:xfrm>
            <a:prstGeom prst="ellipse">
              <a:avLst/>
            </a:prstGeom>
            <a:solidFill>
              <a:schemeClr val="accent5"/>
            </a:solidFill>
            <a:ln w="63500">
              <a:noFill/>
            </a:ln>
            <a:effectLst>
              <a:innerShdw blurRad="101600" dist="88900" dir="13500000">
                <a:prstClr val="black">
                  <a:alpha val="56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>
                <a:cs typeface="Arial" pitchFamily="34" charset="0"/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4B27002C-0EA3-441D-8EE5-2A664BC84F29}"/>
                </a:ext>
              </a:extLst>
            </p:cNvPr>
            <p:cNvSpPr/>
            <p:nvPr/>
          </p:nvSpPr>
          <p:spPr>
            <a:xfrm>
              <a:off x="7316420" y="2743875"/>
              <a:ext cx="689857" cy="689857"/>
            </a:xfrm>
            <a:prstGeom prst="ellipse">
              <a:avLst/>
            </a:prstGeom>
            <a:solidFill>
              <a:schemeClr val="accent4"/>
            </a:solidFill>
            <a:ln w="63500">
              <a:noFill/>
            </a:ln>
            <a:effectLst>
              <a:innerShdw blurRad="101600" dist="88900" dir="13500000">
                <a:prstClr val="black">
                  <a:alpha val="56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>
                <a:cs typeface="Arial" pitchFamily="34" charset="0"/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C6D07AB3-E8A0-491A-8859-5F26088CA6BC}"/>
                </a:ext>
              </a:extLst>
            </p:cNvPr>
            <p:cNvSpPr/>
            <p:nvPr/>
          </p:nvSpPr>
          <p:spPr>
            <a:xfrm>
              <a:off x="7316420" y="3626594"/>
              <a:ext cx="689857" cy="689857"/>
            </a:xfrm>
            <a:prstGeom prst="ellipse">
              <a:avLst/>
            </a:prstGeom>
            <a:solidFill>
              <a:schemeClr val="accent3"/>
            </a:solidFill>
            <a:ln w="63500">
              <a:noFill/>
            </a:ln>
            <a:effectLst>
              <a:innerShdw blurRad="101600" dist="88900" dir="13500000">
                <a:prstClr val="black">
                  <a:alpha val="56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>
                <a:cs typeface="Arial" pitchFamily="34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8446FD9E-F308-440E-B090-CBC9FC7EE219}"/>
                </a:ext>
              </a:extLst>
            </p:cNvPr>
            <p:cNvSpPr/>
            <p:nvPr/>
          </p:nvSpPr>
          <p:spPr>
            <a:xfrm>
              <a:off x="7316420" y="4509313"/>
              <a:ext cx="689857" cy="689857"/>
            </a:xfrm>
            <a:prstGeom prst="ellipse">
              <a:avLst/>
            </a:prstGeom>
            <a:solidFill>
              <a:schemeClr val="accent2"/>
            </a:solidFill>
            <a:ln w="63500">
              <a:noFill/>
            </a:ln>
            <a:effectLst>
              <a:innerShdw blurRad="101600" dist="88900" dir="13500000">
                <a:prstClr val="black">
                  <a:alpha val="56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>
                <a:cs typeface="Arial" pitchFamily="34" charset="0"/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06C1D924-6DAE-4F41-9584-1AA770C6A40F}"/>
                </a:ext>
              </a:extLst>
            </p:cNvPr>
            <p:cNvSpPr/>
            <p:nvPr/>
          </p:nvSpPr>
          <p:spPr>
            <a:xfrm>
              <a:off x="7316420" y="5392032"/>
              <a:ext cx="689857" cy="689857"/>
            </a:xfrm>
            <a:prstGeom prst="ellipse">
              <a:avLst/>
            </a:prstGeom>
            <a:solidFill>
              <a:schemeClr val="accent1"/>
            </a:solidFill>
            <a:ln w="63500">
              <a:noFill/>
            </a:ln>
            <a:effectLst>
              <a:innerShdw blurRad="101600" dist="88900" dir="13500000">
                <a:prstClr val="black">
                  <a:alpha val="56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>
                <a:cs typeface="Arial" pitchFamily="34" charset="0"/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4A545195-1C5A-4D1D-9E72-47CD0C01F8B9}"/>
                </a:ext>
              </a:extLst>
            </p:cNvPr>
            <p:cNvSpPr/>
            <p:nvPr/>
          </p:nvSpPr>
          <p:spPr>
            <a:xfrm>
              <a:off x="7316420" y="6274751"/>
              <a:ext cx="689857" cy="689857"/>
            </a:xfrm>
            <a:prstGeom prst="ellipse">
              <a:avLst/>
            </a:prstGeom>
            <a:solidFill>
              <a:schemeClr val="accent6"/>
            </a:solidFill>
            <a:ln w="63500">
              <a:noFill/>
            </a:ln>
            <a:effectLst>
              <a:innerShdw blurRad="101600" dist="88900" dir="13500000">
                <a:prstClr val="black">
                  <a:alpha val="56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4465282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590217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604DD1-A7F9-8247-B62A-019BC07C05A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941341"/>
            <a:ext cx="5158800" cy="3980135"/>
          </a:xfrm>
        </p:spPr>
        <p:txBody>
          <a:bodyPr>
            <a:noAutofit/>
          </a:bodyPr>
          <a:lstStyle>
            <a:lvl1pPr>
              <a:defRPr sz="1400" b="0" i="0">
                <a:latin typeface="Georgia Regular" charset="0"/>
              </a:defRPr>
            </a:lvl1pPr>
            <a:lvl2pPr>
              <a:defRPr sz="1400" b="0" i="0">
                <a:latin typeface="Georgia Regular" charset="0"/>
              </a:defRPr>
            </a:lvl2pPr>
            <a:lvl3pPr>
              <a:defRPr sz="1400" b="0" i="0">
                <a:latin typeface="Georgia Regular" charset="0"/>
              </a:defRPr>
            </a:lvl3pPr>
            <a:lvl4pPr>
              <a:defRPr sz="1400" b="0" i="0">
                <a:latin typeface="Georgia Regular" charset="0"/>
              </a:defRPr>
            </a:lvl4pPr>
            <a:lvl5pPr>
              <a:defRPr sz="1400" b="0" i="0">
                <a:solidFill>
                  <a:srgbClr val="00244F"/>
                </a:solidFill>
                <a:latin typeface="Georgia Regular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B2923373-A1CA-9F4B-8553-7A6CE7940B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0153"/>
            <a:ext cx="10515600" cy="146118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970B626-7E4F-754A-A356-B0C1907190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200" y="6241691"/>
            <a:ext cx="727716" cy="210984"/>
          </a:xfrm>
          <a:prstGeom prst="rect">
            <a:avLst/>
          </a:prstGeom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1787884-E485-9C4F-A54D-9154CA538FE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195000" y="1941341"/>
            <a:ext cx="5158800" cy="3980135"/>
          </a:xfrm>
        </p:spPr>
        <p:txBody>
          <a:bodyPr>
            <a:noAutofit/>
          </a:bodyPr>
          <a:lstStyle>
            <a:lvl1pPr>
              <a:defRPr sz="1400" b="0" i="0">
                <a:latin typeface="Georgia Regular" charset="0"/>
              </a:defRPr>
            </a:lvl1pPr>
            <a:lvl2pPr>
              <a:defRPr sz="1400" b="0" i="0">
                <a:latin typeface="Georgia Regular" charset="0"/>
              </a:defRPr>
            </a:lvl2pPr>
            <a:lvl3pPr>
              <a:defRPr sz="1400" b="0" i="0">
                <a:latin typeface="Georgia Regular" charset="0"/>
              </a:defRPr>
            </a:lvl3pPr>
            <a:lvl4pPr>
              <a:defRPr sz="1400" b="0" i="0">
                <a:latin typeface="Georgia Regular" charset="0"/>
              </a:defRPr>
            </a:lvl4pPr>
            <a:lvl5pPr>
              <a:defRPr sz="1400" b="0" i="0">
                <a:solidFill>
                  <a:srgbClr val="00244F"/>
                </a:solidFill>
                <a:latin typeface="Georgia Regular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3F448891-BC47-C24A-A3FD-87AC5C3D060F}"/>
              </a:ext>
            </a:extLst>
          </p:cNvPr>
          <p:cNvSpPr/>
          <p:nvPr userDrawn="1"/>
        </p:nvSpPr>
        <p:spPr>
          <a:xfrm>
            <a:off x="10819646" y="6117550"/>
            <a:ext cx="534154" cy="534154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>
              <a:latin typeface="Georgia Regular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8E3BC13-D55D-CF4C-93E9-1097F918E7CD}"/>
              </a:ext>
            </a:extLst>
          </p:cNvPr>
          <p:cNvSpPr txBox="1"/>
          <p:nvPr userDrawn="1"/>
        </p:nvSpPr>
        <p:spPr>
          <a:xfrm>
            <a:off x="10896223" y="6269211"/>
            <a:ext cx="381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1DBE37EB-5830-6541-81BA-748AEB24FC36}" type="slidenum">
              <a:rPr lang="en-US" sz="900" b="1" i="0" smtClean="0">
                <a:solidFill>
                  <a:srgbClr val="00244F"/>
                </a:solidFill>
                <a:latin typeface="Arial Bold" charset="0"/>
              </a:rPr>
              <a:t>‹#›</a:t>
            </a:fld>
            <a:endParaRPr lang="en-US" sz="900" b="1" i="0">
              <a:solidFill>
                <a:srgbClr val="00244F"/>
              </a:solidFill>
              <a:latin typeface="Arial 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602066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0240615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NG sets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2482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/>
              <a:t>PNG &amp; Shapes Layout</a:t>
            </a:r>
          </a:p>
        </p:txBody>
      </p:sp>
    </p:spTree>
    <p:extLst>
      <p:ext uri="{BB962C8B-B14F-4D97-AF65-F5344CB8AC3E}">
        <p14:creationId xmlns:p14="http://schemas.microsoft.com/office/powerpoint/2010/main" val="257065881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con s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123478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/>
              <a:t>Icon Sets Layout</a:t>
            </a:r>
          </a:p>
        </p:txBody>
      </p:sp>
      <p:sp>
        <p:nvSpPr>
          <p:cNvPr id="3" name="Rounded Rectangle 2"/>
          <p:cNvSpPr/>
          <p:nvPr userDrawn="1"/>
        </p:nvSpPr>
        <p:spPr>
          <a:xfrm>
            <a:off x="354010" y="1131591"/>
            <a:ext cx="3560767" cy="5402561"/>
          </a:xfrm>
          <a:prstGeom prst="roundRect">
            <a:avLst>
              <a:gd name="adj" fmla="val 396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/>
          </a:p>
        </p:txBody>
      </p:sp>
      <p:sp>
        <p:nvSpPr>
          <p:cNvPr id="4" name="Rounded Rectangle 3"/>
          <p:cNvSpPr/>
          <p:nvPr userDrawn="1"/>
        </p:nvSpPr>
        <p:spPr>
          <a:xfrm>
            <a:off x="531933" y="1347500"/>
            <a:ext cx="153868" cy="5015200"/>
          </a:xfrm>
          <a:prstGeom prst="roundRect">
            <a:avLst>
              <a:gd name="adj" fmla="val 50000"/>
            </a:avLst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bg1"/>
              </a:solidFill>
            </a:endParaRPr>
          </a:p>
        </p:txBody>
      </p:sp>
      <p:sp>
        <p:nvSpPr>
          <p:cNvPr id="5" name="Half Frame 4"/>
          <p:cNvSpPr/>
          <p:nvPr userDrawn="1"/>
        </p:nvSpPr>
        <p:spPr>
          <a:xfrm rot="5400000">
            <a:off x="3057177" y="1276653"/>
            <a:ext cx="685849" cy="685148"/>
          </a:xfrm>
          <a:prstGeom prst="halfFrame">
            <a:avLst>
              <a:gd name="adj1" fmla="val 23728"/>
              <a:gd name="adj2" fmla="val 24642"/>
            </a:avLst>
          </a:prstGeom>
          <a:solidFill>
            <a:schemeClr val="bg1"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644E8BB-F13A-4AE0-889E-633DE4143787}"/>
              </a:ext>
            </a:extLst>
          </p:cNvPr>
          <p:cNvSpPr txBox="1"/>
          <p:nvPr userDrawn="1"/>
        </p:nvSpPr>
        <p:spPr>
          <a:xfrm>
            <a:off x="711704" y="1637214"/>
            <a:ext cx="2232248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ou can Resize without losing quality</a:t>
            </a:r>
            <a:endParaRPr lang="ko-KR" altLang="en-US" sz="1400" b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2CE2B8B-ED32-491A-95B2-D28904BC432C}"/>
              </a:ext>
            </a:extLst>
          </p:cNvPr>
          <p:cNvSpPr txBox="1"/>
          <p:nvPr userDrawn="1"/>
        </p:nvSpPr>
        <p:spPr>
          <a:xfrm>
            <a:off x="711704" y="2127463"/>
            <a:ext cx="2232248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ou can Change Fill Color &amp;</a:t>
            </a:r>
          </a:p>
          <a:p>
            <a:r>
              <a:rPr lang="en-US" altLang="ko-KR" sz="14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ine Color</a:t>
            </a:r>
            <a:endParaRPr lang="ko-KR" altLang="en-US" sz="1400" b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62A52DF-2523-4479-BFA3-B5ACE9887E1C}"/>
              </a:ext>
            </a:extLst>
          </p:cNvPr>
          <p:cNvSpPr txBox="1"/>
          <p:nvPr userDrawn="1"/>
        </p:nvSpPr>
        <p:spPr>
          <a:xfrm>
            <a:off x="721229" y="5808438"/>
            <a:ext cx="2232000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allppt.com</a:t>
            </a:r>
            <a:endParaRPr lang="ko-KR" altLang="en-US" sz="140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BAAC314F-E96A-4408-95DE-A70E9ED054AF}"/>
              </a:ext>
            </a:extLst>
          </p:cNvPr>
          <p:cNvSpPr txBox="1"/>
          <p:nvPr userDrawn="1"/>
        </p:nvSpPr>
        <p:spPr>
          <a:xfrm>
            <a:off x="721229" y="4450324"/>
            <a:ext cx="2717296" cy="138499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2800" b="1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t>FREE </a:t>
            </a:r>
          </a:p>
          <a:p>
            <a:r>
              <a:rPr lang="en-US" altLang="ko-KR" sz="2800" b="1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t>PPT TEMPLATES</a:t>
            </a:r>
          </a:p>
        </p:txBody>
      </p:sp>
    </p:spTree>
    <p:extLst>
      <p:ext uri="{BB962C8B-B14F-4D97-AF65-F5344CB8AC3E}">
        <p14:creationId xmlns:p14="http://schemas.microsoft.com/office/powerpoint/2010/main" val="125371923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800" b="1" i="0">
                <a:solidFill>
                  <a:srgbClr val="00234F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1045"/>
              </a:lnSpc>
            </a:pPr>
            <a:r>
              <a:rPr spc="-5"/>
              <a:t>Sensitivity:</a:t>
            </a:r>
            <a:r>
              <a:rPr spc="-30"/>
              <a:t> </a:t>
            </a:r>
            <a:r>
              <a:rPr spc="-5"/>
              <a:t>CEPI</a:t>
            </a:r>
            <a:r>
              <a:rPr spc="-25"/>
              <a:t> </a:t>
            </a:r>
            <a:r>
              <a:rPr spc="-5"/>
              <a:t>Internal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13/20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chemeClr val="tx1"/>
                </a:solidFill>
                <a:latin typeface="Georgia"/>
                <a:cs typeface="Georgia"/>
              </a:defRPr>
            </a:lvl1pPr>
          </a:lstStyle>
          <a:p>
            <a:pPr marL="38100">
              <a:lnSpc>
                <a:spcPct val="100000"/>
              </a:lnSpc>
              <a:spcBef>
                <a:spcPts val="35"/>
              </a:spcBef>
            </a:pPr>
            <a:fld id="{81D60167-4931-47E6-BA6A-407CBD079E47}" type="slidenum">
              <a:rPr dirty="0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5713833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5C384CE-5538-7840-940B-750B25048A1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200" y="6241691"/>
            <a:ext cx="727716" cy="210984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FF868E3B-49D2-0F49-97C2-41AC0C1C41DF}"/>
              </a:ext>
            </a:extLst>
          </p:cNvPr>
          <p:cNvSpPr/>
          <p:nvPr userDrawn="1"/>
        </p:nvSpPr>
        <p:spPr>
          <a:xfrm>
            <a:off x="10819646" y="6117550"/>
            <a:ext cx="534154" cy="534154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>
              <a:latin typeface="Georgia Regular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06FE54-87E6-B04F-B275-8E7F1A7BB870}"/>
              </a:ext>
            </a:extLst>
          </p:cNvPr>
          <p:cNvSpPr txBox="1"/>
          <p:nvPr userDrawn="1"/>
        </p:nvSpPr>
        <p:spPr>
          <a:xfrm>
            <a:off x="10896223" y="6269211"/>
            <a:ext cx="381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1DBE37EB-5830-6541-81BA-748AEB24FC36}" type="slidenum">
              <a:rPr lang="en-US" sz="900" b="1" i="0" smtClean="0">
                <a:solidFill>
                  <a:srgbClr val="00244F"/>
                </a:solidFill>
                <a:latin typeface="Arial Bold" charset="0"/>
              </a:rPr>
              <a:t>‹#›</a:t>
            </a:fld>
            <a:endParaRPr lang="en-US" sz="900" b="1" i="0">
              <a:solidFill>
                <a:srgbClr val="00244F"/>
              </a:solidFill>
              <a:latin typeface="Arial 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64739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604DD1-A7F9-8247-B62A-019BC07C05A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941341"/>
            <a:ext cx="3355200" cy="3980135"/>
          </a:xfrm>
        </p:spPr>
        <p:txBody>
          <a:bodyPr>
            <a:noAutofit/>
          </a:bodyPr>
          <a:lstStyle>
            <a:lvl1pPr>
              <a:defRPr sz="1400" b="0" i="0">
                <a:latin typeface="Georgia Regular" charset="0"/>
              </a:defRPr>
            </a:lvl1pPr>
            <a:lvl2pPr>
              <a:defRPr sz="1400" b="0" i="0">
                <a:latin typeface="Georgia Regular" charset="0"/>
              </a:defRPr>
            </a:lvl2pPr>
            <a:lvl3pPr>
              <a:defRPr sz="1400" b="0" i="0">
                <a:latin typeface="Georgia Regular" charset="0"/>
              </a:defRPr>
            </a:lvl3pPr>
            <a:lvl4pPr>
              <a:defRPr sz="1400" b="0" i="0">
                <a:latin typeface="Georgia Regular" charset="0"/>
              </a:defRPr>
            </a:lvl4pPr>
            <a:lvl5pPr>
              <a:defRPr sz="1400" b="0" i="0">
                <a:solidFill>
                  <a:srgbClr val="00244F"/>
                </a:solidFill>
                <a:latin typeface="Georgia Regular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B2923373-A1CA-9F4B-8553-7A6CE7940B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0153"/>
            <a:ext cx="10515600" cy="146118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970B626-7E4F-754A-A356-B0C1907190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200" y="6241691"/>
            <a:ext cx="727716" cy="210984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4B38730-49A7-9E49-9410-840E46E55D5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418400" y="1941341"/>
            <a:ext cx="3355200" cy="3980135"/>
          </a:xfrm>
        </p:spPr>
        <p:txBody>
          <a:bodyPr>
            <a:noAutofit/>
          </a:bodyPr>
          <a:lstStyle>
            <a:lvl1pPr>
              <a:defRPr sz="1400" b="0" i="0">
                <a:latin typeface="Georgia Regular" charset="0"/>
              </a:defRPr>
            </a:lvl1pPr>
            <a:lvl2pPr>
              <a:defRPr sz="1400" b="0" i="0">
                <a:latin typeface="Georgia Regular" charset="0"/>
              </a:defRPr>
            </a:lvl2pPr>
            <a:lvl3pPr>
              <a:defRPr sz="1400" b="0" i="0">
                <a:latin typeface="Georgia Regular" charset="0"/>
              </a:defRPr>
            </a:lvl3pPr>
            <a:lvl4pPr>
              <a:defRPr sz="1400" b="0" i="0">
                <a:latin typeface="Georgia Regular" charset="0"/>
              </a:defRPr>
            </a:lvl4pPr>
            <a:lvl5pPr>
              <a:defRPr sz="1400" b="0" i="0">
                <a:solidFill>
                  <a:srgbClr val="00244F"/>
                </a:solidFill>
                <a:latin typeface="Georgia Regular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80D446E-852B-ED49-A946-B4BA107FFCB1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7998600" y="1941341"/>
            <a:ext cx="3355200" cy="3980135"/>
          </a:xfrm>
        </p:spPr>
        <p:txBody>
          <a:bodyPr>
            <a:noAutofit/>
          </a:bodyPr>
          <a:lstStyle>
            <a:lvl1pPr>
              <a:defRPr sz="1400" b="0" i="0">
                <a:latin typeface="Georgia Regular" charset="0"/>
              </a:defRPr>
            </a:lvl1pPr>
            <a:lvl2pPr>
              <a:defRPr sz="1400" b="0" i="0">
                <a:latin typeface="Georgia Regular" charset="0"/>
              </a:defRPr>
            </a:lvl2pPr>
            <a:lvl3pPr>
              <a:defRPr sz="1400" b="0" i="0">
                <a:latin typeface="Georgia Regular" charset="0"/>
              </a:defRPr>
            </a:lvl3pPr>
            <a:lvl4pPr>
              <a:defRPr sz="1400" b="0" i="0">
                <a:latin typeface="Georgia Regular" charset="0"/>
              </a:defRPr>
            </a:lvl4pPr>
            <a:lvl5pPr>
              <a:defRPr sz="1400" b="0" i="0">
                <a:solidFill>
                  <a:srgbClr val="00244F"/>
                </a:solidFill>
                <a:latin typeface="Georgia Regular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BCFDD99A-DE8F-AD41-A7AC-F84E975C4200}"/>
              </a:ext>
            </a:extLst>
          </p:cNvPr>
          <p:cNvSpPr/>
          <p:nvPr userDrawn="1"/>
        </p:nvSpPr>
        <p:spPr>
          <a:xfrm>
            <a:off x="10819646" y="6117550"/>
            <a:ext cx="534154" cy="534154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>
              <a:latin typeface="Georgia Regular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3CDE5D4-BA45-784B-8D6C-0EBB00A5703B}"/>
              </a:ext>
            </a:extLst>
          </p:cNvPr>
          <p:cNvSpPr txBox="1"/>
          <p:nvPr userDrawn="1"/>
        </p:nvSpPr>
        <p:spPr>
          <a:xfrm>
            <a:off x="10896223" y="6269211"/>
            <a:ext cx="381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1DBE37EB-5830-6541-81BA-748AEB24FC36}" type="slidenum">
              <a:rPr lang="en-US" sz="900" b="1" i="0" smtClean="0">
                <a:solidFill>
                  <a:srgbClr val="00244F"/>
                </a:solidFill>
                <a:latin typeface="Arial Bold" charset="0"/>
              </a:rPr>
              <a:t>‹#›</a:t>
            </a:fld>
            <a:endParaRPr lang="en-US" sz="900" b="1" i="0">
              <a:solidFill>
                <a:srgbClr val="00244F"/>
              </a:solidFill>
              <a:latin typeface="Arial 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69964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604DD1-A7F9-8247-B62A-019BC07C05A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941341"/>
            <a:ext cx="5158800" cy="3980135"/>
          </a:xfrm>
        </p:spPr>
        <p:txBody>
          <a:bodyPr>
            <a:noAutofit/>
          </a:bodyPr>
          <a:lstStyle>
            <a:lvl1pPr>
              <a:defRPr sz="1400" b="0" i="0">
                <a:latin typeface="Georgia Regular" charset="0"/>
              </a:defRPr>
            </a:lvl1pPr>
            <a:lvl2pPr>
              <a:defRPr sz="1400" b="0" i="0">
                <a:latin typeface="Georgia Regular" charset="0"/>
              </a:defRPr>
            </a:lvl2pPr>
            <a:lvl3pPr>
              <a:defRPr sz="1400" b="0" i="0">
                <a:latin typeface="Georgia Regular" charset="0"/>
              </a:defRPr>
            </a:lvl3pPr>
            <a:lvl4pPr>
              <a:defRPr sz="1400" b="0" i="0">
                <a:latin typeface="Georgia Regular" charset="0"/>
              </a:defRPr>
            </a:lvl4pPr>
            <a:lvl5pPr>
              <a:defRPr sz="1400" b="0" i="0">
                <a:solidFill>
                  <a:srgbClr val="00244F"/>
                </a:solidFill>
                <a:latin typeface="Georgia Regular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B2923373-A1CA-9F4B-8553-7A6CE7940B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0153"/>
            <a:ext cx="10515600" cy="146118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970B626-7E4F-754A-A356-B0C1907190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200" y="6241691"/>
            <a:ext cx="727716" cy="210984"/>
          </a:xfrm>
          <a:prstGeom prst="rect">
            <a:avLst/>
          </a:prstGeom>
        </p:spPr>
      </p:pic>
      <p:sp>
        <p:nvSpPr>
          <p:cNvPr id="11" name="Oval 10">
            <a:extLst>
              <a:ext uri="{FF2B5EF4-FFF2-40B4-BE49-F238E27FC236}">
                <a16:creationId xmlns:a16="http://schemas.microsoft.com/office/drawing/2014/main" id="{5B5DD371-5FB8-9642-8ACD-DC6D1B5B0EDD}"/>
              </a:ext>
            </a:extLst>
          </p:cNvPr>
          <p:cNvSpPr/>
          <p:nvPr userDrawn="1"/>
        </p:nvSpPr>
        <p:spPr>
          <a:xfrm>
            <a:off x="10819646" y="6117550"/>
            <a:ext cx="534154" cy="534154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>
              <a:latin typeface="Georgia Regular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D80AD8-B2BE-884D-9E1D-4EB3E1EF5856}"/>
              </a:ext>
            </a:extLst>
          </p:cNvPr>
          <p:cNvSpPr txBox="1"/>
          <p:nvPr userDrawn="1"/>
        </p:nvSpPr>
        <p:spPr>
          <a:xfrm>
            <a:off x="10896223" y="6269211"/>
            <a:ext cx="381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1DBE37EB-5830-6541-81BA-748AEB24FC36}" type="slidenum">
              <a:rPr lang="en-US" sz="900" b="1" i="0" smtClean="0">
                <a:solidFill>
                  <a:srgbClr val="00244F"/>
                </a:solidFill>
                <a:latin typeface="Arial Bold" charset="0"/>
              </a:rPr>
              <a:t>‹#›</a:t>
            </a:fld>
            <a:endParaRPr lang="en-US" sz="900" b="1" i="0">
              <a:solidFill>
                <a:srgbClr val="00244F"/>
              </a:solidFill>
              <a:latin typeface="Arial 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75086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527FE7-115D-4249-92B6-224F57994E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885071"/>
            <a:ext cx="10514012" cy="620004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2100" b="1" i="0">
                <a:latin typeface="Arial Bold" charset="0"/>
                <a:ea typeface="Arial Bold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8C71B1D-1B2B-E843-BDB1-6BDF94DB65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10514012" cy="3684588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8A034551-9716-EF48-9F0F-2B3315E0F7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0153"/>
            <a:ext cx="10515600" cy="140491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2F47CE1-9EDA-1443-878F-01A629D8242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200" y="6241691"/>
            <a:ext cx="727716" cy="210984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EEDB89C5-883D-0240-8BB6-F3C53F6B5F34}"/>
              </a:ext>
            </a:extLst>
          </p:cNvPr>
          <p:cNvSpPr/>
          <p:nvPr userDrawn="1"/>
        </p:nvSpPr>
        <p:spPr>
          <a:xfrm>
            <a:off x="10819646" y="6117550"/>
            <a:ext cx="534154" cy="534154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>
              <a:latin typeface="Georgia Regular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C5472D2-85C0-AA4C-8A76-D1706C034C27}"/>
              </a:ext>
            </a:extLst>
          </p:cNvPr>
          <p:cNvSpPr txBox="1"/>
          <p:nvPr userDrawn="1"/>
        </p:nvSpPr>
        <p:spPr>
          <a:xfrm>
            <a:off x="10896223" y="6269211"/>
            <a:ext cx="381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1DBE37EB-5830-6541-81BA-748AEB24FC36}" type="slidenum">
              <a:rPr lang="en-US" sz="900" b="1" i="0" smtClean="0">
                <a:solidFill>
                  <a:srgbClr val="00244F"/>
                </a:solidFill>
                <a:latin typeface="Arial Bold" charset="0"/>
              </a:rPr>
              <a:t>‹#›</a:t>
            </a:fld>
            <a:endParaRPr lang="en-US" sz="900" b="1" i="0">
              <a:solidFill>
                <a:srgbClr val="00244F"/>
              </a:solidFill>
              <a:latin typeface="Arial 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73232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26" Type="http://schemas.openxmlformats.org/officeDocument/2006/relationships/tags" Target="../tags/tag4.xml"/><Relationship Id="rId3" Type="http://schemas.openxmlformats.org/officeDocument/2006/relationships/slideLayout" Target="../slideLayouts/slideLayout25.xml"/><Relationship Id="rId21" Type="http://schemas.openxmlformats.org/officeDocument/2006/relationships/slideLayout" Target="../slideLayouts/slideLayout43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vmlDrawing" Target="../drawings/vmlDrawing2.v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theme" Target="../theme/theme2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Relationship Id="rId27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18" Type="http://schemas.openxmlformats.org/officeDocument/2006/relationships/slideLayout" Target="../slideLayouts/slideLayout62.xml"/><Relationship Id="rId3" Type="http://schemas.openxmlformats.org/officeDocument/2006/relationships/slideLayout" Target="../slideLayouts/slideLayout47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61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20" Type="http://schemas.openxmlformats.org/officeDocument/2006/relationships/slideLayout" Target="../slideLayouts/slideLayout64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24" Type="http://schemas.openxmlformats.org/officeDocument/2006/relationships/oleObject" Target="../embeddings/oleObject3.bin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54.xml"/><Relationship Id="rId19" Type="http://schemas.openxmlformats.org/officeDocument/2006/relationships/slideLayout" Target="../slideLayouts/slideLayout63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Relationship Id="rId22" Type="http://schemas.openxmlformats.org/officeDocument/2006/relationships/vmlDrawing" Target="../drawings/vmlDrawing3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9ADF14C-D670-4902-A67A-024E5C33FA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883264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26" imgW="395" imgH="394" progId="TCLayout.ActiveDocument.1">
                  <p:embed/>
                </p:oleObj>
              </mc:Choice>
              <mc:Fallback>
                <p:oleObj name="think-cell Slide" r:id="rId26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9ADF14C-D670-4902-A67A-024E5C33FA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FE9C07E-5420-EF40-AC97-E77FE1C8B8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0153"/>
            <a:ext cx="10515600" cy="12290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67C93B-83D2-7640-9404-040309C16C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941341"/>
            <a:ext cx="10515600" cy="398013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B079677-BD5A-4FFE-BD32-43F27FDAA672}"/>
              </a:ext>
            </a:extLst>
          </p:cNvPr>
          <p:cNvSpPr txBox="1"/>
          <p:nvPr userDrawn="1">
            <p:extLst>
              <p:ext uri="{1162E1C5-73C7-4A58-AE30-91384D911F3F}">
                <p184:classification xmlns="" xmlns:p184="http://schemas.microsoft.com/office/powerpoint/2018/4/main" val="ftr"/>
              </p:ext>
            </p:extLst>
          </p:nvPr>
        </p:nvSpPr>
        <p:spPr>
          <a:xfrm>
            <a:off x="0" y="6705600"/>
            <a:ext cx="1274763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nsitivity: CEPI Internal</a:t>
            </a:r>
          </a:p>
        </p:txBody>
      </p:sp>
    </p:spTree>
    <p:extLst>
      <p:ext uri="{BB962C8B-B14F-4D97-AF65-F5344CB8AC3E}">
        <p14:creationId xmlns:p14="http://schemas.microsoft.com/office/powerpoint/2010/main" val="35845170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77" r:id="rId2"/>
    <p:sldLayoutId id="2147483663" r:id="rId3"/>
    <p:sldLayoutId id="2147483678" r:id="rId4"/>
    <p:sldLayoutId id="2147483650" r:id="rId5"/>
    <p:sldLayoutId id="2147483666" r:id="rId6"/>
    <p:sldLayoutId id="2147483667" r:id="rId7"/>
    <p:sldLayoutId id="2147483668" r:id="rId8"/>
    <p:sldLayoutId id="2147483665" r:id="rId9"/>
    <p:sldLayoutId id="2147483653" r:id="rId10"/>
    <p:sldLayoutId id="2147483664" r:id="rId11"/>
    <p:sldLayoutId id="2147483669" r:id="rId12"/>
    <p:sldLayoutId id="2147483671" r:id="rId13"/>
    <p:sldLayoutId id="2147483676" r:id="rId14"/>
    <p:sldLayoutId id="2147483675" r:id="rId15"/>
    <p:sldLayoutId id="2147483662" r:id="rId16"/>
    <p:sldLayoutId id="2147483672" r:id="rId17"/>
    <p:sldLayoutId id="2147483670" r:id="rId18"/>
    <p:sldLayoutId id="2147483674" r:id="rId19"/>
    <p:sldLayoutId id="2147483655" r:id="rId20"/>
    <p:sldLayoutId id="2147483673" r:id="rId21"/>
    <p:sldLayoutId id="2147483661" r:id="rId2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rgbClr val="00244F"/>
          </a:solidFill>
          <a:latin typeface="Arial Bold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1400" b="0" i="0" kern="1200">
          <a:solidFill>
            <a:srgbClr val="00244F"/>
          </a:solidFill>
          <a:latin typeface="Georgia Regular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rgbClr val="00244F"/>
          </a:solidFill>
          <a:latin typeface="Georgia Regular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rgbClr val="00244F"/>
          </a:solidFill>
          <a:latin typeface="Georgia Regular" charset="0"/>
          <a:ea typeface="+mn-ea"/>
          <a:cs typeface="+mn-cs"/>
        </a:defRPr>
      </a:lvl3pPr>
      <a:lvl4pPr marL="1543050" marR="0" indent="-171450" algn="l" defTabSz="914400" rtl="0" eaLnBrk="1" fontAlgn="auto" latinLnBrk="0" hangingPunct="1">
        <a:lnSpc>
          <a:spcPct val="12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b="0" i="0" kern="1200">
          <a:solidFill>
            <a:srgbClr val="00244F"/>
          </a:solidFill>
          <a:latin typeface="Georgia Regular" charset="0"/>
          <a:ea typeface="+mn-ea"/>
          <a:cs typeface="+mn-cs"/>
        </a:defRPr>
      </a:lvl4pPr>
      <a:lvl5pPr marL="2114550" marR="0" indent="-228600" algn="l" defTabSz="914400" rtl="0" eaLnBrk="1" fontAlgn="auto" latinLnBrk="0" hangingPunct="1">
        <a:lnSpc>
          <a:spcPct val="12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b="0" i="0" kern="1200">
          <a:solidFill>
            <a:srgbClr val="00244F"/>
          </a:solidFill>
          <a:latin typeface="Georgia Regular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4BE3D18-2356-4716-949B-F913FD9CDC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93644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27" imgW="395" imgH="394" progId="TCLayout.ActiveDocument.1">
                  <p:embed/>
                </p:oleObj>
              </mc:Choice>
              <mc:Fallback>
                <p:oleObj name="think-cell Slide" r:id="rId2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4BE3D18-2356-4716-949B-F913FD9CDC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A88D4B8-10F5-40AD-84D7-A2F1CBCD4B14}"/>
              </a:ext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latin typeface="Arial Bold"/>
              <a:ea typeface="+mj-ea"/>
              <a:cs typeface="+mj-cs"/>
              <a:sym typeface="Arial Bold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FE9C07E-5420-EF40-AC97-E77FE1C8B8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0153"/>
            <a:ext cx="10515600" cy="12290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67C93B-83D2-7640-9404-040309C16C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941341"/>
            <a:ext cx="10515600" cy="398013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26480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  <p:sldLayoutId id="2147483694" r:id="rId15"/>
    <p:sldLayoutId id="2147483695" r:id="rId16"/>
    <p:sldLayoutId id="2147483696" r:id="rId17"/>
    <p:sldLayoutId id="2147483697" r:id="rId18"/>
    <p:sldLayoutId id="2147483698" r:id="rId19"/>
    <p:sldLayoutId id="2147483699" r:id="rId20"/>
    <p:sldLayoutId id="2147483700" r:id="rId21"/>
    <p:sldLayoutId id="2147483701" r:id="rId2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rgbClr val="00244F"/>
          </a:solidFill>
          <a:latin typeface="Arial Bold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1400" b="0" i="0" kern="1200">
          <a:solidFill>
            <a:srgbClr val="00244F"/>
          </a:solidFill>
          <a:latin typeface="Georgia Regular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rgbClr val="00244F"/>
          </a:solidFill>
          <a:latin typeface="Georgia Regular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rgbClr val="00244F"/>
          </a:solidFill>
          <a:latin typeface="Georgia Regular" charset="0"/>
          <a:ea typeface="+mn-ea"/>
          <a:cs typeface="+mn-cs"/>
        </a:defRPr>
      </a:lvl3pPr>
      <a:lvl4pPr marL="1543050" marR="0" indent="-171450" algn="l" defTabSz="914400" rtl="0" eaLnBrk="1" fontAlgn="auto" latinLnBrk="0" hangingPunct="1">
        <a:lnSpc>
          <a:spcPct val="12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b="0" i="0" kern="1200">
          <a:solidFill>
            <a:srgbClr val="00244F"/>
          </a:solidFill>
          <a:latin typeface="Georgia Regular" charset="0"/>
          <a:ea typeface="+mn-ea"/>
          <a:cs typeface="+mn-cs"/>
        </a:defRPr>
      </a:lvl4pPr>
      <a:lvl5pPr marL="2114550" marR="0" indent="-228600" algn="l" defTabSz="914400" rtl="0" eaLnBrk="1" fontAlgn="auto" latinLnBrk="0" hangingPunct="1">
        <a:lnSpc>
          <a:spcPct val="12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b="0" i="0" kern="1200">
          <a:solidFill>
            <a:srgbClr val="00244F"/>
          </a:solidFill>
          <a:latin typeface="Georgia Regular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84C7BFE-D9F8-433E-8BD0-99A610004A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113915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24" imgW="395" imgH="394" progId="TCLayout.ActiveDocument.1">
                  <p:embed/>
                </p:oleObj>
              </mc:Choice>
              <mc:Fallback>
                <p:oleObj name="think-cell Slide" r:id="rId2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84C7BFE-D9F8-433E-8BD0-99A610004A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SIPCMContentMarking" descr="{&quot;HashCode&quot;:-1194167326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7CBD9AE0-E6A2-468D-A683-3E7E92F15502}"/>
              </a:ext>
            </a:extLst>
          </p:cNvPr>
          <p:cNvSpPr txBox="1"/>
          <p:nvPr userDrawn="1"/>
        </p:nvSpPr>
        <p:spPr>
          <a:xfrm>
            <a:off x="0" y="6595656"/>
            <a:ext cx="1547702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Sensitivity: CEPI Internal</a:t>
            </a:r>
          </a:p>
        </p:txBody>
      </p:sp>
    </p:spTree>
    <p:extLst>
      <p:ext uri="{BB962C8B-B14F-4D97-AF65-F5344CB8AC3E}">
        <p14:creationId xmlns:p14="http://schemas.microsoft.com/office/powerpoint/2010/main" val="33377864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  <p:sldLayoutId id="2147483718" r:id="rId16"/>
    <p:sldLayoutId id="2147483719" r:id="rId17"/>
    <p:sldLayoutId id="2147483720" r:id="rId18"/>
    <p:sldLayoutId id="2147483748" r:id="rId19"/>
    <p:sldLayoutId id="2147483749" r:id="rId2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elancet.com/journals/lancet/article/PIIS0140-6736(21)00982-X/fulltext#articleInformation" TargetMode="External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4.xml"/><Relationship Id="rId6" Type="http://schemas.openxmlformats.org/officeDocument/2006/relationships/hyperlink" Target="http://www.cepi.net/" TargetMode="Externa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63.xml"/><Relationship Id="rId4" Type="http://schemas.openxmlformats.org/officeDocument/2006/relationships/image" Target="../media/image36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s://cepi.net/get_involved/cfps/" TargetMode="External"/><Relationship Id="rId2" Type="http://schemas.openxmlformats.org/officeDocument/2006/relationships/hyperlink" Target="https://epi.tghn.org/covax-overview/enabling-sciences/central-lab-network/#ref1" TargetMode="Externa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7.jpeg"/><Relationship Id="rId5" Type="http://schemas.openxmlformats.org/officeDocument/2006/relationships/hyperlink" Target="mailto:centralizedlab@cepi.net" TargetMode="External"/><Relationship Id="rId4" Type="http://schemas.openxmlformats.org/officeDocument/2006/relationships/hyperlink" Target="https://cepi.net/research_dev/priority-diseases/" TargetMode="Externa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9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1.jpeg"/><Relationship Id="rId7" Type="http://schemas.openxmlformats.org/officeDocument/2006/relationships/image" Target="../media/image25.jpe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24.png"/><Relationship Id="rId11" Type="http://schemas.openxmlformats.org/officeDocument/2006/relationships/image" Target="../media/image29.png"/><Relationship Id="rId5" Type="http://schemas.openxmlformats.org/officeDocument/2006/relationships/image" Target="../media/image23.jpeg"/><Relationship Id="rId10" Type="http://schemas.openxmlformats.org/officeDocument/2006/relationships/image" Target="../media/image28.jpeg"/><Relationship Id="rId4" Type="http://schemas.openxmlformats.org/officeDocument/2006/relationships/image" Target="../media/image22.png"/><Relationship Id="rId9" Type="http://schemas.openxmlformats.org/officeDocument/2006/relationships/image" Target="../media/image27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43B4E3-8390-4D7F-8069-701FAFEE05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199" y="748007"/>
            <a:ext cx="9192492" cy="2604793"/>
          </a:xfrm>
        </p:spPr>
        <p:txBody>
          <a:bodyPr/>
          <a:lstStyle/>
          <a:p>
            <a:r>
              <a:rPr lang="en-US" sz="5400"/>
              <a:t>Expanding the CEPI Centralized Laboratory Network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E79D2EA-ED04-4C3E-AAF7-F972F4E5F7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30563" y="3603209"/>
            <a:ext cx="8187267" cy="965200"/>
          </a:xfrm>
        </p:spPr>
        <p:txBody>
          <a:bodyPr/>
          <a:lstStyle/>
          <a:p>
            <a:r>
              <a:rPr lang="en-US" dirty="0"/>
              <a:t>Webinar for the lab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BCB3F8B-4950-4BE2-B3F6-8411C72C74E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599055" y="5784019"/>
            <a:ext cx="2828619" cy="490537"/>
          </a:xfrm>
        </p:spPr>
        <p:txBody>
          <a:bodyPr/>
          <a:lstStyle/>
          <a:p>
            <a:r>
              <a:rPr lang="en-US" sz="2000">
                <a:latin typeface="Georgia Regular"/>
              </a:rPr>
              <a:t>December 2021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6592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FA3A7611-B421-4D77-9F71-46A857BB090E}"/>
              </a:ext>
            </a:extLst>
          </p:cNvPr>
          <p:cNvGrpSpPr/>
          <p:nvPr/>
        </p:nvGrpSpPr>
        <p:grpSpPr>
          <a:xfrm>
            <a:off x="2035115" y="580180"/>
            <a:ext cx="8872268" cy="2907617"/>
            <a:chOff x="739303" y="1527243"/>
            <a:chExt cx="10505871" cy="3473125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B92FE4AF-F139-4730-97AC-D79C8EC95D3F}"/>
                </a:ext>
              </a:extLst>
            </p:cNvPr>
            <p:cNvGrpSpPr/>
            <p:nvPr/>
          </p:nvGrpSpPr>
          <p:grpSpPr>
            <a:xfrm>
              <a:off x="739303" y="1527243"/>
              <a:ext cx="10505871" cy="3473125"/>
              <a:chOff x="739303" y="1527243"/>
              <a:chExt cx="10505871" cy="3473125"/>
            </a:xfrm>
          </p:grpSpPr>
          <p:pic>
            <p:nvPicPr>
              <p:cNvPr id="3" name="Picture 2">
                <a:extLst>
                  <a:ext uri="{FF2B5EF4-FFF2-40B4-BE49-F238E27FC236}">
                    <a16:creationId xmlns:a16="http://schemas.microsoft.com/office/drawing/2014/main" id="{43FA9114-CD2E-4AC9-BC65-EB9F55CD445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l="239" t="22543" r="28989" b="39149"/>
              <a:stretch/>
            </p:blipFill>
            <p:spPr>
              <a:xfrm>
                <a:off x="739303" y="1857632"/>
                <a:ext cx="10321712" cy="3142736"/>
              </a:xfrm>
              <a:prstGeom prst="rect">
                <a:avLst/>
              </a:prstGeom>
            </p:spPr>
          </p:pic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A36CEC48-387C-4FC7-A176-7F91CD200CCA}"/>
                  </a:ext>
                </a:extLst>
              </p:cNvPr>
              <p:cNvSpPr/>
              <p:nvPr/>
            </p:nvSpPr>
            <p:spPr>
              <a:xfrm>
                <a:off x="9610928" y="1527243"/>
                <a:ext cx="1634246" cy="83657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rriweather"/>
                  <a:ea typeface="+mn-ea"/>
                  <a:cs typeface="+mn-cs"/>
                </a:endParaRPr>
              </a:p>
            </p:txBody>
          </p:sp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3BBA48AB-4895-4220-8E3C-674637E17875}"/>
                  </a:ext>
                </a:extLst>
              </p:cNvPr>
              <p:cNvSpPr/>
              <p:nvPr/>
            </p:nvSpPr>
            <p:spPr>
              <a:xfrm>
                <a:off x="739303" y="3429000"/>
                <a:ext cx="750700" cy="1077012"/>
              </a:xfrm>
              <a:prstGeom prst="rect">
                <a:avLst/>
              </a:prstGeom>
              <a:solidFill>
                <a:srgbClr val="30434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rriweather"/>
                  <a:ea typeface="+mn-ea"/>
                  <a:cs typeface="+mn-cs"/>
                </a:endParaRPr>
              </a:p>
            </p:txBody>
          </p:sp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DFA9E45F-9A4F-4073-B11A-45BB694BD601}"/>
                  </a:ext>
                </a:extLst>
              </p:cNvPr>
              <p:cNvSpPr/>
              <p:nvPr/>
            </p:nvSpPr>
            <p:spPr>
              <a:xfrm>
                <a:off x="3663183" y="4646629"/>
                <a:ext cx="3567176" cy="353739"/>
              </a:xfrm>
              <a:prstGeom prst="rect">
                <a:avLst/>
              </a:prstGeom>
              <a:solidFill>
                <a:srgbClr val="46606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rriweather"/>
                  <a:ea typeface="+mn-ea"/>
                  <a:cs typeface="+mn-cs"/>
                </a:endParaRPr>
              </a:p>
            </p:txBody>
          </p:sp>
        </p:grp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0962D84-CDAF-4B6C-8CBA-B69DE15BAB3B}"/>
                </a:ext>
              </a:extLst>
            </p:cNvPr>
            <p:cNvSpPr txBox="1"/>
            <p:nvPr/>
          </p:nvSpPr>
          <p:spPr>
            <a:xfrm>
              <a:off x="3924051" y="1788978"/>
              <a:ext cx="6139048" cy="62498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244F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Merriweather"/>
                  <a:ea typeface="+mn-ea"/>
                  <a:cs typeface="+mn-cs"/>
                  <a:hlinkClick r:id="rId3">
                    <a:extLst>
                      <a:ext uri="{A12FA001-AC4F-418D-AE19-62706E023703}">
                        <ahyp:hlinkClr xmlns="" xmlns:ahyp="http://schemas.microsoft.com/office/drawing/2018/hyperlinkcolor" val="tx"/>
                      </a:ext>
                    </a:extLst>
                  </a:hlinkClick>
                </a:rPr>
                <a:t>www.thelancet.com/journals/lancet/article/PIIS0140-6736(21)00982-X/fulltext#articleInformation</a:t>
              </a: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44F">
                    <a:lumMod val="50000"/>
                    <a:lumOff val="50000"/>
                  </a:srgbClr>
                </a:solidFill>
                <a:effectLst/>
                <a:uLnTx/>
                <a:uFillTx/>
                <a:latin typeface="Merriweather"/>
                <a:ea typeface="+mn-ea"/>
                <a:cs typeface="+mn-cs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963FF6A-0AB7-4F31-B554-E0CBEFDEB403}"/>
              </a:ext>
            </a:extLst>
          </p:cNvPr>
          <p:cNvGrpSpPr/>
          <p:nvPr/>
        </p:nvGrpSpPr>
        <p:grpSpPr>
          <a:xfrm>
            <a:off x="683808" y="3607721"/>
            <a:ext cx="5463918" cy="2631024"/>
            <a:chOff x="2892559" y="3704512"/>
            <a:chExt cx="5941928" cy="2810667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73812586-90FD-4F1E-8650-A32226BB790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7785" t="24880" r="43479" b="69298"/>
            <a:stretch/>
          </p:blipFill>
          <p:spPr>
            <a:xfrm>
              <a:off x="2892559" y="3704512"/>
              <a:ext cx="5941927" cy="399282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6EFC3055-AB93-4C05-861A-9B6072C1046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7785" t="36212" r="43479" b="30309"/>
            <a:stretch/>
          </p:blipFill>
          <p:spPr>
            <a:xfrm>
              <a:off x="2892560" y="4119512"/>
              <a:ext cx="5941927" cy="2295999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1F5AC24-C9FF-41B8-8AEC-E8720C0D0684}"/>
                </a:ext>
              </a:extLst>
            </p:cNvPr>
            <p:cNvSpPr/>
            <p:nvPr/>
          </p:nvSpPr>
          <p:spPr>
            <a:xfrm>
              <a:off x="2892559" y="4309871"/>
              <a:ext cx="3012500" cy="2961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rriweather"/>
                <a:ea typeface="+mn-ea"/>
                <a:cs typeface="+mn-cs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1C163372-A14D-4B35-8AEF-1FFC6C2E9DE3}"/>
                </a:ext>
              </a:extLst>
            </p:cNvPr>
            <p:cNvSpPr/>
            <p:nvPr/>
          </p:nvSpPr>
          <p:spPr>
            <a:xfrm>
              <a:off x="5372315" y="6219037"/>
              <a:ext cx="3012500" cy="2961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rriweather"/>
                <a:ea typeface="+mn-ea"/>
                <a:cs typeface="+mn-cs"/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925ACAA2-11BE-43CA-9250-F7333036D4E9}"/>
              </a:ext>
            </a:extLst>
          </p:cNvPr>
          <p:cNvSpPr txBox="1"/>
          <p:nvPr/>
        </p:nvSpPr>
        <p:spPr>
          <a:xfrm>
            <a:off x="2454598" y="3615275"/>
            <a:ext cx="60944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sng" strike="noStrike" kern="1200" cap="none" spc="0" normalizeH="0" baseline="0" noProof="0">
                <a:ln>
                  <a:noFill/>
                </a:ln>
                <a:solidFill>
                  <a:srgbClr val="00244F">
                    <a:lumMod val="50000"/>
                    <a:lumOff val="50000"/>
                  </a:srgbClr>
                </a:solidFill>
                <a:effectLst/>
                <a:uLnTx/>
                <a:uFillTx/>
                <a:latin typeface="Merriweather"/>
                <a:ea typeface="+mn-ea"/>
                <a:cs typeface="+mn-cs"/>
              </a:rPr>
              <a:t>www.nature.com/articles/s41541-021-00317-4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4BF5DFB9-E7C7-49BA-8599-941CD13206B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7384" t="24880" r="42629" b="38420"/>
          <a:stretch/>
        </p:blipFill>
        <p:spPr>
          <a:xfrm>
            <a:off x="6471249" y="3732022"/>
            <a:ext cx="5720751" cy="2362555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2F15F331-3A2A-4834-8C19-CBEC56BD2E4A}"/>
              </a:ext>
            </a:extLst>
          </p:cNvPr>
          <p:cNvSpPr txBox="1"/>
          <p:nvPr/>
        </p:nvSpPr>
        <p:spPr>
          <a:xfrm>
            <a:off x="7918515" y="3584250"/>
            <a:ext cx="406295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sng" strike="noStrike" kern="1200" cap="none" spc="0" normalizeH="0" baseline="0" noProof="0">
                <a:ln>
                  <a:noFill/>
                </a:ln>
                <a:solidFill>
                  <a:srgbClr val="00244F">
                    <a:lumMod val="50000"/>
                    <a:lumOff val="50000"/>
                  </a:srgbClr>
                </a:solidFill>
                <a:effectLst/>
                <a:uLnTx/>
                <a:uFillTx/>
                <a:latin typeface="Merriweather"/>
                <a:ea typeface="+mn-ea"/>
                <a:cs typeface="+mn-cs"/>
              </a:rPr>
              <a:t>www.link.springer.com/article/10.1007/s11908-021-00752-3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E7143D5-EEEB-4B73-8C00-E6812E86B340}"/>
              </a:ext>
            </a:extLst>
          </p:cNvPr>
          <p:cNvSpPr/>
          <p:nvPr/>
        </p:nvSpPr>
        <p:spPr>
          <a:xfrm>
            <a:off x="9949991" y="5576603"/>
            <a:ext cx="2120910" cy="2916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rriweather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B3180E4-D0D7-4542-A261-EB5DE32C87D4}"/>
              </a:ext>
            </a:extLst>
          </p:cNvPr>
          <p:cNvSpPr/>
          <p:nvPr/>
        </p:nvSpPr>
        <p:spPr>
          <a:xfrm>
            <a:off x="6629417" y="5868233"/>
            <a:ext cx="2971661" cy="2772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rriweather"/>
              <a:ea typeface="+mn-ea"/>
              <a:cs typeface="+mn-cs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ADCB7FCC-02A5-4EC0-B150-6B9B382AB82F}"/>
              </a:ext>
            </a:extLst>
          </p:cNvPr>
          <p:cNvSpPr txBox="1">
            <a:spLocks/>
          </p:cNvSpPr>
          <p:nvPr/>
        </p:nvSpPr>
        <p:spPr>
          <a:xfrm>
            <a:off x="650767" y="263093"/>
            <a:ext cx="10993916" cy="139944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rgbClr val="00244F"/>
                </a:solidFill>
                <a:latin typeface="Arial Bold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>
                <a:ln>
                  <a:noFill/>
                </a:ln>
                <a:solidFill>
                  <a:srgbClr val="00244F"/>
                </a:solidFill>
                <a:effectLst/>
                <a:uLnTx/>
                <a:uFillTx/>
                <a:latin typeface="Arial Bold" charset="0"/>
                <a:ea typeface="+mj-ea"/>
                <a:cs typeface="+mj-cs"/>
              </a:rPr>
              <a:t>Read about us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rgbClr val="00244F"/>
              </a:solidFill>
              <a:effectLst/>
              <a:uLnTx/>
              <a:uFillTx/>
              <a:latin typeface="Arial Bold" charset="0"/>
              <a:ea typeface="+mj-ea"/>
              <a:cs typeface="+mj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663BA8B-E64D-4831-A337-F3A223701733}"/>
              </a:ext>
            </a:extLst>
          </p:cNvPr>
          <p:cNvSpPr txBox="1"/>
          <p:nvPr/>
        </p:nvSpPr>
        <p:spPr>
          <a:xfrm>
            <a:off x="4163505" y="6315959"/>
            <a:ext cx="38649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244F"/>
                </a:solidFill>
                <a:effectLst/>
                <a:uLnTx/>
                <a:uFillTx/>
                <a:latin typeface="Merriweather"/>
                <a:ea typeface="+mn-ea"/>
                <a:cs typeface="+mn-cs"/>
                <a:hlinkClick r:id="rId6"/>
              </a:rPr>
              <a:t>www.cepi.net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244F"/>
                </a:solidFill>
                <a:effectLst/>
                <a:uLnTx/>
                <a:uFillTx/>
                <a:latin typeface="Merriweather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897832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86166" y="364990"/>
            <a:ext cx="11258550" cy="112017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3600">
                <a:solidFill>
                  <a:srgbClr val="00244F"/>
                </a:solidFill>
                <a:latin typeface="Arial Bold" charset="0"/>
                <a:cs typeface="+mj-cs"/>
              </a:rPr>
              <a:t>CEPI’s</a:t>
            </a:r>
            <a:r>
              <a:rPr sz="3600" kern="1200">
                <a:solidFill>
                  <a:srgbClr val="00244F"/>
                </a:solidFill>
                <a:latin typeface="Arial Bold" charset="0"/>
                <a:cs typeface="+mj-cs"/>
              </a:rPr>
              <a:t> aspiration</a:t>
            </a:r>
            <a:r>
              <a:rPr lang="en-US" sz="3600" kern="1200">
                <a:solidFill>
                  <a:srgbClr val="00244F"/>
                </a:solidFill>
                <a:latin typeface="Arial Bold" charset="0"/>
                <a:cs typeface="+mj-cs"/>
              </a:rPr>
              <a:t> for the future</a:t>
            </a:r>
            <a:r>
              <a:rPr sz="3600" kern="1200">
                <a:solidFill>
                  <a:srgbClr val="00244F"/>
                </a:solidFill>
                <a:latin typeface="Arial Bold" charset="0"/>
                <a:cs typeface="+mj-cs"/>
              </a:rPr>
              <a:t>: transform the R&amp;D for preparedness and response</a:t>
            </a:r>
            <a:r>
              <a:rPr lang="en-US" sz="3600" kern="1200">
                <a:solidFill>
                  <a:srgbClr val="00244F"/>
                </a:solidFill>
                <a:latin typeface="Arial Bold" charset="0"/>
                <a:cs typeface="+mj-cs"/>
              </a:rPr>
              <a:t> – CEPI 2.0</a:t>
            </a:r>
            <a:endParaRPr sz="3600" kern="1200">
              <a:solidFill>
                <a:srgbClr val="00244F"/>
              </a:solidFill>
              <a:latin typeface="Arial Bold" charset="0"/>
              <a:cs typeface="+mj-cs"/>
            </a:endParaRPr>
          </a:p>
        </p:txBody>
      </p:sp>
      <p:grpSp>
        <p:nvGrpSpPr>
          <p:cNvPr id="3" name="object 3"/>
          <p:cNvGrpSpPr/>
          <p:nvPr/>
        </p:nvGrpSpPr>
        <p:grpSpPr>
          <a:xfrm>
            <a:off x="6627258" y="2189877"/>
            <a:ext cx="1276985" cy="1462405"/>
            <a:chOff x="2808592" y="1970214"/>
            <a:chExt cx="1276985" cy="1462405"/>
          </a:xfrm>
        </p:grpSpPr>
        <p:pic>
          <p:nvPicPr>
            <p:cNvPr id="4" name="object 4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3408199" y="2382948"/>
              <a:ext cx="75053" cy="75042"/>
            </a:xfrm>
            <a:prstGeom prst="rect">
              <a:avLst/>
            </a:prstGeom>
          </p:spPr>
        </p:pic>
        <p:pic>
          <p:nvPicPr>
            <p:cNvPr id="5" name="object 5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3408199" y="3133373"/>
              <a:ext cx="75053" cy="75042"/>
            </a:xfrm>
            <a:prstGeom prst="rect">
              <a:avLst/>
            </a:prstGeom>
          </p:spPr>
        </p:pic>
        <p:pic>
          <p:nvPicPr>
            <p:cNvPr id="6" name="object 6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3783469" y="2739399"/>
              <a:ext cx="75053" cy="75042"/>
            </a:xfrm>
            <a:prstGeom prst="rect">
              <a:avLst/>
            </a:prstGeom>
          </p:spPr>
        </p:pic>
        <p:pic>
          <p:nvPicPr>
            <p:cNvPr id="7" name="object 7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3032929" y="2739399"/>
              <a:ext cx="75053" cy="75042"/>
            </a:xfrm>
            <a:prstGeom prst="rect">
              <a:avLst/>
            </a:prstGeom>
          </p:spPr>
        </p:pic>
        <p:sp>
          <p:nvSpPr>
            <p:cNvPr id="8" name="object 8"/>
            <p:cNvSpPr/>
            <p:nvPr/>
          </p:nvSpPr>
          <p:spPr>
            <a:xfrm>
              <a:off x="2808592" y="1970214"/>
              <a:ext cx="1276985" cy="1462405"/>
            </a:xfrm>
            <a:custGeom>
              <a:avLst/>
              <a:gdLst/>
              <a:ahLst/>
              <a:cxnLst/>
              <a:rect l="l" t="t" r="r" b="b"/>
              <a:pathLst>
                <a:path w="1276985" h="1462404">
                  <a:moveTo>
                    <a:pt x="849160" y="966177"/>
                  </a:moveTo>
                  <a:lnTo>
                    <a:pt x="674649" y="791705"/>
                  </a:lnTo>
                  <a:lnTo>
                    <a:pt x="674649" y="544068"/>
                  </a:lnTo>
                  <a:lnTo>
                    <a:pt x="599605" y="544068"/>
                  </a:lnTo>
                  <a:lnTo>
                    <a:pt x="599605" y="806716"/>
                  </a:lnTo>
                  <a:lnTo>
                    <a:pt x="600303" y="813714"/>
                  </a:lnTo>
                  <a:lnTo>
                    <a:pt x="602411" y="820547"/>
                  </a:lnTo>
                  <a:lnTo>
                    <a:pt x="605929" y="827024"/>
                  </a:lnTo>
                  <a:lnTo>
                    <a:pt x="610857" y="832980"/>
                  </a:lnTo>
                  <a:lnTo>
                    <a:pt x="796620" y="1018705"/>
                  </a:lnTo>
                  <a:lnTo>
                    <a:pt x="849160" y="966177"/>
                  </a:lnTo>
                  <a:close/>
                </a:path>
                <a:path w="1276985" h="1462404">
                  <a:moveTo>
                    <a:pt x="1276642" y="841159"/>
                  </a:moveTo>
                  <a:lnTo>
                    <a:pt x="1275854" y="793915"/>
                  </a:lnTo>
                  <a:lnTo>
                    <a:pt x="1271562" y="746912"/>
                  </a:lnTo>
                  <a:lnTo>
                    <a:pt x="1263827" y="700341"/>
                  </a:lnTo>
                  <a:lnTo>
                    <a:pt x="1252664" y="654405"/>
                  </a:lnTo>
                  <a:lnTo>
                    <a:pt x="1238110" y="609307"/>
                  </a:lnTo>
                  <a:lnTo>
                    <a:pt x="1220216" y="565251"/>
                  </a:lnTo>
                  <a:lnTo>
                    <a:pt x="1199019" y="522439"/>
                  </a:lnTo>
                  <a:lnTo>
                    <a:pt x="1174534" y="481088"/>
                  </a:lnTo>
                  <a:lnTo>
                    <a:pt x="1162507" y="463854"/>
                  </a:lnTo>
                  <a:lnTo>
                    <a:pt x="1162507" y="825474"/>
                  </a:lnTo>
                  <a:lnTo>
                    <a:pt x="1160360" y="873391"/>
                  </a:lnTo>
                  <a:lnTo>
                    <a:pt x="1154061" y="920076"/>
                  </a:lnTo>
                  <a:lnTo>
                    <a:pt x="1143787" y="965352"/>
                  </a:lnTo>
                  <a:lnTo>
                    <a:pt x="1129715" y="1009040"/>
                  </a:lnTo>
                  <a:lnTo>
                    <a:pt x="1112037" y="1050950"/>
                  </a:lnTo>
                  <a:lnTo>
                    <a:pt x="1090930" y="1090904"/>
                  </a:lnTo>
                  <a:lnTo>
                    <a:pt x="1066571" y="1128712"/>
                  </a:lnTo>
                  <a:lnTo>
                    <a:pt x="1039164" y="1164196"/>
                  </a:lnTo>
                  <a:lnTo>
                    <a:pt x="1008875" y="1197165"/>
                  </a:lnTo>
                  <a:lnTo>
                    <a:pt x="975906" y="1227455"/>
                  </a:lnTo>
                  <a:lnTo>
                    <a:pt x="940409" y="1254848"/>
                  </a:lnTo>
                  <a:lnTo>
                    <a:pt x="902601" y="1279207"/>
                  </a:lnTo>
                  <a:lnTo>
                    <a:pt x="862634" y="1300302"/>
                  </a:lnTo>
                  <a:lnTo>
                    <a:pt x="820724" y="1317980"/>
                  </a:lnTo>
                  <a:lnTo>
                    <a:pt x="777024" y="1332052"/>
                  </a:lnTo>
                  <a:lnTo>
                    <a:pt x="731748" y="1342326"/>
                  </a:lnTo>
                  <a:lnTo>
                    <a:pt x="685050" y="1348625"/>
                  </a:lnTo>
                  <a:lnTo>
                    <a:pt x="637133" y="1350772"/>
                  </a:lnTo>
                  <a:lnTo>
                    <a:pt x="589203" y="1348625"/>
                  </a:lnTo>
                  <a:lnTo>
                    <a:pt x="542518" y="1342326"/>
                  </a:lnTo>
                  <a:lnTo>
                    <a:pt x="497230" y="1332052"/>
                  </a:lnTo>
                  <a:lnTo>
                    <a:pt x="453529" y="1317980"/>
                  </a:lnTo>
                  <a:lnTo>
                    <a:pt x="411619" y="1300302"/>
                  </a:lnTo>
                  <a:lnTo>
                    <a:pt x="371665" y="1279207"/>
                  </a:lnTo>
                  <a:lnTo>
                    <a:pt x="333844" y="1254848"/>
                  </a:lnTo>
                  <a:lnTo>
                    <a:pt x="298361" y="1227455"/>
                  </a:lnTo>
                  <a:lnTo>
                    <a:pt x="265379" y="1197165"/>
                  </a:lnTo>
                  <a:lnTo>
                    <a:pt x="235089" y="1164196"/>
                  </a:lnTo>
                  <a:lnTo>
                    <a:pt x="207683" y="1128712"/>
                  </a:lnTo>
                  <a:lnTo>
                    <a:pt x="183324" y="1090904"/>
                  </a:lnTo>
                  <a:lnTo>
                    <a:pt x="162217" y="1050950"/>
                  </a:lnTo>
                  <a:lnTo>
                    <a:pt x="144538" y="1009040"/>
                  </a:lnTo>
                  <a:lnTo>
                    <a:pt x="130467" y="965352"/>
                  </a:lnTo>
                  <a:lnTo>
                    <a:pt x="120192" y="920076"/>
                  </a:lnTo>
                  <a:lnTo>
                    <a:pt x="113893" y="873391"/>
                  </a:lnTo>
                  <a:lnTo>
                    <a:pt x="111747" y="825474"/>
                  </a:lnTo>
                  <a:lnTo>
                    <a:pt x="113893" y="777557"/>
                  </a:lnTo>
                  <a:lnTo>
                    <a:pt x="120192" y="730872"/>
                  </a:lnTo>
                  <a:lnTo>
                    <a:pt x="130467" y="685596"/>
                  </a:lnTo>
                  <a:lnTo>
                    <a:pt x="144538" y="641908"/>
                  </a:lnTo>
                  <a:lnTo>
                    <a:pt x="162217" y="599998"/>
                  </a:lnTo>
                  <a:lnTo>
                    <a:pt x="183324" y="560044"/>
                  </a:lnTo>
                  <a:lnTo>
                    <a:pt x="207683" y="522236"/>
                  </a:lnTo>
                  <a:lnTo>
                    <a:pt x="235089" y="486752"/>
                  </a:lnTo>
                  <a:lnTo>
                    <a:pt x="265379" y="453783"/>
                  </a:lnTo>
                  <a:lnTo>
                    <a:pt x="298361" y="423494"/>
                  </a:lnTo>
                  <a:lnTo>
                    <a:pt x="333844" y="396087"/>
                  </a:lnTo>
                  <a:lnTo>
                    <a:pt x="371665" y="371741"/>
                  </a:lnTo>
                  <a:lnTo>
                    <a:pt x="411619" y="350634"/>
                  </a:lnTo>
                  <a:lnTo>
                    <a:pt x="453529" y="332955"/>
                  </a:lnTo>
                  <a:lnTo>
                    <a:pt x="497230" y="318897"/>
                  </a:lnTo>
                  <a:lnTo>
                    <a:pt x="542518" y="308610"/>
                  </a:lnTo>
                  <a:lnTo>
                    <a:pt x="589203" y="302310"/>
                  </a:lnTo>
                  <a:lnTo>
                    <a:pt x="637133" y="300177"/>
                  </a:lnTo>
                  <a:lnTo>
                    <a:pt x="685050" y="302310"/>
                  </a:lnTo>
                  <a:lnTo>
                    <a:pt x="731748" y="308610"/>
                  </a:lnTo>
                  <a:lnTo>
                    <a:pt x="777024" y="318897"/>
                  </a:lnTo>
                  <a:lnTo>
                    <a:pt x="820724" y="332955"/>
                  </a:lnTo>
                  <a:lnTo>
                    <a:pt x="862634" y="350634"/>
                  </a:lnTo>
                  <a:lnTo>
                    <a:pt x="902601" y="371741"/>
                  </a:lnTo>
                  <a:lnTo>
                    <a:pt x="940409" y="396087"/>
                  </a:lnTo>
                  <a:lnTo>
                    <a:pt x="975906" y="423494"/>
                  </a:lnTo>
                  <a:lnTo>
                    <a:pt x="1008875" y="453783"/>
                  </a:lnTo>
                  <a:lnTo>
                    <a:pt x="1039164" y="486752"/>
                  </a:lnTo>
                  <a:lnTo>
                    <a:pt x="1066571" y="522236"/>
                  </a:lnTo>
                  <a:lnTo>
                    <a:pt x="1090930" y="560044"/>
                  </a:lnTo>
                  <a:lnTo>
                    <a:pt x="1112037" y="599998"/>
                  </a:lnTo>
                  <a:lnTo>
                    <a:pt x="1129715" y="641908"/>
                  </a:lnTo>
                  <a:lnTo>
                    <a:pt x="1143787" y="685596"/>
                  </a:lnTo>
                  <a:lnTo>
                    <a:pt x="1154061" y="730872"/>
                  </a:lnTo>
                  <a:lnTo>
                    <a:pt x="1160360" y="777557"/>
                  </a:lnTo>
                  <a:lnTo>
                    <a:pt x="1162507" y="825474"/>
                  </a:lnTo>
                  <a:lnTo>
                    <a:pt x="1162507" y="463854"/>
                  </a:lnTo>
                  <a:lnTo>
                    <a:pt x="1146822" y="441375"/>
                  </a:lnTo>
                  <a:lnTo>
                    <a:pt x="1115898" y="403517"/>
                  </a:lnTo>
                  <a:lnTo>
                    <a:pt x="1081824" y="367715"/>
                  </a:lnTo>
                  <a:lnTo>
                    <a:pt x="1138110" y="311429"/>
                  </a:lnTo>
                  <a:lnTo>
                    <a:pt x="1145108" y="300177"/>
                  </a:lnTo>
                  <a:lnTo>
                    <a:pt x="1147432" y="296418"/>
                  </a:lnTo>
                  <a:lnTo>
                    <a:pt x="1149692" y="292785"/>
                  </a:lnTo>
                  <a:lnTo>
                    <a:pt x="1148930" y="251282"/>
                  </a:lnTo>
                  <a:lnTo>
                    <a:pt x="1118387" y="220738"/>
                  </a:lnTo>
                  <a:lnTo>
                    <a:pt x="1097534" y="216217"/>
                  </a:lnTo>
                  <a:lnTo>
                    <a:pt x="1076337" y="219443"/>
                  </a:lnTo>
                  <a:lnTo>
                    <a:pt x="1057427" y="230759"/>
                  </a:lnTo>
                  <a:lnTo>
                    <a:pt x="993635" y="296418"/>
                  </a:lnTo>
                  <a:lnTo>
                    <a:pt x="947547" y="268312"/>
                  </a:lnTo>
                  <a:lnTo>
                    <a:pt x="899541" y="244170"/>
                  </a:lnTo>
                  <a:lnTo>
                    <a:pt x="849858" y="224193"/>
                  </a:lnTo>
                  <a:lnTo>
                    <a:pt x="798766" y="208597"/>
                  </a:lnTo>
                  <a:lnTo>
                    <a:pt x="746544" y="197586"/>
                  </a:lnTo>
                  <a:lnTo>
                    <a:pt x="693420" y="191363"/>
                  </a:lnTo>
                  <a:lnTo>
                    <a:pt x="693420" y="112572"/>
                  </a:lnTo>
                  <a:lnTo>
                    <a:pt x="862291" y="112572"/>
                  </a:lnTo>
                  <a:lnTo>
                    <a:pt x="862291" y="0"/>
                  </a:lnTo>
                  <a:lnTo>
                    <a:pt x="411962" y="0"/>
                  </a:lnTo>
                  <a:lnTo>
                    <a:pt x="411962" y="112572"/>
                  </a:lnTo>
                  <a:lnTo>
                    <a:pt x="580834" y="112572"/>
                  </a:lnTo>
                  <a:lnTo>
                    <a:pt x="580834" y="189484"/>
                  </a:lnTo>
                  <a:lnTo>
                    <a:pt x="531672" y="195732"/>
                  </a:lnTo>
                  <a:lnTo>
                    <a:pt x="483743" y="205625"/>
                  </a:lnTo>
                  <a:lnTo>
                    <a:pt x="437184" y="219024"/>
                  </a:lnTo>
                  <a:lnTo>
                    <a:pt x="392150" y="235788"/>
                  </a:lnTo>
                  <a:lnTo>
                    <a:pt x="348780" y="255778"/>
                  </a:lnTo>
                  <a:lnTo>
                    <a:pt x="307238" y="278841"/>
                  </a:lnTo>
                  <a:lnTo>
                    <a:pt x="267665" y="304850"/>
                  </a:lnTo>
                  <a:lnTo>
                    <a:pt x="230200" y="333667"/>
                  </a:lnTo>
                  <a:lnTo>
                    <a:pt x="195008" y="365137"/>
                  </a:lnTo>
                  <a:lnTo>
                    <a:pt x="162242" y="399122"/>
                  </a:lnTo>
                  <a:lnTo>
                    <a:pt x="132029" y="435483"/>
                  </a:lnTo>
                  <a:lnTo>
                    <a:pt x="104521" y="474091"/>
                  </a:lnTo>
                  <a:lnTo>
                    <a:pt x="79883" y="514794"/>
                  </a:lnTo>
                  <a:lnTo>
                    <a:pt x="58254" y="557453"/>
                  </a:lnTo>
                  <a:lnTo>
                    <a:pt x="39776" y="601916"/>
                  </a:lnTo>
                  <a:lnTo>
                    <a:pt x="24612" y="648055"/>
                  </a:lnTo>
                  <a:lnTo>
                    <a:pt x="12903" y="695731"/>
                  </a:lnTo>
                  <a:lnTo>
                    <a:pt x="4800" y="744804"/>
                  </a:lnTo>
                  <a:lnTo>
                    <a:pt x="495" y="794346"/>
                  </a:lnTo>
                  <a:lnTo>
                    <a:pt x="0" y="843445"/>
                  </a:lnTo>
                  <a:lnTo>
                    <a:pt x="3225" y="891921"/>
                  </a:lnTo>
                  <a:lnTo>
                    <a:pt x="10058" y="939584"/>
                  </a:lnTo>
                  <a:lnTo>
                    <a:pt x="20396" y="986282"/>
                  </a:lnTo>
                  <a:lnTo>
                    <a:pt x="34124" y="1031836"/>
                  </a:lnTo>
                  <a:lnTo>
                    <a:pt x="51142" y="1076071"/>
                  </a:lnTo>
                  <a:lnTo>
                    <a:pt x="71348" y="1118806"/>
                  </a:lnTo>
                  <a:lnTo>
                    <a:pt x="94627" y="1159878"/>
                  </a:lnTo>
                  <a:lnTo>
                    <a:pt x="120878" y="1199108"/>
                  </a:lnTo>
                  <a:lnTo>
                    <a:pt x="149999" y="1236319"/>
                  </a:lnTo>
                  <a:lnTo>
                    <a:pt x="181864" y="1271346"/>
                  </a:lnTo>
                  <a:lnTo>
                    <a:pt x="216395" y="1304010"/>
                  </a:lnTo>
                  <a:lnTo>
                    <a:pt x="253466" y="1334135"/>
                  </a:lnTo>
                  <a:lnTo>
                    <a:pt x="292989" y="1361554"/>
                  </a:lnTo>
                  <a:lnTo>
                    <a:pt x="334835" y="1386090"/>
                  </a:lnTo>
                  <a:lnTo>
                    <a:pt x="378904" y="1407566"/>
                  </a:lnTo>
                  <a:lnTo>
                    <a:pt x="425094" y="1425816"/>
                  </a:lnTo>
                  <a:lnTo>
                    <a:pt x="472567" y="1440472"/>
                  </a:lnTo>
                  <a:lnTo>
                    <a:pt x="520407" y="1451330"/>
                  </a:lnTo>
                  <a:lnTo>
                    <a:pt x="568413" y="1458455"/>
                  </a:lnTo>
                  <a:lnTo>
                    <a:pt x="616419" y="1461935"/>
                  </a:lnTo>
                  <a:lnTo>
                    <a:pt x="664210" y="1461795"/>
                  </a:lnTo>
                  <a:lnTo>
                    <a:pt x="711631" y="1458125"/>
                  </a:lnTo>
                  <a:lnTo>
                    <a:pt x="758456" y="1450975"/>
                  </a:lnTo>
                  <a:lnTo>
                    <a:pt x="804519" y="1440421"/>
                  </a:lnTo>
                  <a:lnTo>
                    <a:pt x="849630" y="1426514"/>
                  </a:lnTo>
                  <a:lnTo>
                    <a:pt x="893584" y="1409331"/>
                  </a:lnTo>
                  <a:lnTo>
                    <a:pt x="936205" y="1388922"/>
                  </a:lnTo>
                  <a:lnTo>
                    <a:pt x="977303" y="1365364"/>
                  </a:lnTo>
                  <a:lnTo>
                    <a:pt x="1016685" y="1338707"/>
                  </a:lnTo>
                  <a:lnTo>
                    <a:pt x="1054163" y="1309027"/>
                  </a:lnTo>
                  <a:lnTo>
                    <a:pt x="1089558" y="1276375"/>
                  </a:lnTo>
                  <a:lnTo>
                    <a:pt x="1122654" y="1240828"/>
                  </a:lnTo>
                  <a:lnTo>
                    <a:pt x="1153299" y="1202448"/>
                  </a:lnTo>
                  <a:lnTo>
                    <a:pt x="1181265" y="1161288"/>
                  </a:lnTo>
                  <a:lnTo>
                    <a:pt x="1205966" y="1118108"/>
                  </a:lnTo>
                  <a:lnTo>
                    <a:pt x="1226908" y="1073734"/>
                  </a:lnTo>
                  <a:lnTo>
                    <a:pt x="1244130" y="1028369"/>
                  </a:lnTo>
                  <a:lnTo>
                    <a:pt x="1257681" y="982230"/>
                  </a:lnTo>
                  <a:lnTo>
                    <a:pt x="1267599" y="935520"/>
                  </a:lnTo>
                  <a:lnTo>
                    <a:pt x="1273898" y="888428"/>
                  </a:lnTo>
                  <a:lnTo>
                    <a:pt x="1276642" y="841159"/>
                  </a:lnTo>
                  <a:close/>
                </a:path>
              </a:pathLst>
            </a:custGeom>
            <a:solidFill>
              <a:srgbClr val="FF5F57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9" name="object 9"/>
          <p:cNvSpPr/>
          <p:nvPr/>
        </p:nvSpPr>
        <p:spPr>
          <a:xfrm>
            <a:off x="9654421" y="2310906"/>
            <a:ext cx="1320800" cy="1293495"/>
          </a:xfrm>
          <a:custGeom>
            <a:avLst/>
            <a:gdLst/>
            <a:ahLst/>
            <a:cxnLst/>
            <a:rect l="l" t="t" r="r" b="b"/>
            <a:pathLst>
              <a:path w="1320800" h="1293495">
                <a:moveTo>
                  <a:pt x="525386" y="223253"/>
                </a:moveTo>
                <a:lnTo>
                  <a:pt x="12" y="223253"/>
                </a:lnTo>
                <a:lnTo>
                  <a:pt x="12" y="748550"/>
                </a:lnTo>
                <a:lnTo>
                  <a:pt x="206400" y="748550"/>
                </a:lnTo>
                <a:lnTo>
                  <a:pt x="190576" y="763600"/>
                </a:lnTo>
                <a:lnTo>
                  <a:pt x="178777" y="781634"/>
                </a:lnTo>
                <a:lnTo>
                  <a:pt x="171424" y="801903"/>
                </a:lnTo>
                <a:lnTo>
                  <a:pt x="168884" y="823595"/>
                </a:lnTo>
                <a:lnTo>
                  <a:pt x="176250" y="860107"/>
                </a:lnTo>
                <a:lnTo>
                  <a:pt x="196354" y="889914"/>
                </a:lnTo>
                <a:lnTo>
                  <a:pt x="226187" y="910018"/>
                </a:lnTo>
                <a:lnTo>
                  <a:pt x="262699" y="917397"/>
                </a:lnTo>
                <a:lnTo>
                  <a:pt x="299212" y="910018"/>
                </a:lnTo>
                <a:lnTo>
                  <a:pt x="329031" y="889914"/>
                </a:lnTo>
                <a:lnTo>
                  <a:pt x="349135" y="860107"/>
                </a:lnTo>
                <a:lnTo>
                  <a:pt x="356514" y="823595"/>
                </a:lnTo>
                <a:lnTo>
                  <a:pt x="353974" y="801903"/>
                </a:lnTo>
                <a:lnTo>
                  <a:pt x="346608" y="781634"/>
                </a:lnTo>
                <a:lnTo>
                  <a:pt x="334810" y="763600"/>
                </a:lnTo>
                <a:lnTo>
                  <a:pt x="318985" y="748550"/>
                </a:lnTo>
                <a:lnTo>
                  <a:pt x="525386" y="748550"/>
                </a:lnTo>
                <a:lnTo>
                  <a:pt x="525386" y="555688"/>
                </a:lnTo>
                <a:lnTo>
                  <a:pt x="491604" y="576986"/>
                </a:lnTo>
                <a:lnTo>
                  <a:pt x="453618" y="584085"/>
                </a:lnTo>
                <a:lnTo>
                  <a:pt x="415620" y="576986"/>
                </a:lnTo>
                <a:lnTo>
                  <a:pt x="381838" y="555688"/>
                </a:lnTo>
                <a:lnTo>
                  <a:pt x="360324" y="524103"/>
                </a:lnTo>
                <a:lnTo>
                  <a:pt x="352844" y="487972"/>
                </a:lnTo>
                <a:lnTo>
                  <a:pt x="359473" y="451688"/>
                </a:lnTo>
                <a:lnTo>
                  <a:pt x="381838" y="417982"/>
                </a:lnTo>
                <a:lnTo>
                  <a:pt x="415620" y="396697"/>
                </a:lnTo>
                <a:lnTo>
                  <a:pt x="453618" y="389597"/>
                </a:lnTo>
                <a:lnTo>
                  <a:pt x="491604" y="396697"/>
                </a:lnTo>
                <a:lnTo>
                  <a:pt x="525386" y="417982"/>
                </a:lnTo>
                <a:lnTo>
                  <a:pt x="525386" y="223253"/>
                </a:lnTo>
                <a:close/>
              </a:path>
              <a:path w="1320800" h="1293495">
                <a:moveTo>
                  <a:pt x="694905" y="1036586"/>
                </a:moveTo>
                <a:lnTo>
                  <a:pt x="690422" y="999604"/>
                </a:lnTo>
                <a:lnTo>
                  <a:pt x="671957" y="967270"/>
                </a:lnTo>
                <a:lnTo>
                  <a:pt x="643509" y="945273"/>
                </a:lnTo>
                <a:lnTo>
                  <a:pt x="608876" y="935558"/>
                </a:lnTo>
                <a:lnTo>
                  <a:pt x="571893" y="940028"/>
                </a:lnTo>
                <a:lnTo>
                  <a:pt x="558368" y="945705"/>
                </a:lnTo>
                <a:lnTo>
                  <a:pt x="545960" y="953376"/>
                </a:lnTo>
                <a:lnTo>
                  <a:pt x="534885" y="962875"/>
                </a:lnTo>
                <a:lnTo>
                  <a:pt x="525386" y="974051"/>
                </a:lnTo>
                <a:lnTo>
                  <a:pt x="525386" y="805205"/>
                </a:lnTo>
                <a:lnTo>
                  <a:pt x="411492" y="805205"/>
                </a:lnTo>
                <a:lnTo>
                  <a:pt x="412318" y="811441"/>
                </a:lnTo>
                <a:lnTo>
                  <a:pt x="412750" y="817689"/>
                </a:lnTo>
                <a:lnTo>
                  <a:pt x="405155" y="871410"/>
                </a:lnTo>
                <a:lnTo>
                  <a:pt x="383844" y="912609"/>
                </a:lnTo>
                <a:lnTo>
                  <a:pt x="351345" y="945095"/>
                </a:lnTo>
                <a:lnTo>
                  <a:pt x="310134" y="966406"/>
                </a:lnTo>
                <a:lnTo>
                  <a:pt x="262699" y="974051"/>
                </a:lnTo>
                <a:lnTo>
                  <a:pt x="215252" y="966406"/>
                </a:lnTo>
                <a:lnTo>
                  <a:pt x="174040" y="945095"/>
                </a:lnTo>
                <a:lnTo>
                  <a:pt x="141554" y="912609"/>
                </a:lnTo>
                <a:lnTo>
                  <a:pt x="120243" y="871410"/>
                </a:lnTo>
                <a:lnTo>
                  <a:pt x="112585" y="823976"/>
                </a:lnTo>
                <a:lnTo>
                  <a:pt x="112649" y="817689"/>
                </a:lnTo>
                <a:lnTo>
                  <a:pt x="113068" y="811441"/>
                </a:lnTo>
                <a:lnTo>
                  <a:pt x="113906" y="805205"/>
                </a:lnTo>
                <a:lnTo>
                  <a:pt x="0" y="805205"/>
                </a:lnTo>
                <a:lnTo>
                  <a:pt x="0" y="1292987"/>
                </a:lnTo>
                <a:lnTo>
                  <a:pt x="525386" y="1292987"/>
                </a:lnTo>
                <a:lnTo>
                  <a:pt x="525386" y="1086624"/>
                </a:lnTo>
                <a:lnTo>
                  <a:pt x="529742" y="1092250"/>
                </a:lnTo>
                <a:lnTo>
                  <a:pt x="532142" y="1094879"/>
                </a:lnTo>
                <a:lnTo>
                  <a:pt x="534352" y="1098626"/>
                </a:lnTo>
                <a:lnTo>
                  <a:pt x="535698" y="1100315"/>
                </a:lnTo>
                <a:lnTo>
                  <a:pt x="553935" y="1113751"/>
                </a:lnTo>
                <a:lnTo>
                  <a:pt x="574636" y="1122006"/>
                </a:lnTo>
                <a:lnTo>
                  <a:pt x="596747" y="1124813"/>
                </a:lnTo>
                <a:lnTo>
                  <a:pt x="619201" y="1121892"/>
                </a:lnTo>
                <a:lnTo>
                  <a:pt x="622388" y="1121892"/>
                </a:lnTo>
                <a:lnTo>
                  <a:pt x="625398" y="1120013"/>
                </a:lnTo>
                <a:lnTo>
                  <a:pt x="630834" y="1118133"/>
                </a:lnTo>
                <a:lnTo>
                  <a:pt x="663194" y="1099667"/>
                </a:lnTo>
                <a:lnTo>
                  <a:pt x="685190" y="1071206"/>
                </a:lnTo>
                <a:lnTo>
                  <a:pt x="694905" y="1036586"/>
                </a:lnTo>
                <a:close/>
              </a:path>
              <a:path w="1320800" h="1293495">
                <a:moveTo>
                  <a:pt x="1069530" y="804837"/>
                </a:moveTo>
                <a:lnTo>
                  <a:pt x="863130" y="804837"/>
                </a:lnTo>
                <a:lnTo>
                  <a:pt x="868794" y="800404"/>
                </a:lnTo>
                <a:lnTo>
                  <a:pt x="871385" y="797890"/>
                </a:lnTo>
                <a:lnTo>
                  <a:pt x="899464" y="751014"/>
                </a:lnTo>
                <a:lnTo>
                  <a:pt x="901407" y="726643"/>
                </a:lnTo>
                <a:lnTo>
                  <a:pt x="896708" y="702208"/>
                </a:lnTo>
                <a:lnTo>
                  <a:pt x="896708" y="699401"/>
                </a:lnTo>
                <a:lnTo>
                  <a:pt x="877481" y="667499"/>
                </a:lnTo>
                <a:lnTo>
                  <a:pt x="848525" y="646188"/>
                </a:lnTo>
                <a:lnTo>
                  <a:pt x="813676" y="637286"/>
                </a:lnTo>
                <a:lnTo>
                  <a:pt x="776795" y="642632"/>
                </a:lnTo>
                <a:lnTo>
                  <a:pt x="744893" y="661860"/>
                </a:lnTo>
                <a:lnTo>
                  <a:pt x="723569" y="690816"/>
                </a:lnTo>
                <a:lnTo>
                  <a:pt x="714679" y="725665"/>
                </a:lnTo>
                <a:lnTo>
                  <a:pt x="720013" y="762533"/>
                </a:lnTo>
                <a:lnTo>
                  <a:pt x="725335" y="774649"/>
                </a:lnTo>
                <a:lnTo>
                  <a:pt x="732282" y="785837"/>
                </a:lnTo>
                <a:lnTo>
                  <a:pt x="740714" y="795959"/>
                </a:lnTo>
                <a:lnTo>
                  <a:pt x="750544" y="804837"/>
                </a:lnTo>
                <a:lnTo>
                  <a:pt x="581672" y="804837"/>
                </a:lnTo>
                <a:lnTo>
                  <a:pt x="581672" y="881748"/>
                </a:lnTo>
                <a:lnTo>
                  <a:pt x="587908" y="880999"/>
                </a:lnTo>
                <a:lnTo>
                  <a:pt x="600443" y="880630"/>
                </a:lnTo>
                <a:lnTo>
                  <a:pt x="647877" y="888276"/>
                </a:lnTo>
                <a:lnTo>
                  <a:pt x="689089" y="909586"/>
                </a:lnTo>
                <a:lnTo>
                  <a:pt x="721575" y="942073"/>
                </a:lnTo>
                <a:lnTo>
                  <a:pt x="742886" y="983272"/>
                </a:lnTo>
                <a:lnTo>
                  <a:pt x="750544" y="1030706"/>
                </a:lnTo>
                <a:lnTo>
                  <a:pt x="742886" y="1078153"/>
                </a:lnTo>
                <a:lnTo>
                  <a:pt x="721575" y="1119352"/>
                </a:lnTo>
                <a:lnTo>
                  <a:pt x="689089" y="1151839"/>
                </a:lnTo>
                <a:lnTo>
                  <a:pt x="647877" y="1173149"/>
                </a:lnTo>
                <a:lnTo>
                  <a:pt x="600443" y="1180795"/>
                </a:lnTo>
                <a:lnTo>
                  <a:pt x="587908" y="1180312"/>
                </a:lnTo>
                <a:lnTo>
                  <a:pt x="581672" y="1179487"/>
                </a:lnTo>
                <a:lnTo>
                  <a:pt x="581672" y="1292606"/>
                </a:lnTo>
                <a:lnTo>
                  <a:pt x="1069530" y="1292606"/>
                </a:lnTo>
                <a:lnTo>
                  <a:pt x="1069530" y="804837"/>
                </a:lnTo>
                <a:close/>
              </a:path>
              <a:path w="1320800" h="1293495">
                <a:moveTo>
                  <a:pt x="1320584" y="187617"/>
                </a:moveTo>
                <a:lnTo>
                  <a:pt x="865746" y="0"/>
                </a:lnTo>
                <a:lnTo>
                  <a:pt x="789571" y="186855"/>
                </a:lnTo>
                <a:lnTo>
                  <a:pt x="788073" y="180860"/>
                </a:lnTo>
                <a:lnTo>
                  <a:pt x="766470" y="148818"/>
                </a:lnTo>
                <a:lnTo>
                  <a:pt x="735342" y="128231"/>
                </a:lnTo>
                <a:lnTo>
                  <a:pt x="698792" y="120777"/>
                </a:lnTo>
                <a:lnTo>
                  <a:pt x="660857" y="128143"/>
                </a:lnTo>
                <a:lnTo>
                  <a:pt x="619975" y="160553"/>
                </a:lnTo>
                <a:lnTo>
                  <a:pt x="605599" y="213842"/>
                </a:lnTo>
                <a:lnTo>
                  <a:pt x="615162" y="249847"/>
                </a:lnTo>
                <a:lnTo>
                  <a:pt x="637540" y="279641"/>
                </a:lnTo>
                <a:lnTo>
                  <a:pt x="670775" y="299237"/>
                </a:lnTo>
                <a:lnTo>
                  <a:pt x="687971" y="303491"/>
                </a:lnTo>
                <a:lnTo>
                  <a:pt x="705510" y="304546"/>
                </a:lnTo>
                <a:lnTo>
                  <a:pt x="722947" y="302437"/>
                </a:lnTo>
                <a:lnTo>
                  <a:pt x="739851" y="297167"/>
                </a:lnTo>
                <a:lnTo>
                  <a:pt x="745858" y="294728"/>
                </a:lnTo>
                <a:lnTo>
                  <a:pt x="678307" y="452704"/>
                </a:lnTo>
                <a:lnTo>
                  <a:pt x="783945" y="496404"/>
                </a:lnTo>
                <a:lnTo>
                  <a:pt x="796467" y="448094"/>
                </a:lnTo>
                <a:lnTo>
                  <a:pt x="825538" y="409663"/>
                </a:lnTo>
                <a:lnTo>
                  <a:pt x="866902" y="384937"/>
                </a:lnTo>
                <a:lnTo>
                  <a:pt x="916305" y="377736"/>
                </a:lnTo>
                <a:lnTo>
                  <a:pt x="951153" y="384657"/>
                </a:lnTo>
                <a:lnTo>
                  <a:pt x="982129" y="400672"/>
                </a:lnTo>
                <a:lnTo>
                  <a:pt x="1007516" y="424573"/>
                </a:lnTo>
                <a:lnTo>
                  <a:pt x="1025613" y="455142"/>
                </a:lnTo>
                <a:lnTo>
                  <a:pt x="1034161" y="489534"/>
                </a:lnTo>
                <a:lnTo>
                  <a:pt x="1033145" y="524332"/>
                </a:lnTo>
                <a:lnTo>
                  <a:pt x="1022870" y="557606"/>
                </a:lnTo>
                <a:lnTo>
                  <a:pt x="1003668" y="587400"/>
                </a:lnTo>
                <a:lnTo>
                  <a:pt x="1133132" y="641057"/>
                </a:lnTo>
                <a:lnTo>
                  <a:pt x="1320584" y="187617"/>
                </a:lnTo>
                <a:close/>
              </a:path>
            </a:pathLst>
          </a:custGeom>
          <a:solidFill>
            <a:srgbClr val="00234F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5834437" y="3945377"/>
            <a:ext cx="3144497" cy="1244571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R="5080" lvl="0" indent="0" algn="ctr" fontAlgn="auto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sz="2000">
                <a:solidFill>
                  <a:srgbClr val="00234F"/>
                </a:solidFill>
                <a:latin typeface="Arial"/>
                <a:ea typeface="+mj-ea"/>
                <a:cs typeface="Arial"/>
              </a:rPr>
              <a:t>100 days from pathogen  characterization to clinical data  for deciding emergency use</a:t>
            </a:r>
          </a:p>
        </p:txBody>
      </p:sp>
      <p:sp>
        <p:nvSpPr>
          <p:cNvPr id="11" name="object 11"/>
          <p:cNvSpPr txBox="1"/>
          <p:nvPr/>
        </p:nvSpPr>
        <p:spPr>
          <a:xfrm>
            <a:off x="9129836" y="3944485"/>
            <a:ext cx="2168657" cy="1244571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R="5080" algn="ctr">
              <a:spcBef>
                <a:spcPts val="105"/>
              </a:spcBef>
              <a:defRPr/>
            </a:pPr>
            <a:r>
              <a:rPr sz="2000">
                <a:solidFill>
                  <a:srgbClr val="00234F"/>
                </a:solidFill>
                <a:latin typeface="Arial"/>
                <a:ea typeface="+mj-ea"/>
                <a:cs typeface="Arial"/>
              </a:rPr>
              <a:t>Systematically reducing the  risk of future epidemics and pandemic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57F9805-8CAE-4EB1-AB25-FBA2E6A06E8E}"/>
              </a:ext>
            </a:extLst>
          </p:cNvPr>
          <p:cNvSpPr txBox="1">
            <a:spLocks/>
          </p:cNvSpPr>
          <p:nvPr/>
        </p:nvSpPr>
        <p:spPr>
          <a:xfrm>
            <a:off x="786166" y="3949564"/>
            <a:ext cx="3259874" cy="14611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rgbClr val="00234F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en-US" sz="2000" b="0"/>
              <a:t>Accelerate development of vaccines against emerging infectious diseases and enable equitable access to these vaccines for affected populations during outbreaks</a:t>
            </a:r>
            <a:r>
              <a:rPr lang="en-US"/>
              <a:t/>
            </a:r>
            <a:br>
              <a:rPr lang="en-US"/>
            </a:br>
            <a:endParaRPr lang="en-US" sz="360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9B9BCA2-54C3-4638-8414-56DDB2A519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17880" y="2235279"/>
            <a:ext cx="1371600" cy="1371600"/>
          </a:xfrm>
          <a:prstGeom prst="rect">
            <a:avLst/>
          </a:prstGeom>
        </p:spPr>
      </p:pic>
      <p:sp>
        <p:nvSpPr>
          <p:cNvPr id="19" name="Arrow: Right 18">
            <a:extLst>
              <a:ext uri="{FF2B5EF4-FFF2-40B4-BE49-F238E27FC236}">
                <a16:creationId xmlns:a16="http://schemas.microsoft.com/office/drawing/2014/main" id="{ECF4B1C1-ED96-4907-8FAB-ACEF20A6A117}"/>
              </a:ext>
            </a:extLst>
          </p:cNvPr>
          <p:cNvSpPr/>
          <p:nvPr/>
        </p:nvSpPr>
        <p:spPr>
          <a:xfrm>
            <a:off x="4152079" y="2592271"/>
            <a:ext cx="1634324" cy="733582"/>
          </a:xfrm>
          <a:prstGeom prst="rightArrow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882296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5CF49E7-6E55-4B53-8D02-35EC31B2BB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5078" y="1611403"/>
            <a:ext cx="9116505" cy="3980135"/>
          </a:xfrm>
        </p:spPr>
        <p:txBody>
          <a:bodyPr/>
          <a:lstStyle/>
          <a:p>
            <a:pPr marL="326390" marR="495934" lvl="0" indent="-192405" algn="l" defTabSz="914400" rtl="0" eaLnBrk="1" fontAlgn="auto" latinLnBrk="0" hangingPunct="1">
              <a:lnSpc>
                <a:spcPct val="100000"/>
              </a:lnSpc>
              <a:spcBef>
                <a:spcPts val="840"/>
              </a:spcBef>
              <a:spcAft>
                <a:spcPts val="0"/>
              </a:spcAft>
              <a:buClr>
                <a:srgbClr val="00234F"/>
              </a:buClr>
              <a:buSzPct val="125000"/>
              <a:buFont typeface="Arial"/>
              <a:buChar char="•"/>
              <a:tabLst>
                <a:tab pos="327025" algn="l"/>
              </a:tabLst>
              <a:defRPr/>
            </a:pPr>
            <a:r>
              <a:rPr lang="en-US" sz="1800" dirty="0">
                <a:solidFill>
                  <a:prstClr val="black"/>
                </a:solidFill>
                <a:latin typeface="Georgia" panose="02040502050405020303" pitchFamily="18" charset="0"/>
              </a:rPr>
              <a:t>Use the CL Network for the other pathogens, including CEPI priority pathogens</a:t>
            </a:r>
          </a:p>
          <a:p>
            <a:pPr marL="326390" marR="495934" indent="-192405">
              <a:lnSpc>
                <a:spcPct val="100000"/>
              </a:lnSpc>
              <a:spcBef>
                <a:spcPts val="840"/>
              </a:spcBef>
              <a:buClr>
                <a:srgbClr val="00234F"/>
              </a:buClr>
              <a:buSzPct val="125000"/>
              <a:buFont typeface="Arial"/>
              <a:buChar char="•"/>
              <a:tabLst>
                <a:tab pos="327025" algn="l"/>
              </a:tabLst>
              <a:defRPr/>
            </a:pPr>
            <a:r>
              <a:rPr lang="en-US" sz="1800" dirty="0">
                <a:solidFill>
                  <a:prstClr val="black"/>
                </a:solidFill>
                <a:latin typeface="Georgia" panose="02040502050405020303" pitchFamily="18" charset="0"/>
              </a:rPr>
              <a:t>Build a stronger, post-pandemic global  network</a:t>
            </a:r>
          </a:p>
          <a:p>
            <a:pPr marL="326390" marR="495934" indent="-192405">
              <a:lnSpc>
                <a:spcPct val="100000"/>
              </a:lnSpc>
              <a:spcBef>
                <a:spcPts val="840"/>
              </a:spcBef>
              <a:buClr>
                <a:srgbClr val="00234F"/>
              </a:buClr>
              <a:buSzPct val="125000"/>
              <a:buFont typeface="Arial"/>
              <a:buChar char="•"/>
              <a:tabLst>
                <a:tab pos="327025" algn="l"/>
              </a:tabLst>
              <a:defRPr/>
            </a:pPr>
            <a:r>
              <a:rPr lang="en-US" sz="1800" dirty="0">
                <a:solidFill>
                  <a:prstClr val="black"/>
                </a:solidFill>
                <a:latin typeface="Georgia" panose="02040502050405020303" pitchFamily="18" charset="0"/>
              </a:rPr>
              <a:t>Exploit the CL Network framework to  give us a head-start on the same approach for other novel threats (Disease X)</a:t>
            </a:r>
          </a:p>
          <a:p>
            <a:pPr marL="326390" marR="495934" lvl="0" indent="-192405" algn="l" defTabSz="914400" rtl="0" eaLnBrk="1" fontAlgn="auto" latinLnBrk="0" hangingPunct="1">
              <a:lnSpc>
                <a:spcPct val="100000"/>
              </a:lnSpc>
              <a:spcBef>
                <a:spcPts val="840"/>
              </a:spcBef>
              <a:spcAft>
                <a:spcPts val="0"/>
              </a:spcAft>
              <a:buClr>
                <a:srgbClr val="00234F"/>
              </a:buClr>
              <a:buSzPct val="125000"/>
              <a:buFont typeface="Arial"/>
              <a:buChar char="•"/>
              <a:tabLst>
                <a:tab pos="327025" algn="l"/>
              </a:tabLst>
              <a:defRPr/>
            </a:pPr>
            <a:r>
              <a:rPr lang="en-US" sz="1800" dirty="0">
                <a:solidFill>
                  <a:prstClr val="black"/>
                </a:solidFill>
                <a:latin typeface="Georgia" panose="02040502050405020303" pitchFamily="18" charset="0"/>
              </a:rPr>
              <a:t>Invest and scale critical research  innovations which underpin rapid  vaccine testing </a:t>
            </a:r>
          </a:p>
          <a:p>
            <a:pPr marL="326390" marR="495934" lvl="0" indent="-192405" algn="l" defTabSz="914400" rtl="0" eaLnBrk="1" fontAlgn="auto" latinLnBrk="0" hangingPunct="1">
              <a:lnSpc>
                <a:spcPct val="100000"/>
              </a:lnSpc>
              <a:spcBef>
                <a:spcPts val="840"/>
              </a:spcBef>
              <a:spcAft>
                <a:spcPts val="0"/>
              </a:spcAft>
              <a:buClr>
                <a:srgbClr val="00234F"/>
              </a:buClr>
              <a:buSzPct val="125000"/>
              <a:buFont typeface="Arial"/>
              <a:buChar char="•"/>
              <a:tabLst>
                <a:tab pos="327025" algn="l"/>
              </a:tabLst>
              <a:defRPr/>
            </a:pPr>
            <a:r>
              <a:rPr lang="en-US" sz="1800" dirty="0">
                <a:solidFill>
                  <a:prstClr val="black"/>
                </a:solidFill>
                <a:latin typeface="Georgia" panose="02040502050405020303" pitchFamily="18" charset="0"/>
              </a:rPr>
              <a:t>Advance in innovations so vaccine  testing is cheaper and faster</a:t>
            </a:r>
          </a:p>
          <a:p>
            <a:pPr marL="326390" marR="495934" lvl="0" indent="-192405" algn="l" defTabSz="914400" rtl="0" eaLnBrk="1" fontAlgn="auto" latinLnBrk="0" hangingPunct="1">
              <a:lnSpc>
                <a:spcPct val="100000"/>
              </a:lnSpc>
              <a:spcBef>
                <a:spcPts val="840"/>
              </a:spcBef>
              <a:spcAft>
                <a:spcPts val="0"/>
              </a:spcAft>
              <a:buClr>
                <a:srgbClr val="00234F"/>
              </a:buClr>
              <a:buSzPct val="125000"/>
              <a:buFont typeface="Arial"/>
              <a:buChar char="•"/>
              <a:tabLst>
                <a:tab pos="327025" algn="l"/>
              </a:tabLst>
              <a:defRPr/>
            </a:pPr>
            <a:r>
              <a:rPr lang="en-US" sz="1800" dirty="0">
                <a:solidFill>
                  <a:prstClr val="black"/>
                </a:solidFill>
                <a:latin typeface="Georgia" panose="02040502050405020303" pitchFamily="18" charset="0"/>
              </a:rPr>
              <a:t>Push for collaboration and solutions  which will enable a faster system-wide  response</a:t>
            </a:r>
          </a:p>
          <a:p>
            <a:pPr marL="326390" marR="495934" lvl="0" indent="-192405" algn="l" defTabSz="914400" rtl="0" eaLnBrk="1" fontAlgn="auto" latinLnBrk="0" hangingPunct="1">
              <a:lnSpc>
                <a:spcPct val="100000"/>
              </a:lnSpc>
              <a:spcBef>
                <a:spcPts val="840"/>
              </a:spcBef>
              <a:spcAft>
                <a:spcPts val="0"/>
              </a:spcAft>
              <a:buClr>
                <a:srgbClr val="00234F"/>
              </a:buClr>
              <a:buSzPct val="125000"/>
              <a:buFont typeface="Arial"/>
              <a:buChar char="•"/>
              <a:tabLst>
                <a:tab pos="327025" algn="l"/>
              </a:tabLst>
              <a:defRPr/>
            </a:pPr>
            <a:r>
              <a:rPr lang="en-US" sz="1800" dirty="0">
                <a:solidFill>
                  <a:prstClr val="black"/>
                </a:solidFill>
                <a:latin typeface="Georgia" panose="02040502050405020303" pitchFamily="18" charset="0"/>
              </a:rPr>
              <a:t>Coordinate a scalable on-demand testing network</a:t>
            </a:r>
          </a:p>
          <a:p>
            <a:pPr marL="326390" marR="495934" lvl="0" indent="-192405" algn="l" defTabSz="914400" rtl="0" eaLnBrk="1" fontAlgn="auto" latinLnBrk="0" hangingPunct="1">
              <a:lnSpc>
                <a:spcPct val="100000"/>
              </a:lnSpc>
              <a:spcBef>
                <a:spcPts val="840"/>
              </a:spcBef>
              <a:spcAft>
                <a:spcPts val="0"/>
              </a:spcAft>
              <a:buClr>
                <a:srgbClr val="00234F"/>
              </a:buClr>
              <a:buSzPct val="125000"/>
              <a:buFont typeface="Arial"/>
              <a:buChar char="•"/>
              <a:tabLst>
                <a:tab pos="327025" algn="l"/>
              </a:tabLst>
              <a:defRPr/>
            </a:pPr>
            <a:r>
              <a:rPr lang="en-US" sz="1800" dirty="0">
                <a:solidFill>
                  <a:prstClr val="black"/>
                </a:solidFill>
                <a:latin typeface="Georgia" panose="02040502050405020303" pitchFamily="18" charset="0"/>
              </a:rPr>
              <a:t>Align with other initiatives worldwide (for example G7)</a:t>
            </a:r>
          </a:p>
          <a:p>
            <a:pPr marL="326390" marR="495934" lvl="0" indent="-192405" algn="l" defTabSz="914400" rtl="0" eaLnBrk="1" fontAlgn="auto" latinLnBrk="0" hangingPunct="1">
              <a:lnSpc>
                <a:spcPct val="100000"/>
              </a:lnSpc>
              <a:spcBef>
                <a:spcPts val="840"/>
              </a:spcBef>
              <a:spcAft>
                <a:spcPts val="0"/>
              </a:spcAft>
              <a:buClr>
                <a:srgbClr val="00234F"/>
              </a:buClr>
              <a:buSzPct val="125000"/>
              <a:buFont typeface="Arial"/>
              <a:buChar char="•"/>
              <a:tabLst>
                <a:tab pos="327025" algn="l"/>
              </a:tabLst>
              <a:defRPr/>
            </a:pPr>
            <a:r>
              <a:rPr lang="en-US" sz="1800" dirty="0">
                <a:solidFill>
                  <a:prstClr val="black"/>
                </a:solidFill>
                <a:latin typeface="Georgia" panose="02040502050405020303" pitchFamily="18" charset="0"/>
              </a:rPr>
              <a:t>Continually monitor SARS-CoV-2  Variants</a:t>
            </a:r>
          </a:p>
          <a:p>
            <a:pPr marL="326390" marR="495934" lvl="0" indent="-192405" algn="l" defTabSz="914400" rtl="0" eaLnBrk="1" fontAlgn="auto" latinLnBrk="0" hangingPunct="1">
              <a:lnSpc>
                <a:spcPct val="100000"/>
              </a:lnSpc>
              <a:spcBef>
                <a:spcPts val="840"/>
              </a:spcBef>
              <a:spcAft>
                <a:spcPts val="0"/>
              </a:spcAft>
              <a:buClr>
                <a:srgbClr val="00234F"/>
              </a:buClr>
              <a:buSzPct val="125000"/>
              <a:buFont typeface="Arial"/>
              <a:buChar char="•"/>
              <a:tabLst>
                <a:tab pos="327025" algn="l"/>
              </a:tabLst>
              <a:defRPr/>
            </a:pPr>
            <a:endParaRPr lang="en-US" sz="1800" dirty="0">
              <a:solidFill>
                <a:prstClr val="black"/>
              </a:solidFill>
              <a:latin typeface="Georgia" panose="02040502050405020303" pitchFamily="18" charset="0"/>
            </a:endParaRPr>
          </a:p>
          <a:p>
            <a:endParaRPr lang="en-US" sz="1800" dirty="0">
              <a:solidFill>
                <a:prstClr val="black"/>
              </a:solidFill>
              <a:latin typeface="Georgia" panose="02040502050405020303" pitchFamily="18" charset="0"/>
            </a:endParaRPr>
          </a:p>
          <a:p>
            <a:endParaRPr lang="en-US" sz="1800" dirty="0">
              <a:latin typeface="Georgia" panose="02040502050405020303" pitchFamily="18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4932D70-C6EE-425C-9838-58E6377F8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0153"/>
            <a:ext cx="10515600" cy="963863"/>
          </a:xfrm>
        </p:spPr>
        <p:txBody>
          <a:bodyPr/>
          <a:lstStyle/>
          <a:p>
            <a:r>
              <a:rPr lang="en-US" dirty="0"/>
              <a:t>Future plans for the CL Network</a:t>
            </a:r>
          </a:p>
        </p:txBody>
      </p:sp>
      <p:pic>
        <p:nvPicPr>
          <p:cNvPr id="10242" name="Picture 2" descr="Future Icon Png - Long Term Vision Icon, Transparent Png - kindpng">
            <a:extLst>
              <a:ext uri="{FF2B5EF4-FFF2-40B4-BE49-F238E27FC236}">
                <a16:creationId xmlns:a16="http://schemas.microsoft.com/office/drawing/2014/main" id="{3D01948F-3E56-49C9-9346-3259C1A281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82970" y="2422402"/>
            <a:ext cx="2085975" cy="2190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6882158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1DDFC7-462F-4CD0-A2F9-ECA15F5FDA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ew Call for Proposal (</a:t>
            </a:r>
            <a:r>
              <a:rPr lang="en-US" err="1"/>
              <a:t>CfP</a:t>
            </a:r>
            <a:r>
              <a:rPr lang="en-US"/>
              <a:t>)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D6393DA6-7285-40C7-9FFB-0437035BB0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7192034"/>
              </p:ext>
            </p:extLst>
          </p:nvPr>
        </p:nvGraphicFramePr>
        <p:xfrm>
          <a:off x="2066185" y="3290608"/>
          <a:ext cx="5439266" cy="650466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2358100">
                  <a:extLst>
                    <a:ext uri="{9D8B030D-6E8A-4147-A177-3AD203B41FA5}">
                      <a16:colId xmlns:a16="http://schemas.microsoft.com/office/drawing/2014/main" val="2567443434"/>
                    </a:ext>
                  </a:extLst>
                </a:gridCol>
                <a:gridCol w="3081166">
                  <a:extLst>
                    <a:ext uri="{9D8B030D-6E8A-4147-A177-3AD203B41FA5}">
                      <a16:colId xmlns:a16="http://schemas.microsoft.com/office/drawing/2014/main" val="2600775018"/>
                    </a:ext>
                  </a:extLst>
                </a:gridCol>
              </a:tblGrid>
              <a:tr h="650466">
                <a:tc>
                  <a:txBody>
                    <a:bodyPr/>
                    <a:lstStyle/>
                    <a:p>
                      <a:pPr marL="0" marR="0" algn="r">
                        <a:lnSpc>
                          <a:spcPts val="165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1600" b="1">
                          <a:effectLst/>
                        </a:rPr>
                        <a:t>Valentina Bernasconi</a:t>
                      </a:r>
                      <a:endParaRPr lang="en-US" sz="16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65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1050">
                          <a:effectLst/>
                        </a:rPr>
                        <a:t>Scientist, Project Leader of CEPI Centralized Laboratory Network, </a:t>
                      </a:r>
                      <a:r>
                        <a:rPr lang="en-US" sz="1050" b="1">
                          <a:effectLst/>
                        </a:rPr>
                        <a:t>CEPI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574607764"/>
                  </a:ext>
                </a:extLst>
              </a:tr>
            </a:tbl>
          </a:graphicData>
        </a:graphic>
      </p:graphicFrame>
      <p:pic>
        <p:nvPicPr>
          <p:cNvPr id="4" name="Picture 3" descr="A person smiling for the camera&#10;&#10;Description automatically generated with low confidence">
            <a:extLst>
              <a:ext uri="{FF2B5EF4-FFF2-40B4-BE49-F238E27FC236}">
                <a16:creationId xmlns:a16="http://schemas.microsoft.com/office/drawing/2014/main" id="{B3F77FEF-9C40-4D18-AAD7-8D2506C0AF6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24326"/>
          <a:stretch/>
        </p:blipFill>
        <p:spPr>
          <a:xfrm>
            <a:off x="990744" y="3206769"/>
            <a:ext cx="915186" cy="1065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982607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5CF49E7-6E55-4B53-8D02-35EC31B2BB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9760" y="1751916"/>
            <a:ext cx="8352315" cy="3639915"/>
          </a:xfrm>
        </p:spPr>
        <p:txBody>
          <a:bodyPr/>
          <a:lstStyle/>
          <a:p>
            <a:r>
              <a:rPr lang="en-US" sz="1800" dirty="0"/>
              <a:t>CEPI is looking for additional laboratories to:</a:t>
            </a:r>
          </a:p>
          <a:p>
            <a:endParaRPr lang="en-US" sz="1800" dirty="0"/>
          </a:p>
          <a:p>
            <a:pPr marL="800100" lvl="1" indent="-342900">
              <a:buFont typeface="+mj-lt"/>
              <a:buAutoNum type="arabicPeriod"/>
            </a:pPr>
            <a:r>
              <a:rPr lang="en-US" sz="1800" dirty="0"/>
              <a:t>Expand the CL Network for Covid-19 testing to include laboratories in South America, Africa and Oceania regions 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1800" dirty="0"/>
              <a:t>Expand the CL Network to develop new assays for other viruses, including CEPI priority pathogens, (open to any laboratory worldwide) </a:t>
            </a:r>
          </a:p>
          <a:p>
            <a:endParaRPr lang="en-US" sz="1800" dirty="0"/>
          </a:p>
          <a:p>
            <a:r>
              <a:rPr lang="en-US" sz="1800" dirty="0"/>
              <a:t>All Laboratories are invited to apply to the next open Call for Proposal (</a:t>
            </a:r>
            <a:r>
              <a:rPr lang="en-US" sz="1800" dirty="0" err="1"/>
              <a:t>CfP</a:t>
            </a:r>
            <a:r>
              <a:rPr lang="en-US" sz="1800" dirty="0"/>
              <a:t>) from 22</a:t>
            </a:r>
            <a:r>
              <a:rPr lang="en-US" sz="1800" baseline="30000" dirty="0"/>
              <a:t>nd</a:t>
            </a:r>
            <a:r>
              <a:rPr lang="en-US" sz="1800" dirty="0"/>
              <a:t> November 2021 to 28</a:t>
            </a:r>
            <a:r>
              <a:rPr lang="en-US" sz="1800" baseline="30000" dirty="0"/>
              <a:t>th</a:t>
            </a:r>
            <a:r>
              <a:rPr lang="en-US" sz="1800" dirty="0"/>
              <a:t> February 2022</a:t>
            </a:r>
          </a:p>
          <a:p>
            <a:pPr marL="342900" indent="-342900">
              <a:buFont typeface="+mj-lt"/>
              <a:buAutoNum type="arabicPeriod"/>
            </a:pPr>
            <a:endParaRPr lang="en-US" sz="1800" dirty="0"/>
          </a:p>
          <a:p>
            <a:endParaRPr lang="en-US" sz="1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4932D70-C6EE-425C-9838-58E6377F8D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Join the CEPI CL Network</a:t>
            </a:r>
          </a:p>
        </p:txBody>
      </p:sp>
      <p:pic>
        <p:nvPicPr>
          <p:cNvPr id="7170" name="Picture 2" descr="6,265 BEST &quot;Join Us&quot; IMAGES, STOCK PHOTOS &amp; VECTORS | Adobe Stock">
            <a:extLst>
              <a:ext uri="{FF2B5EF4-FFF2-40B4-BE49-F238E27FC236}">
                <a16:creationId xmlns:a16="http://schemas.microsoft.com/office/drawing/2014/main" id="{3D550B86-6D50-414C-BCEC-54E5CF706E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06985" y="2671762"/>
            <a:ext cx="3028950" cy="151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7982659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7229616-EC80-43A2-B486-54DFF6D587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/>
              <a:t>Scope 1: Expand the CL Network to target South America, Africa and Oceania regions</a:t>
            </a:r>
            <a:br>
              <a:rPr lang="en-US" sz="3600"/>
            </a:br>
            <a:r>
              <a:rPr lang="en-US" sz="3600"/>
              <a:t> 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1FD1AC1-03BF-45A3-8B7B-00CF4437ABCF}"/>
              </a:ext>
            </a:extLst>
          </p:cNvPr>
          <p:cNvGrpSpPr/>
          <p:nvPr/>
        </p:nvGrpSpPr>
        <p:grpSpPr>
          <a:xfrm>
            <a:off x="5959869" y="2876967"/>
            <a:ext cx="6076835" cy="2284388"/>
            <a:chOff x="4799050" y="2743200"/>
            <a:chExt cx="7281251" cy="2737149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C22BB6BB-692F-4F95-873C-8EDF401C043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27787" b="3411"/>
            <a:stretch/>
          </p:blipFill>
          <p:spPr>
            <a:xfrm>
              <a:off x="4799050" y="3533313"/>
              <a:ext cx="7229013" cy="1947036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74FB5DBD-6142-4FF9-BEC4-A4D8F65F114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grayscl/>
            </a:blip>
            <a:srcRect b="72394"/>
            <a:stretch/>
          </p:blipFill>
          <p:spPr>
            <a:xfrm>
              <a:off x="4851288" y="2743200"/>
              <a:ext cx="7229013" cy="781235"/>
            </a:xfrm>
            <a:prstGeom prst="rect">
              <a:avLst/>
            </a:prstGeom>
          </p:spPr>
        </p:pic>
      </p:grp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BD4B3FC-7BCA-46BD-A719-D4AC6D036C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876967"/>
            <a:ext cx="5078027" cy="2364467"/>
          </a:xfrm>
        </p:spPr>
        <p:txBody>
          <a:bodyPr/>
          <a:lstStyle/>
          <a:p>
            <a:pPr marL="0" indent="0" algn="ctr">
              <a:buNone/>
            </a:pPr>
            <a:r>
              <a:rPr lang="en-US" sz="1800" i="1" dirty="0"/>
              <a:t>Is your laboratory based in South America, Africa or Oceania regions?</a:t>
            </a:r>
          </a:p>
          <a:p>
            <a:pPr marL="0" indent="0" algn="ctr">
              <a:buNone/>
            </a:pPr>
            <a:r>
              <a:rPr lang="en-US" sz="1800" i="1" dirty="0"/>
              <a:t>Do you have experience in working with immunological analysis of Covid-19 samples?</a:t>
            </a:r>
          </a:p>
          <a:p>
            <a:pPr marL="0" indent="0" algn="ctr">
              <a:buNone/>
            </a:pPr>
            <a:endParaRPr lang="en-US" sz="1800" i="1" dirty="0"/>
          </a:p>
          <a:p>
            <a:pPr marL="0" indent="0" algn="ctr">
              <a:buNone/>
            </a:pPr>
            <a:r>
              <a:rPr lang="en-US" sz="1800" i="1" dirty="0"/>
              <a:t>Apply for Scope 1!</a:t>
            </a:r>
            <a:br>
              <a:rPr lang="en-US" sz="1800" i="1" dirty="0"/>
            </a:br>
            <a:endParaRPr lang="en-US" sz="1800" i="1" dirty="0"/>
          </a:p>
        </p:txBody>
      </p:sp>
    </p:spTree>
    <p:extLst>
      <p:ext uri="{BB962C8B-B14F-4D97-AF65-F5344CB8AC3E}">
        <p14:creationId xmlns:p14="http://schemas.microsoft.com/office/powerpoint/2010/main" val="259604725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F3A8EB5-CF0E-4B73-B280-75127BC054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18967" y="2818615"/>
            <a:ext cx="4874443" cy="3065154"/>
          </a:xfrm>
        </p:spPr>
        <p:txBody>
          <a:bodyPr/>
          <a:lstStyle/>
          <a:p>
            <a:pPr marL="0" indent="0" algn="ctr">
              <a:buNone/>
            </a:pPr>
            <a:r>
              <a:rPr lang="en-US" sz="1800" i="1" dirty="0"/>
              <a:t>Do you have experience in working with, developing and qualifying immunological assays for any other viruses, including CEPI priority pathogens?</a:t>
            </a:r>
          </a:p>
          <a:p>
            <a:pPr marL="0" indent="0" algn="ctr">
              <a:buNone/>
            </a:pPr>
            <a:endParaRPr lang="en-US" sz="1800" i="1" dirty="0"/>
          </a:p>
          <a:p>
            <a:pPr marL="0" indent="0" algn="ctr">
              <a:buNone/>
            </a:pPr>
            <a:r>
              <a:rPr lang="en-US" sz="1800" i="1" dirty="0"/>
              <a:t>Apply for Scope 2!</a:t>
            </a:r>
            <a:br>
              <a:rPr lang="en-US" sz="1800" i="1" dirty="0"/>
            </a:br>
            <a:endParaRPr lang="en-US" sz="1800" i="1" dirty="0"/>
          </a:p>
          <a:p>
            <a:pPr marL="0" indent="0" algn="ctr">
              <a:buNone/>
            </a:pPr>
            <a:endParaRPr lang="en-US" sz="1800" i="1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7229616-EC80-43A2-B486-54DFF6D587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/>
              <a:t>Scope 2: Develop assays for CEPI priority pathogens and support CEPI 2.0 objective</a:t>
            </a:r>
          </a:p>
        </p:txBody>
      </p:sp>
      <p:pic>
        <p:nvPicPr>
          <p:cNvPr id="2050" name="Picture 2" descr="Pathogenic bacteria round symbol pathogen Vector Image">
            <a:extLst>
              <a:ext uri="{FF2B5EF4-FFF2-40B4-BE49-F238E27FC236}">
                <a16:creationId xmlns:a16="http://schemas.microsoft.com/office/drawing/2014/main" id="{7CE564DB-95A8-48DF-98D3-7FB41F61DED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10" b="13949"/>
          <a:stretch/>
        </p:blipFill>
        <p:spPr bwMode="auto">
          <a:xfrm>
            <a:off x="6479416" y="2239740"/>
            <a:ext cx="4073551" cy="3451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486597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63754E9E-1C6A-4536-8EB9-FF925CA9CB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5419" y="316359"/>
            <a:ext cx="10514012" cy="620004"/>
          </a:xfrm>
        </p:spPr>
        <p:txBody>
          <a:bodyPr/>
          <a:lstStyle/>
          <a:p>
            <a:r>
              <a:rPr lang="en-US" sz="4400" err="1">
                <a:ea typeface="+mj-ea"/>
                <a:cs typeface="+mj-cs"/>
              </a:rPr>
              <a:t>CfP</a:t>
            </a:r>
            <a:r>
              <a:rPr lang="en-US" sz="4400">
                <a:ea typeface="+mj-ea"/>
                <a:cs typeface="+mj-cs"/>
              </a:rPr>
              <a:t> Timelines</a:t>
            </a:r>
          </a:p>
        </p:txBody>
      </p:sp>
      <p:sp>
        <p:nvSpPr>
          <p:cNvPr id="38" name="Arrow: Right 37">
            <a:extLst>
              <a:ext uri="{FF2B5EF4-FFF2-40B4-BE49-F238E27FC236}">
                <a16:creationId xmlns:a16="http://schemas.microsoft.com/office/drawing/2014/main" id="{928D9D17-8C39-42CA-A9C0-FD149FEF0C7F}"/>
              </a:ext>
            </a:extLst>
          </p:cNvPr>
          <p:cNvSpPr/>
          <p:nvPr/>
        </p:nvSpPr>
        <p:spPr>
          <a:xfrm>
            <a:off x="1527730" y="3032676"/>
            <a:ext cx="9732677" cy="1202774"/>
          </a:xfrm>
          <a:prstGeom prst="rightArrow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rriweather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A05BC7C4-05C7-4447-8B72-264A841E5257}"/>
              </a:ext>
            </a:extLst>
          </p:cNvPr>
          <p:cNvSpPr txBox="1"/>
          <p:nvPr/>
        </p:nvSpPr>
        <p:spPr>
          <a:xfrm>
            <a:off x="6827192" y="3375447"/>
            <a:ext cx="2485610" cy="52322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srgbClr val="00244F"/>
                </a:solidFill>
                <a:latin typeface="Merriweather"/>
              </a:rPr>
              <a:t>Due diligence with shortlisted candidates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244F"/>
              </a:solidFill>
              <a:effectLst/>
              <a:uLnTx/>
              <a:uFillTx/>
              <a:latin typeface="Merriweather"/>
              <a:ea typeface="+mn-ea"/>
              <a:cs typeface="+mn-cs"/>
            </a:endParaRPr>
          </a:p>
        </p:txBody>
      </p: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A0A9A7C9-082E-4BB4-86DD-5478159F7047}"/>
              </a:ext>
            </a:extLst>
          </p:cNvPr>
          <p:cNvCxnSpPr>
            <a:cxnSpLocks/>
          </p:cNvCxnSpPr>
          <p:nvPr/>
        </p:nvCxnSpPr>
        <p:spPr>
          <a:xfrm flipV="1">
            <a:off x="9312802" y="2703901"/>
            <a:ext cx="0" cy="1264761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4" name="TextBox 53">
            <a:extLst>
              <a:ext uri="{FF2B5EF4-FFF2-40B4-BE49-F238E27FC236}">
                <a16:creationId xmlns:a16="http://schemas.microsoft.com/office/drawing/2014/main" id="{F5D5BE12-D631-4DD8-8C43-4961C23D9000}"/>
              </a:ext>
            </a:extLst>
          </p:cNvPr>
          <p:cNvSpPr txBox="1"/>
          <p:nvPr/>
        </p:nvSpPr>
        <p:spPr>
          <a:xfrm>
            <a:off x="8725192" y="4417046"/>
            <a:ext cx="1456880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244F"/>
              </a:solidFill>
              <a:effectLst/>
              <a:uLnTx/>
              <a:uFillTx/>
              <a:latin typeface="Merriweather"/>
              <a:ea typeface="+mn-ea"/>
              <a:cs typeface="+mn-cs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1C833EFD-DF63-4657-8B86-2D29863210F4}"/>
              </a:ext>
            </a:extLst>
          </p:cNvPr>
          <p:cNvSpPr txBox="1"/>
          <p:nvPr/>
        </p:nvSpPr>
        <p:spPr>
          <a:xfrm>
            <a:off x="9311062" y="3349839"/>
            <a:ext cx="17233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44F"/>
                </a:solidFill>
                <a:effectLst/>
                <a:uLnTx/>
                <a:uFillTx/>
                <a:latin typeface="Merriweather"/>
                <a:ea typeface="+mn-ea"/>
                <a:cs typeface="+mn-cs"/>
              </a:rPr>
              <a:t>Contract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44F"/>
                </a:solidFill>
                <a:effectLst/>
                <a:uLnTx/>
                <a:uFillTx/>
                <a:latin typeface="Merriweather"/>
                <a:ea typeface="+mn-ea"/>
                <a:cs typeface="+mn-cs"/>
              </a:rPr>
              <a:t>negotiation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02B89D05-6C81-47BE-A7ED-4140CAF55E61}"/>
              </a:ext>
            </a:extLst>
          </p:cNvPr>
          <p:cNvSpPr/>
          <p:nvPr/>
        </p:nvSpPr>
        <p:spPr>
          <a:xfrm>
            <a:off x="1146038" y="3342331"/>
            <a:ext cx="240871" cy="59495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rriweather"/>
              <a:ea typeface="+mn-ea"/>
              <a:cs typeface="+mn-cs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D11282A1-471C-4C7B-ACDF-595DA65273AE}"/>
              </a:ext>
            </a:extLst>
          </p:cNvPr>
          <p:cNvSpPr/>
          <p:nvPr/>
        </p:nvSpPr>
        <p:spPr>
          <a:xfrm>
            <a:off x="835419" y="3342331"/>
            <a:ext cx="240871" cy="59495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rriweather"/>
              <a:ea typeface="+mn-ea"/>
              <a:cs typeface="+mn-cs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5D362B55-4E6D-44F8-83EE-6B21EE12C2B8}"/>
              </a:ext>
            </a:extLst>
          </p:cNvPr>
          <p:cNvSpPr txBox="1"/>
          <p:nvPr/>
        </p:nvSpPr>
        <p:spPr>
          <a:xfrm>
            <a:off x="1306206" y="2089116"/>
            <a:ext cx="12047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1600" b="1" err="1">
                <a:solidFill>
                  <a:srgbClr val="00244F"/>
                </a:solidFill>
              </a:rPr>
              <a:t>CfP</a:t>
            </a:r>
            <a:r>
              <a:rPr lang="en-US" sz="1600" b="1">
                <a:solidFill>
                  <a:srgbClr val="00244F"/>
                </a:solidFill>
              </a:rPr>
              <a:t> ope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44F"/>
                </a:solidFill>
                <a:effectLst/>
                <a:uLnTx/>
                <a:uFillTx/>
                <a:latin typeface="Merriweather"/>
                <a:ea typeface="+mn-ea"/>
                <a:cs typeface="+mn-cs"/>
              </a:rPr>
              <a:t>22</a:t>
            </a:r>
            <a:r>
              <a:rPr kumimoji="0" lang="en-US" sz="1600" b="0" i="0" u="none" strike="noStrike" kern="1200" cap="none" spc="0" normalizeH="0" baseline="30000" noProof="0">
                <a:ln>
                  <a:noFill/>
                </a:ln>
                <a:solidFill>
                  <a:srgbClr val="00244F"/>
                </a:solidFill>
                <a:effectLst/>
                <a:uLnTx/>
                <a:uFillTx/>
                <a:latin typeface="Merriweather"/>
                <a:ea typeface="+mn-ea"/>
                <a:cs typeface="+mn-cs"/>
              </a:rPr>
              <a:t>nd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44F"/>
                </a:solidFill>
                <a:effectLst/>
                <a:uLnTx/>
                <a:uFillTx/>
                <a:latin typeface="Merriweather"/>
                <a:ea typeface="+mn-ea"/>
                <a:cs typeface="+mn-cs"/>
              </a:rPr>
              <a:t>  Nov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7BC1A825-D0A3-4B44-8008-485DADDBAE2E}"/>
              </a:ext>
            </a:extLst>
          </p:cNvPr>
          <p:cNvSpPr txBox="1"/>
          <p:nvPr/>
        </p:nvSpPr>
        <p:spPr>
          <a:xfrm>
            <a:off x="4568504" y="3457329"/>
            <a:ext cx="2258688" cy="338554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44F"/>
                </a:solidFill>
                <a:effectLst/>
                <a:uLnTx/>
                <a:uFillTx/>
                <a:latin typeface="Merriweather"/>
                <a:ea typeface="+mn-ea"/>
                <a:cs typeface="+mn-cs"/>
              </a:rPr>
              <a:t>Applications Review</a:t>
            </a:r>
          </a:p>
        </p:txBody>
      </p: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2461159A-6BA7-4DD2-B167-8AABEF2172E1}"/>
              </a:ext>
            </a:extLst>
          </p:cNvPr>
          <p:cNvCxnSpPr>
            <a:cxnSpLocks/>
          </p:cNvCxnSpPr>
          <p:nvPr/>
        </p:nvCxnSpPr>
        <p:spPr>
          <a:xfrm flipH="1" flipV="1">
            <a:off x="4569272" y="2703901"/>
            <a:ext cx="3481" cy="1255201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66C2F47A-08B3-402D-B40B-B1766482BD5A}"/>
              </a:ext>
            </a:extLst>
          </p:cNvPr>
          <p:cNvSpPr txBox="1"/>
          <p:nvPr/>
        </p:nvSpPr>
        <p:spPr>
          <a:xfrm>
            <a:off x="4009408" y="1860182"/>
            <a:ext cx="1446877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1600" b="1">
                <a:solidFill>
                  <a:srgbClr val="00244F"/>
                </a:solidFill>
              </a:rPr>
              <a:t>Application deadlin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>
                <a:solidFill>
                  <a:srgbClr val="00244F"/>
                </a:solidFill>
                <a:latin typeface="Merriweather"/>
              </a:rPr>
              <a:t>2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44F"/>
                </a:solidFill>
                <a:effectLst/>
                <a:uLnTx/>
                <a:uFillTx/>
                <a:latin typeface="Merriweather"/>
                <a:ea typeface="+mn-ea"/>
                <a:cs typeface="+mn-cs"/>
              </a:rPr>
              <a:t>8</a:t>
            </a:r>
            <a:r>
              <a:rPr kumimoji="0" lang="en-US" sz="1600" b="0" i="0" u="none" strike="noStrike" kern="1200" cap="none" spc="0" normalizeH="0" baseline="30000" noProof="0">
                <a:ln>
                  <a:noFill/>
                </a:ln>
                <a:solidFill>
                  <a:srgbClr val="00244F"/>
                </a:solidFill>
                <a:effectLst/>
                <a:uLnTx/>
                <a:uFillTx/>
                <a:latin typeface="Merriweather"/>
                <a:ea typeface="+mn-ea"/>
                <a:cs typeface="+mn-cs"/>
              </a:rPr>
              <a:t>th </a:t>
            </a:r>
            <a:r>
              <a:rPr lang="en-US" sz="1600">
                <a:solidFill>
                  <a:srgbClr val="00244F"/>
                </a:solidFill>
                <a:latin typeface="Merriweather"/>
              </a:rPr>
              <a:t>Feb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244F"/>
              </a:solidFill>
              <a:effectLst/>
              <a:uLnTx/>
              <a:uFillTx/>
              <a:latin typeface="Merriweather"/>
              <a:ea typeface="+mn-ea"/>
              <a:cs typeface="+mn-cs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46E32BA8-F943-47E9-8E84-4E2C03CAEAC5}"/>
              </a:ext>
            </a:extLst>
          </p:cNvPr>
          <p:cNvSpPr txBox="1"/>
          <p:nvPr/>
        </p:nvSpPr>
        <p:spPr>
          <a:xfrm>
            <a:off x="5169212" y="4381751"/>
            <a:ext cx="1456879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244F"/>
              </a:solidFill>
              <a:effectLst/>
              <a:uLnTx/>
              <a:uFillTx/>
              <a:latin typeface="Merriweather"/>
              <a:ea typeface="+mn-ea"/>
              <a:cs typeface="+mn-cs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8C39733B-1C3E-46FB-B245-C6591C659571}"/>
              </a:ext>
            </a:extLst>
          </p:cNvPr>
          <p:cNvSpPr txBox="1"/>
          <p:nvPr/>
        </p:nvSpPr>
        <p:spPr>
          <a:xfrm>
            <a:off x="6237898" y="4722307"/>
            <a:ext cx="115528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244F"/>
              </a:solidFill>
              <a:effectLst/>
              <a:uLnTx/>
              <a:uFillTx/>
              <a:latin typeface="Merriweather"/>
              <a:ea typeface="+mn-ea"/>
              <a:cs typeface="+mn-cs"/>
            </a:endParaRP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628E9180-BE3F-4797-8E4F-91AE89511F1A}"/>
              </a:ext>
            </a:extLst>
          </p:cNvPr>
          <p:cNvCxnSpPr>
            <a:cxnSpLocks/>
          </p:cNvCxnSpPr>
          <p:nvPr/>
        </p:nvCxnSpPr>
        <p:spPr>
          <a:xfrm flipH="1" flipV="1">
            <a:off x="1834398" y="2682084"/>
            <a:ext cx="3481" cy="1255201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0D7F8E1C-EF50-407A-93FE-92208461972F}"/>
              </a:ext>
            </a:extLst>
          </p:cNvPr>
          <p:cNvSpPr txBox="1"/>
          <p:nvPr/>
        </p:nvSpPr>
        <p:spPr>
          <a:xfrm>
            <a:off x="1848824" y="3461109"/>
            <a:ext cx="2723929" cy="307777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44F"/>
                </a:solidFill>
                <a:effectLst/>
                <a:uLnTx/>
                <a:uFillTx/>
                <a:latin typeface="Merriweather"/>
                <a:ea typeface="+mn-ea"/>
                <a:cs typeface="+mn-cs"/>
              </a:rPr>
              <a:t>    Applications Submission</a:t>
            </a: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D98CC14C-6799-401B-917F-77A864049EAD}"/>
              </a:ext>
            </a:extLst>
          </p:cNvPr>
          <p:cNvCxnSpPr>
            <a:cxnSpLocks/>
          </p:cNvCxnSpPr>
          <p:nvPr/>
        </p:nvCxnSpPr>
        <p:spPr>
          <a:xfrm flipH="1" flipV="1">
            <a:off x="6825451" y="2722239"/>
            <a:ext cx="3481" cy="1255201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9AB5BD81-1261-475B-AC5A-EB68134F18E6}"/>
              </a:ext>
            </a:extLst>
          </p:cNvPr>
          <p:cNvSpPr txBox="1"/>
          <p:nvPr/>
        </p:nvSpPr>
        <p:spPr>
          <a:xfrm>
            <a:off x="6092425" y="1846586"/>
            <a:ext cx="1446877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1600" b="1">
                <a:solidFill>
                  <a:srgbClr val="00244F"/>
                </a:solidFill>
              </a:rPr>
              <a:t>Shortlist of candidat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44F"/>
                </a:solidFill>
                <a:effectLst/>
                <a:uLnTx/>
                <a:uFillTx/>
                <a:latin typeface="Merriweather"/>
                <a:ea typeface="+mn-ea"/>
                <a:cs typeface="+mn-cs"/>
              </a:rPr>
              <a:t>23</a:t>
            </a:r>
            <a:r>
              <a:rPr kumimoji="0" lang="en-US" sz="1600" b="0" i="0" u="none" strike="noStrike" kern="1200" cap="none" spc="0" normalizeH="0" baseline="30000" noProof="0">
                <a:ln>
                  <a:noFill/>
                </a:ln>
                <a:solidFill>
                  <a:srgbClr val="00244F"/>
                </a:solidFill>
                <a:effectLst/>
                <a:uLnTx/>
                <a:uFillTx/>
                <a:latin typeface="Merriweather"/>
                <a:ea typeface="+mn-ea"/>
                <a:cs typeface="+mn-cs"/>
              </a:rPr>
              <a:t>rd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44F"/>
                </a:solidFill>
                <a:effectLst/>
                <a:uLnTx/>
                <a:uFillTx/>
                <a:latin typeface="Merriweather"/>
                <a:ea typeface="+mn-ea"/>
                <a:cs typeface="+mn-cs"/>
              </a:rPr>
              <a:t> Mar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0363380-90C2-43C0-8722-9F3E5577C3CE}"/>
              </a:ext>
            </a:extLst>
          </p:cNvPr>
          <p:cNvSpPr txBox="1"/>
          <p:nvPr/>
        </p:nvSpPr>
        <p:spPr>
          <a:xfrm>
            <a:off x="8491628" y="1846587"/>
            <a:ext cx="1446877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1600" b="1">
                <a:solidFill>
                  <a:srgbClr val="00244F"/>
                </a:solidFill>
              </a:rPr>
              <a:t>Selection of partner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>
                <a:solidFill>
                  <a:srgbClr val="00244F"/>
                </a:solidFill>
                <a:latin typeface="Merriweather"/>
              </a:rPr>
              <a:t>25</a:t>
            </a:r>
            <a:r>
              <a:rPr lang="en-US" sz="1600" baseline="30000">
                <a:solidFill>
                  <a:srgbClr val="00244F"/>
                </a:solidFill>
                <a:latin typeface="Merriweather"/>
              </a:rPr>
              <a:t>th</a:t>
            </a:r>
            <a:r>
              <a:rPr lang="en-US" sz="1600">
                <a:solidFill>
                  <a:srgbClr val="00244F"/>
                </a:solidFill>
                <a:latin typeface="Merriweather"/>
              </a:rPr>
              <a:t> Apr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244F"/>
              </a:solidFill>
              <a:effectLst/>
              <a:uLnTx/>
              <a:uFillTx/>
              <a:latin typeface="Merriweather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57884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5CF49E7-6E55-4B53-8D02-35EC31B2BB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3913" y="1346538"/>
            <a:ext cx="10515600" cy="3980135"/>
          </a:xfrm>
        </p:spPr>
        <p:txBody>
          <a:bodyPr/>
          <a:lstStyle/>
          <a:p>
            <a:pPr marL="0" marR="0" indent="0"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solidFill>
                  <a:srgbClr val="00244F"/>
                </a:solidFill>
                <a:effectLst/>
                <a:latin typeface="Merriweather Light" panose="00000400000000000000" pitchFamily="2" charset="0"/>
                <a:ea typeface="MS Mincho" panose="02020609040205080304" pitchFamily="49" charset="-128"/>
                <a:cs typeface="Calibri" panose="020F0502020204030204" pitchFamily="34" charset="0"/>
              </a:rPr>
              <a:t>Applicants must meet the following minimum eligibility criteria:</a:t>
            </a:r>
          </a:p>
          <a:p>
            <a:pPr marL="0" marR="0" indent="0"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600">
              <a:solidFill>
                <a:srgbClr val="00244F"/>
              </a:solidFill>
              <a:effectLst/>
              <a:latin typeface="Merriweather Light" panose="00000400000000000000" pitchFamily="2" charset="0"/>
              <a:ea typeface="MS Mincho" panose="02020609040205080304" pitchFamily="49" charset="-128"/>
              <a:cs typeface="Times New Roman" panose="02020603050405020304" pitchFamily="18" charset="0"/>
            </a:endParaRPr>
          </a:p>
          <a:p>
            <a:pPr marL="342900" marR="0" lvl="0" indent="-342900"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900"/>
              <a:buFont typeface="Symbol" panose="05050102010706020507" pitchFamily="18" charset="2"/>
              <a:buChar char=""/>
            </a:pPr>
            <a:r>
              <a:rPr lang="en-US" sz="1600" kern="1000">
                <a:solidFill>
                  <a:srgbClr val="00244F"/>
                </a:solidFill>
                <a:effectLst/>
                <a:latin typeface="Merriweather Light" panose="00000400000000000000" pitchFamily="2" charset="0"/>
                <a:ea typeface="MS Mincho" panose="02020609040205080304" pitchFamily="49" charset="-128"/>
                <a:cs typeface="Calibri" panose="020F0502020204030204" pitchFamily="34" charset="0"/>
              </a:rPr>
              <a:t>have the ability to perform one or more vaccine-relevant immunological assays for human and/or animal samples.</a:t>
            </a:r>
            <a:endParaRPr lang="en-US" sz="1600" kern="1000">
              <a:solidFill>
                <a:srgbClr val="00244F"/>
              </a:solidFill>
              <a:effectLst/>
              <a:latin typeface="Merriweather Light" panose="00000400000000000000" pitchFamily="2" charset="0"/>
              <a:ea typeface="MS Mincho" panose="02020609040205080304" pitchFamily="49" charset="-128"/>
              <a:cs typeface="Times New Roman" panose="02020603050405020304" pitchFamily="18" charset="0"/>
            </a:endParaRPr>
          </a:p>
          <a:p>
            <a:pPr marL="342900" marR="0" lvl="0" indent="-342900"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900"/>
              <a:buFont typeface="Symbol" panose="05050102010706020507" pitchFamily="18" charset="2"/>
              <a:buChar char=""/>
            </a:pPr>
            <a:r>
              <a:rPr lang="en-GB" sz="1600" kern="1000">
                <a:solidFill>
                  <a:srgbClr val="00244F"/>
                </a:solidFill>
                <a:effectLst/>
                <a:latin typeface="Merriweather Light" panose="00000400000000000000" pitchFamily="2" charset="0"/>
                <a:ea typeface="MS Mincho" panose="02020609040205080304" pitchFamily="49" charset="-128"/>
                <a:cs typeface="Calibri" panose="020F0502020204030204" pitchFamily="34" charset="0"/>
              </a:rPr>
              <a:t>have the ability</a:t>
            </a:r>
            <a:r>
              <a:rPr lang="en-US" sz="1600" kern="1000">
                <a:solidFill>
                  <a:srgbClr val="00244F"/>
                </a:solidFill>
                <a:effectLst/>
                <a:latin typeface="Merriweather Light" panose="00000400000000000000" pitchFamily="2" charset="0"/>
                <a:ea typeface="MS Mincho" panose="02020609040205080304" pitchFamily="49" charset="-128"/>
                <a:cs typeface="Calibri" panose="020F0502020204030204" pitchFamily="34" charset="0"/>
              </a:rPr>
              <a:t> to perform those assays testing immunity CEPI priority pathogens and new emerging pathogens.  </a:t>
            </a:r>
            <a:endParaRPr lang="en-US" sz="1600" kern="1000">
              <a:solidFill>
                <a:srgbClr val="00244F"/>
              </a:solidFill>
              <a:effectLst/>
              <a:latin typeface="Merriweather Light" panose="00000400000000000000" pitchFamily="2" charset="0"/>
              <a:ea typeface="MS Mincho" panose="02020609040205080304" pitchFamily="49" charset="-128"/>
              <a:cs typeface="Times New Roman" panose="02020603050405020304" pitchFamily="18" charset="0"/>
            </a:endParaRPr>
          </a:p>
          <a:p>
            <a:pPr marL="342900" marR="0" lvl="0" indent="-34290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900"/>
              <a:buFont typeface="Symbol" panose="05050102010706020507" pitchFamily="18" charset="2"/>
              <a:buChar char=""/>
            </a:pPr>
            <a:r>
              <a:rPr lang="en-US" sz="1600" kern="1000">
                <a:solidFill>
                  <a:srgbClr val="00244F"/>
                </a:solidFill>
                <a:effectLst/>
                <a:latin typeface="Merriweather Light" panose="00000400000000000000" pitchFamily="2" charset="0"/>
                <a:ea typeface="MS Mincho" panose="02020609040205080304" pitchFamily="49" charset="-128"/>
                <a:cs typeface="Calibri" panose="020F0502020204030204" pitchFamily="34" charset="0"/>
              </a:rPr>
              <a:t>have experience with immunological assay(s) development.</a:t>
            </a:r>
            <a:endParaRPr lang="en-US" sz="1600" kern="1000">
              <a:solidFill>
                <a:srgbClr val="00244F"/>
              </a:solidFill>
              <a:effectLst/>
              <a:latin typeface="Merriweather Light" panose="00000400000000000000" pitchFamily="2" charset="0"/>
              <a:ea typeface="MS Mincho" panose="02020609040205080304" pitchFamily="49" charset="-128"/>
              <a:cs typeface="Times New Roman" panose="02020603050405020304" pitchFamily="18" charset="0"/>
            </a:endParaRPr>
          </a:p>
          <a:p>
            <a:pPr marL="342900" marR="0" lvl="0" indent="-34290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SzPts val="900"/>
              <a:buFont typeface="Symbol" panose="05050102010706020507" pitchFamily="18" charset="2"/>
              <a:buChar char=""/>
            </a:pPr>
            <a:r>
              <a:rPr lang="en-US" sz="1600" kern="1000">
                <a:solidFill>
                  <a:srgbClr val="00244F"/>
                </a:solidFill>
                <a:effectLst/>
                <a:latin typeface="Merriweather Light" panose="00000400000000000000" pitchFamily="2" charset="0"/>
                <a:ea typeface="MS Mincho" panose="02020609040205080304" pitchFamily="49" charset="-128"/>
                <a:cs typeface="Calibri" panose="020F0502020204030204" pitchFamily="34" charset="0"/>
              </a:rPr>
              <a:t>demonstrate experience in tech transfer the assay(s) to and from other laboratories and be willing to share protocols.</a:t>
            </a:r>
            <a:endParaRPr lang="en-US" sz="1600" kern="1000">
              <a:solidFill>
                <a:srgbClr val="00244F"/>
              </a:solidFill>
              <a:effectLst/>
              <a:latin typeface="Merriweather Light" panose="00000400000000000000" pitchFamily="2" charset="0"/>
              <a:ea typeface="MS Mincho" panose="02020609040205080304" pitchFamily="49" charset="-128"/>
              <a:cs typeface="Times New Roman" panose="02020603050405020304" pitchFamily="18" charset="0"/>
            </a:endParaRPr>
          </a:p>
          <a:p>
            <a:pPr marL="342900" marR="0" lvl="0" indent="-342900"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900"/>
              <a:buFont typeface="Symbol" panose="05050102010706020507" pitchFamily="18" charset="2"/>
              <a:buChar char=""/>
            </a:pPr>
            <a:r>
              <a:rPr lang="en-US" sz="1600" kern="1000">
                <a:solidFill>
                  <a:srgbClr val="00244F"/>
                </a:solidFill>
                <a:effectLst/>
                <a:latin typeface="Merriweather Light" panose="00000400000000000000" pitchFamily="2" charset="0"/>
                <a:ea typeface="MS Mincho" panose="02020609040205080304" pitchFamily="49" charset="-128"/>
                <a:cs typeface="Calibri" panose="020F0502020204030204" pitchFamily="34" charset="0"/>
              </a:rPr>
              <a:t>be able to perform studies under GLP/GCLP conditions or a quality system that assures data quality and integrity.</a:t>
            </a:r>
            <a:endParaRPr lang="en-US" sz="1600" kern="1000">
              <a:solidFill>
                <a:srgbClr val="00244F"/>
              </a:solidFill>
              <a:effectLst/>
              <a:latin typeface="Merriweather Light" panose="00000400000000000000" pitchFamily="2" charset="0"/>
              <a:ea typeface="MS Mincho" panose="02020609040205080304" pitchFamily="49" charset="-128"/>
              <a:cs typeface="Times New Roman" panose="02020603050405020304" pitchFamily="18" charset="0"/>
            </a:endParaRPr>
          </a:p>
          <a:p>
            <a:pPr marL="342900" marR="0" lvl="0" indent="-342900"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900"/>
              <a:buFont typeface="Symbol" panose="05050102010706020507" pitchFamily="18" charset="2"/>
              <a:buChar char=""/>
            </a:pPr>
            <a:r>
              <a:rPr lang="en-US" sz="1600" kern="1000">
                <a:solidFill>
                  <a:srgbClr val="00244F"/>
                </a:solidFill>
                <a:effectLst/>
                <a:latin typeface="Merriweather Light" panose="00000400000000000000" pitchFamily="2" charset="0"/>
                <a:ea typeface="MS Mincho" panose="02020609040205080304" pitchFamily="49" charset="-128"/>
                <a:cs typeface="Calibri" panose="020F0502020204030204" pitchFamily="34" charset="0"/>
              </a:rPr>
              <a:t>be willing to work with CEPI to collaboratively design the most relevant immunological assays for the purpose. </a:t>
            </a:r>
            <a:endParaRPr lang="en-US" sz="1600" kern="1000">
              <a:solidFill>
                <a:srgbClr val="00244F"/>
              </a:solidFill>
              <a:effectLst/>
              <a:latin typeface="Merriweather Light" panose="00000400000000000000" pitchFamily="2" charset="0"/>
              <a:ea typeface="MS Mincho" panose="02020609040205080304" pitchFamily="49" charset="-128"/>
              <a:cs typeface="Times New Roman" panose="02020603050405020304" pitchFamily="18" charset="0"/>
            </a:endParaRPr>
          </a:p>
          <a:p>
            <a:pPr marL="342900" marR="0" lvl="0" indent="-342900"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900"/>
              <a:buFont typeface="Symbol" panose="05050102010706020507" pitchFamily="18" charset="2"/>
              <a:buChar char=""/>
            </a:pPr>
            <a:r>
              <a:rPr lang="en-US" sz="1600" kern="1000">
                <a:solidFill>
                  <a:srgbClr val="00244F"/>
                </a:solidFill>
                <a:effectLst/>
                <a:latin typeface="Merriweather Light" panose="00000400000000000000" pitchFamily="2" charset="0"/>
                <a:ea typeface="MS Mincho" panose="02020609040205080304" pitchFamily="49" charset="-128"/>
                <a:cs typeface="Calibri" panose="020F0502020204030204" pitchFamily="34" charset="0"/>
              </a:rPr>
              <a:t>be able and willing to prioritize CEPI work over other on–going projects.</a:t>
            </a:r>
            <a:endParaRPr lang="en-US" sz="1600" kern="1000">
              <a:solidFill>
                <a:srgbClr val="00244F"/>
              </a:solidFill>
              <a:effectLst/>
              <a:latin typeface="Merriweather Light" panose="00000400000000000000" pitchFamily="2" charset="0"/>
              <a:ea typeface="MS Mincho" panose="02020609040205080304" pitchFamily="49" charset="-128"/>
              <a:cs typeface="Times New Roman" panose="02020603050405020304" pitchFamily="18" charset="0"/>
            </a:endParaRPr>
          </a:p>
          <a:p>
            <a:pPr marL="342900" marR="0" lvl="0" indent="-342900"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900"/>
              <a:buFont typeface="Symbol" panose="05050102010706020507" pitchFamily="18" charset="2"/>
              <a:buChar char=""/>
            </a:pPr>
            <a:r>
              <a:rPr lang="en-US" sz="1600" kern="1000">
                <a:solidFill>
                  <a:srgbClr val="00244F"/>
                </a:solidFill>
                <a:effectLst/>
                <a:latin typeface="Merriweather Light" panose="00000400000000000000" pitchFamily="2" charset="0"/>
                <a:ea typeface="MS Mincho" panose="02020609040205080304" pitchFamily="49" charset="-128"/>
                <a:cs typeface="Calibri" panose="020F0502020204030204" pitchFamily="34" charset="0"/>
              </a:rPr>
              <a:t>support preclinical and clinical </a:t>
            </a:r>
            <a:r>
              <a:rPr lang="en-US" sz="1600" kern="1000" err="1">
                <a:solidFill>
                  <a:srgbClr val="00244F"/>
                </a:solidFill>
                <a:effectLst/>
                <a:latin typeface="Merriweather Light" panose="00000400000000000000" pitchFamily="2" charset="0"/>
                <a:ea typeface="MS Mincho" panose="02020609040205080304" pitchFamily="49" charset="-128"/>
                <a:cs typeface="Calibri" panose="020F0502020204030204" pitchFamily="34" charset="0"/>
              </a:rPr>
              <a:t>programmes</a:t>
            </a:r>
            <a:r>
              <a:rPr lang="en-US" sz="1600" kern="1000">
                <a:solidFill>
                  <a:srgbClr val="00244F"/>
                </a:solidFill>
                <a:effectLst/>
                <a:latin typeface="Merriweather Light" panose="00000400000000000000" pitchFamily="2" charset="0"/>
                <a:ea typeface="MS Mincho" panose="02020609040205080304" pitchFamily="49" charset="-128"/>
                <a:cs typeface="Calibri" panose="020F0502020204030204" pitchFamily="34" charset="0"/>
              </a:rPr>
              <a:t> to ensure protocols and ethics applications for trials are aligned with the analytical plans.</a:t>
            </a:r>
            <a:endParaRPr lang="en-US" sz="1600" kern="1000">
              <a:solidFill>
                <a:srgbClr val="00244F"/>
              </a:solidFill>
              <a:effectLst/>
              <a:latin typeface="Merriweather Light" panose="00000400000000000000" pitchFamily="2" charset="0"/>
              <a:ea typeface="MS Mincho" panose="02020609040205080304" pitchFamily="49" charset="-128"/>
              <a:cs typeface="Times New Roman" panose="02020603050405020304" pitchFamily="18" charset="0"/>
            </a:endParaRPr>
          </a:p>
          <a:p>
            <a:endParaRPr lang="en-US" sz="120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4932D70-C6EE-425C-9838-58E6377F8D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ligibility criteria</a:t>
            </a:r>
          </a:p>
        </p:txBody>
      </p:sp>
    </p:spTree>
    <p:extLst>
      <p:ext uri="{BB962C8B-B14F-4D97-AF65-F5344CB8AC3E}">
        <p14:creationId xmlns:p14="http://schemas.microsoft.com/office/powerpoint/2010/main" val="333115917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5CF49E7-6E55-4B53-8D02-35EC31B2BB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38932"/>
            <a:ext cx="10515600" cy="3980135"/>
          </a:xfrm>
        </p:spPr>
        <p:txBody>
          <a:bodyPr/>
          <a:lstStyle/>
          <a:p>
            <a:pPr marL="0" indent="0"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latin typeface="Merriweather Light" panose="00000400000000000000" pitchFamily="2" charset="0"/>
                <a:ea typeface="MS Mincho" panose="02020609040205080304" pitchFamily="49" charset="-128"/>
                <a:cs typeface="Calibri" panose="020F0502020204030204" pitchFamily="34" charset="0"/>
              </a:rPr>
              <a:t>All applications will be reviewed based on the following evaluation criteria:</a:t>
            </a:r>
          </a:p>
          <a:p>
            <a:pPr marL="0" indent="0"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600">
              <a:latin typeface="Merriweather Light" panose="00000400000000000000" pitchFamily="2" charset="0"/>
              <a:ea typeface="MS Mincho" panose="02020609040205080304" pitchFamily="49" charset="-128"/>
              <a:cs typeface="Calibri" panose="020F0502020204030204" pitchFamily="34" charset="0"/>
            </a:endParaRPr>
          </a:p>
          <a:p>
            <a:pPr marL="342900" lvl="0" indent="-34290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en-US" sz="1600">
                <a:latin typeface="Merriweather Light" panose="00000400000000000000" pitchFamily="2" charset="0"/>
                <a:ea typeface="MS Mincho" panose="02020609040205080304" pitchFamily="49" charset="-128"/>
                <a:cs typeface="Calibri" panose="020F0502020204030204" pitchFamily="34" charset="0"/>
              </a:rPr>
              <a:t>Applicant competencies, experience and track record.</a:t>
            </a:r>
          </a:p>
          <a:p>
            <a:pPr marL="342900" lvl="0" indent="-34290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en-US" sz="1600">
                <a:latin typeface="Merriweather Light" panose="00000400000000000000" pitchFamily="2" charset="0"/>
                <a:ea typeface="MS Mincho" panose="02020609040205080304" pitchFamily="49" charset="-128"/>
                <a:cs typeface="Calibri" panose="020F0502020204030204" pitchFamily="34" charset="0"/>
              </a:rPr>
              <a:t>Adequate capacity for the studies.</a:t>
            </a:r>
          </a:p>
          <a:p>
            <a:pPr marL="342900" lvl="0" indent="-34290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en-US" sz="1600">
                <a:latin typeface="Merriweather Light" panose="00000400000000000000" pitchFamily="2" charset="0"/>
                <a:ea typeface="MS Mincho" panose="02020609040205080304" pitchFamily="49" charset="-128"/>
                <a:cs typeface="Calibri" panose="020F0502020204030204" pitchFamily="34" charset="0"/>
              </a:rPr>
              <a:t>Ability to prioritize analysis of samples from CEPI vaccines trials over any other on-going projects.</a:t>
            </a:r>
          </a:p>
          <a:p>
            <a:pPr marL="342900" lvl="0" indent="-34290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en-US" sz="1600">
                <a:latin typeface="Merriweather Light" panose="00000400000000000000" pitchFamily="2" charset="0"/>
                <a:ea typeface="MS Mincho" panose="02020609040205080304" pitchFamily="49" charset="-128"/>
                <a:cs typeface="Calibri" panose="020F0502020204030204" pitchFamily="34" charset="0"/>
              </a:rPr>
              <a:t>Appropriate quality systems in place.</a:t>
            </a:r>
          </a:p>
          <a:p>
            <a:pPr marL="342900" lvl="0" indent="-34290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en-US" sz="1600">
                <a:latin typeface="Merriweather Light" panose="00000400000000000000" pitchFamily="2" charset="0"/>
                <a:ea typeface="MS Mincho" panose="02020609040205080304" pitchFamily="49" charset="-128"/>
                <a:cs typeface="Calibri" panose="020F0502020204030204" pitchFamily="34" charset="0"/>
              </a:rPr>
              <a:t>Proven ability to maintain sufficient reagent stocks.</a:t>
            </a:r>
          </a:p>
          <a:p>
            <a:pPr marL="342900" lvl="0" indent="-34290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en-US" sz="1600">
                <a:latin typeface="Merriweather Light" panose="00000400000000000000" pitchFamily="2" charset="0"/>
                <a:ea typeface="MS Mincho" panose="02020609040205080304" pitchFamily="49" charset="-128"/>
                <a:cs typeface="Calibri" panose="020F0502020204030204" pitchFamily="34" charset="0"/>
              </a:rPr>
              <a:t>Appropriate project management capabilities.</a:t>
            </a:r>
          </a:p>
          <a:p>
            <a:pPr marL="342900" lvl="0" indent="-34290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en-US" sz="1600">
                <a:latin typeface="Merriweather Light" panose="00000400000000000000" pitchFamily="2" charset="0"/>
                <a:ea typeface="MS Mincho" panose="02020609040205080304" pitchFamily="49" charset="-128"/>
                <a:cs typeface="Calibri" panose="020F0502020204030204" pitchFamily="34" charset="0"/>
              </a:rPr>
              <a:t>Proven record of receiving samples from multiple geographical locations.</a:t>
            </a:r>
          </a:p>
          <a:p>
            <a:pPr marL="342900" lvl="0" indent="-34290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en-US" sz="1600">
                <a:latin typeface="Merriweather Light" panose="00000400000000000000" pitchFamily="2" charset="0"/>
                <a:ea typeface="MS Mincho" panose="02020609040205080304" pitchFamily="49" charset="-128"/>
                <a:cs typeface="Calibri" panose="020F0502020204030204" pitchFamily="34" charset="0"/>
              </a:rPr>
              <a:t>Ability to work in a network of international labs to harmonize protocols, reagents and data.</a:t>
            </a:r>
          </a:p>
          <a:p>
            <a:pPr marL="342900" lvl="0" indent="-34290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en-US" sz="1600">
                <a:latin typeface="Merriweather Light" panose="00000400000000000000" pitchFamily="2" charset="0"/>
                <a:ea typeface="MS Mincho" panose="02020609040205080304" pitchFamily="49" charset="-128"/>
                <a:cs typeface="Calibri" panose="020F0502020204030204" pitchFamily="34" charset="0"/>
              </a:rPr>
              <a:t>Competitive pricing.</a:t>
            </a:r>
          </a:p>
          <a:p>
            <a:pPr marL="0" indent="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None/>
            </a:pPr>
            <a:endParaRPr lang="en-US" sz="1600">
              <a:latin typeface="Merriweather Light" panose="00000400000000000000" pitchFamily="2" charset="0"/>
              <a:ea typeface="MS Mincho" panose="02020609040205080304" pitchFamily="49" charset="-128"/>
              <a:cs typeface="Calibri" panose="020F0502020204030204" pitchFamily="34" charset="0"/>
            </a:endParaRPr>
          </a:p>
          <a:p>
            <a:pPr marL="0" indent="0" algn="just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600">
                <a:latin typeface="Merriweather Light" panose="00000400000000000000" pitchFamily="2" charset="0"/>
                <a:ea typeface="MS Mincho" panose="02020609040205080304" pitchFamily="49" charset="-128"/>
                <a:cs typeface="Calibri" panose="020F0502020204030204" pitchFamily="34" charset="0"/>
              </a:rPr>
              <a:t>The application will be reviewed by CEPI internal experts and external experts. </a:t>
            </a:r>
          </a:p>
          <a:p>
            <a:endParaRPr lang="en-US" sz="120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4932D70-C6EE-425C-9838-58E6377F8D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valuation criteria</a:t>
            </a:r>
          </a:p>
        </p:txBody>
      </p:sp>
    </p:spTree>
    <p:extLst>
      <p:ext uri="{BB962C8B-B14F-4D97-AF65-F5344CB8AC3E}">
        <p14:creationId xmlns:p14="http://schemas.microsoft.com/office/powerpoint/2010/main" val="15523851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802C112-98CC-421A-A3B0-FDC42B7E0F6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2800" b="0"/>
          </a:p>
          <a:p>
            <a:r>
              <a:rPr lang="en-US" sz="2800" b="0"/>
              <a:t>Introduction </a:t>
            </a:r>
            <a:r>
              <a:rPr lang="en-US" sz="1600" b="0"/>
              <a:t>5 min</a:t>
            </a:r>
          </a:p>
          <a:p>
            <a:r>
              <a:rPr lang="en-US" sz="2800" b="0"/>
              <a:t>Background </a:t>
            </a:r>
            <a:r>
              <a:rPr lang="en-US" sz="1600" b="0"/>
              <a:t>15 min</a:t>
            </a:r>
            <a:endParaRPr lang="en-US" sz="2800" b="0"/>
          </a:p>
          <a:p>
            <a:r>
              <a:rPr lang="en-US" sz="2800" b="0"/>
              <a:t>New Call for Proposal </a:t>
            </a:r>
            <a:r>
              <a:rPr lang="en-US" sz="1600" b="0"/>
              <a:t>25 min</a:t>
            </a:r>
          </a:p>
          <a:p>
            <a:r>
              <a:rPr lang="en-US" sz="2800" b="0"/>
              <a:t>Q&amp;A </a:t>
            </a:r>
            <a:r>
              <a:rPr lang="en-US" sz="1600" b="0"/>
              <a:t>15 mi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BE1C982-5120-4A6F-8BDC-1EC016B319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37253927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1F969F4-090E-4EEF-86E6-683177BD21A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/>
              <a:t>Instruments and Software</a:t>
            </a:r>
          </a:p>
          <a:p>
            <a:r>
              <a:rPr lang="en-US" sz="2800" dirty="0"/>
              <a:t>Technological expertise, know-how</a:t>
            </a:r>
          </a:p>
          <a:p>
            <a:r>
              <a:rPr lang="en-US" sz="2800" dirty="0"/>
              <a:t>Funds for assay development, tech transfer, key reagents and sample testing</a:t>
            </a:r>
          </a:p>
          <a:p>
            <a:r>
              <a:rPr lang="en-GB" sz="2800" dirty="0"/>
              <a:t>Additional technical staff to not-for-profit organisations</a:t>
            </a:r>
            <a:endParaRPr lang="en-US" sz="2800" dirty="0"/>
          </a:p>
          <a:p>
            <a:endParaRPr lang="en-US" sz="2800" dirty="0"/>
          </a:p>
          <a:p>
            <a:endParaRPr lang="en-US" sz="2800" dirty="0"/>
          </a:p>
          <a:p>
            <a:endParaRPr lang="en-US" sz="2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C2C0DBA-F197-40E2-9C76-5AF8A8CE56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EPI support to laboratories</a:t>
            </a:r>
          </a:p>
        </p:txBody>
      </p:sp>
    </p:spTree>
    <p:extLst>
      <p:ext uri="{BB962C8B-B14F-4D97-AF65-F5344CB8AC3E}">
        <p14:creationId xmlns:p14="http://schemas.microsoft.com/office/powerpoint/2010/main" val="333877853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4932D70-C6EE-425C-9838-58E6377F8D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pplication templat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494008C-D50B-4F4F-B6F7-6A714E591401}"/>
              </a:ext>
            </a:extLst>
          </p:cNvPr>
          <p:cNvSpPr txBox="1"/>
          <p:nvPr/>
        </p:nvSpPr>
        <p:spPr>
          <a:xfrm>
            <a:off x="1571348" y="1871799"/>
            <a:ext cx="4027064" cy="41549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AutoNum type="arabicParenR"/>
            </a:pPr>
            <a:r>
              <a:rPr lang="en-US" sz="2400" err="1"/>
              <a:t>CfP</a:t>
            </a:r>
            <a:r>
              <a:rPr lang="en-US" sz="2400"/>
              <a:t> Scope</a:t>
            </a:r>
          </a:p>
          <a:p>
            <a:pPr marL="342900" indent="-342900">
              <a:buAutoNum type="arabicParenR"/>
            </a:pPr>
            <a:endParaRPr lang="en-US" sz="2400"/>
          </a:p>
          <a:p>
            <a:pPr marL="342900" indent="-342900">
              <a:buAutoNum type="arabicParenR"/>
            </a:pPr>
            <a:r>
              <a:rPr lang="en-US" sz="2400"/>
              <a:t>Applicant organization</a:t>
            </a:r>
          </a:p>
          <a:p>
            <a:pPr marL="342900" indent="-342900">
              <a:buAutoNum type="arabicParenR"/>
            </a:pPr>
            <a:endParaRPr lang="en-US" sz="2400"/>
          </a:p>
          <a:p>
            <a:pPr marL="342900" indent="-342900">
              <a:buAutoNum type="arabicParenR"/>
            </a:pPr>
            <a:r>
              <a:rPr lang="en-US" sz="2400"/>
              <a:t>Capacity</a:t>
            </a:r>
          </a:p>
          <a:p>
            <a:pPr marL="342900" indent="-342900">
              <a:buAutoNum type="arabicParenR"/>
            </a:pPr>
            <a:endParaRPr lang="en-US" sz="2400"/>
          </a:p>
          <a:p>
            <a:pPr marL="342900" indent="-342900">
              <a:buAutoNum type="arabicParenR"/>
            </a:pPr>
            <a:r>
              <a:rPr lang="en-US" sz="2400"/>
              <a:t>Quality system</a:t>
            </a:r>
          </a:p>
          <a:p>
            <a:pPr marL="342900" indent="-342900">
              <a:buAutoNum type="arabicParenR"/>
            </a:pPr>
            <a:endParaRPr lang="en-US" sz="2400"/>
          </a:p>
          <a:p>
            <a:pPr marL="342900" indent="-342900">
              <a:buAutoNum type="arabicParenR"/>
            </a:pPr>
            <a:r>
              <a:rPr lang="en-US" sz="2400"/>
              <a:t>Budget</a:t>
            </a:r>
          </a:p>
          <a:p>
            <a:pPr marL="342900" indent="-342900">
              <a:buAutoNum type="arabicParenR"/>
            </a:pPr>
            <a:endParaRPr lang="en-US" sz="2400"/>
          </a:p>
          <a:p>
            <a:pPr marL="342900" indent="-342900">
              <a:buAutoNum type="arabicParenR"/>
            </a:pPr>
            <a:endParaRPr lang="en-US" sz="2400"/>
          </a:p>
        </p:txBody>
      </p:sp>
      <p:pic>
        <p:nvPicPr>
          <p:cNvPr id="9218" name="Picture 2" descr="Checklist List Check - Free image on Pixabay">
            <a:extLst>
              <a:ext uri="{FF2B5EF4-FFF2-40B4-BE49-F238E27FC236}">
                <a16:creationId xmlns:a16="http://schemas.microsoft.com/office/drawing/2014/main" id="{7D4CB99B-75E9-4D00-BE6D-5599158F1A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747122">
            <a:off x="7341972" y="2073053"/>
            <a:ext cx="4207876" cy="3369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4976179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4932D70-C6EE-425C-9838-58E6377F8D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pplication template: scop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31D265C-5160-4848-9D5B-C91EDE96F4C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7427" t="30835" r="10073" b="42835"/>
          <a:stretch/>
        </p:blipFill>
        <p:spPr>
          <a:xfrm>
            <a:off x="1522354" y="1756438"/>
            <a:ext cx="9147292" cy="3345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639052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4932D70-C6EE-425C-9838-58E6377F8D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pplication template: applican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DFB544C-BA54-4D1E-A457-0C5242D57A9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8438" t="21805" r="19375" b="8194"/>
          <a:stretch/>
        </p:blipFill>
        <p:spPr>
          <a:xfrm>
            <a:off x="2438400" y="1485580"/>
            <a:ext cx="7315200" cy="4631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165187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4932D70-C6EE-425C-9838-58E6377F8D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pplication template: capacity (1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128D051-8CD7-4215-89A4-5CED1736A5E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1641" t="19861" r="4766" b="21389"/>
          <a:stretch/>
        </p:blipFill>
        <p:spPr>
          <a:xfrm>
            <a:off x="2438400" y="1042894"/>
            <a:ext cx="7315200" cy="5545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186790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4932D70-C6EE-425C-9838-58E6377F8D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pplication template: capacity (2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B1DFE54-87BE-4CBE-AF10-B8CFB246189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8024" t="31301" r="10495" b="30348"/>
          <a:stretch/>
        </p:blipFill>
        <p:spPr>
          <a:xfrm>
            <a:off x="2331868" y="1498571"/>
            <a:ext cx="7528264" cy="4200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130780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4932D70-C6EE-425C-9838-58E6377F8D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pplication template: qualit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A9A841-6C58-4B24-AA4C-67B3F9996A9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3047" t="24722" r="23828" b="11250"/>
          <a:stretch/>
        </p:blipFill>
        <p:spPr>
          <a:xfrm>
            <a:off x="2438400" y="1418571"/>
            <a:ext cx="7315200" cy="4959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277565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4932D70-C6EE-425C-9838-58E6377F8D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pplication template: budge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23D18DE-5B91-40F8-A079-3BB10F04D2C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2087" t="36194" r="62282" b="32349"/>
          <a:stretch/>
        </p:blipFill>
        <p:spPr>
          <a:xfrm>
            <a:off x="2438400" y="2026228"/>
            <a:ext cx="7315200" cy="2805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837085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5CF49E7-6E55-4B53-8D02-35EC31B2BB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8301" y="1790422"/>
            <a:ext cx="8176491" cy="3980135"/>
          </a:xfrm>
        </p:spPr>
        <p:txBody>
          <a:bodyPr/>
          <a:lstStyle/>
          <a:p>
            <a:r>
              <a:rPr lang="en-GB" sz="1800" dirty="0">
                <a:solidFill>
                  <a:srgbClr val="00244F"/>
                </a:solidFill>
                <a:latin typeface="Georgia Regular" charset="0"/>
              </a:rPr>
              <a:t>More info on the CEPI Centralized Lab:</a:t>
            </a:r>
            <a:r>
              <a:rPr lang="en-US" sz="1800" dirty="0">
                <a:solidFill>
                  <a:srgbClr val="0563C1"/>
                </a:solidFill>
                <a:hlinkClick r:id="rId2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en-US" sz="1800" dirty="0">
                <a:solidFill>
                  <a:srgbClr val="00B0F0"/>
                </a:solidFill>
                <a:hlinkClick r:id="rId2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Enabling Sciences • Epidemic Preparedness Innovations (tghn.org)</a:t>
            </a:r>
            <a:endParaRPr lang="en-US" sz="1800" dirty="0">
              <a:solidFill>
                <a:srgbClr val="00B0F0"/>
              </a:solidFill>
            </a:endParaRPr>
          </a:p>
          <a:p>
            <a:r>
              <a:rPr lang="en-GB" sz="1800" dirty="0">
                <a:solidFill>
                  <a:srgbClr val="00244F"/>
                </a:solidFill>
                <a:latin typeface="Georgia Regular"/>
              </a:rPr>
              <a:t>The </a:t>
            </a:r>
            <a:r>
              <a:rPr lang="en-GB" sz="1800" dirty="0" err="1">
                <a:solidFill>
                  <a:srgbClr val="00244F"/>
                </a:solidFill>
                <a:latin typeface="Georgia Regular"/>
              </a:rPr>
              <a:t>CfP</a:t>
            </a:r>
            <a:r>
              <a:rPr lang="en-GB" sz="1800" dirty="0">
                <a:solidFill>
                  <a:srgbClr val="00244F"/>
                </a:solidFill>
                <a:latin typeface="Georgia Regular"/>
              </a:rPr>
              <a:t> </a:t>
            </a:r>
            <a:r>
              <a:rPr lang="en-GB" sz="1800" dirty="0" err="1">
                <a:solidFill>
                  <a:srgbClr val="00244F"/>
                </a:solidFill>
                <a:latin typeface="Georgia Regular"/>
              </a:rPr>
              <a:t>ispublished</a:t>
            </a:r>
            <a:r>
              <a:rPr lang="en-GB" sz="1800" dirty="0">
                <a:solidFill>
                  <a:srgbClr val="00244F"/>
                </a:solidFill>
                <a:latin typeface="Georgia Regular"/>
              </a:rPr>
              <a:t> on the CEPI website: </a:t>
            </a:r>
            <a:r>
              <a:rPr lang="en-US" sz="1800" dirty="0">
                <a:solidFill>
                  <a:srgbClr val="00B0F0"/>
                </a:solidFill>
                <a:latin typeface="Georgia Regular"/>
                <a:hlinkClick r:id="rId3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Calls for Proposals </a:t>
            </a:r>
            <a:endParaRPr lang="en-US" sz="1800" dirty="0">
              <a:solidFill>
                <a:srgbClr val="00B0F0"/>
              </a:solidFill>
              <a:latin typeface="Georgia Regular"/>
            </a:endParaRPr>
          </a:p>
          <a:p>
            <a:pPr marL="457200" lvl="1" indent="0">
              <a:buNone/>
            </a:pPr>
            <a:r>
              <a:rPr lang="en-US" sz="1800" dirty="0">
                <a:solidFill>
                  <a:schemeClr val="tx1"/>
                </a:solidFill>
                <a:latin typeface="Georgia Regular"/>
              </a:rPr>
              <a:t>You will find:</a:t>
            </a:r>
          </a:p>
          <a:p>
            <a:pPr lvl="2"/>
            <a:r>
              <a:rPr lang="en-US" sz="1800" dirty="0">
                <a:solidFill>
                  <a:schemeClr val="tx1"/>
                </a:solidFill>
                <a:latin typeface="Georgia Regular"/>
              </a:rPr>
              <a:t>A link to the </a:t>
            </a:r>
            <a:r>
              <a:rPr lang="en-US" sz="1800" dirty="0" err="1">
                <a:solidFill>
                  <a:schemeClr val="tx1"/>
                </a:solidFill>
                <a:latin typeface="Georgia Regular"/>
              </a:rPr>
              <a:t>CfP</a:t>
            </a:r>
            <a:r>
              <a:rPr lang="en-US" sz="1800" dirty="0">
                <a:solidFill>
                  <a:schemeClr val="tx1"/>
                </a:solidFill>
                <a:latin typeface="Georgia Regular"/>
              </a:rPr>
              <a:t> text</a:t>
            </a:r>
          </a:p>
          <a:p>
            <a:pPr lvl="2"/>
            <a:r>
              <a:rPr lang="en-US" sz="1800" dirty="0">
                <a:solidFill>
                  <a:schemeClr val="tx1"/>
                </a:solidFill>
                <a:latin typeface="Georgia Regular"/>
              </a:rPr>
              <a:t>A link to the application template</a:t>
            </a:r>
          </a:p>
          <a:p>
            <a:r>
              <a:rPr lang="en-US" sz="1800" dirty="0">
                <a:solidFill>
                  <a:schemeClr val="tx1"/>
                </a:solidFill>
                <a:latin typeface="Georgia Regular"/>
              </a:rPr>
              <a:t>CEPI priority pathogens: </a:t>
            </a:r>
            <a:r>
              <a:rPr lang="en-GB" sz="1800" u="sng" dirty="0">
                <a:solidFill>
                  <a:srgbClr val="00B0F0"/>
                </a:solidFill>
                <a:effectLst/>
                <a:latin typeface="Georgia Regular"/>
                <a:ea typeface="MS Mincho" panose="02020609040205080304" pitchFamily="49" charset="-128"/>
                <a:cs typeface="Times New Roman" panose="02020603050405020304" pitchFamily="18" charset="0"/>
                <a:hlinkClick r:id="rId4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Priority diseases – CEPI</a:t>
            </a:r>
            <a:endParaRPr lang="en-GB" sz="1800" dirty="0">
              <a:solidFill>
                <a:srgbClr val="00B0F0"/>
              </a:solidFill>
              <a:effectLst/>
              <a:latin typeface="Georgia Regular"/>
              <a:ea typeface="MS Mincho" panose="02020609040205080304" pitchFamily="49" charset="-128"/>
              <a:cs typeface="Times New Roman" panose="02020603050405020304" pitchFamily="18" charset="0"/>
            </a:endParaRPr>
          </a:p>
          <a:p>
            <a:r>
              <a:rPr lang="en-GB" sz="1800" dirty="0">
                <a:solidFill>
                  <a:schemeClr val="tx1"/>
                </a:solidFill>
                <a:latin typeface="Georgia Regular"/>
              </a:rPr>
              <a:t>Any further question? Reach </a:t>
            </a:r>
            <a:r>
              <a:rPr lang="en-GB" sz="1800" dirty="0">
                <a:solidFill>
                  <a:srgbClr val="00244F"/>
                </a:solidFill>
                <a:latin typeface="Georgia Regular"/>
              </a:rPr>
              <a:t>out </a:t>
            </a:r>
            <a:r>
              <a:rPr lang="en-GB" sz="1800" dirty="0">
                <a:solidFill>
                  <a:srgbClr val="00244F"/>
                </a:solidFill>
              </a:rPr>
              <a:t>to </a:t>
            </a:r>
            <a:r>
              <a:rPr lang="en-GB" sz="1800" dirty="0">
                <a:solidFill>
                  <a:srgbClr val="00B0F0"/>
                </a:solidFill>
                <a:hlinkClick r:id="rId5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centralizedlab@cepi.net</a:t>
            </a:r>
            <a:r>
              <a:rPr lang="en-GB" sz="1800" dirty="0">
                <a:solidFill>
                  <a:srgbClr val="00B0F0"/>
                </a:solidFill>
              </a:rPr>
              <a:t>  </a:t>
            </a:r>
          </a:p>
          <a:p>
            <a:r>
              <a:rPr lang="en-GB" sz="1800" dirty="0">
                <a:solidFill>
                  <a:schemeClr val="tx1"/>
                </a:solidFill>
                <a:latin typeface="Georgia Regular"/>
              </a:rPr>
              <a:t>Please, reach out to us if you wish to have a separate call!</a:t>
            </a:r>
          </a:p>
          <a:p>
            <a:endParaRPr lang="en-US" sz="20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4932D70-C6EE-425C-9838-58E6377F8D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sources</a:t>
            </a:r>
          </a:p>
        </p:txBody>
      </p:sp>
      <p:pic>
        <p:nvPicPr>
          <p:cNvPr id="8194" name="Picture 2" descr="Resources">
            <a:extLst>
              <a:ext uri="{FF2B5EF4-FFF2-40B4-BE49-F238E27FC236}">
                <a16:creationId xmlns:a16="http://schemas.microsoft.com/office/drawing/2014/main" id="{F30C9984-96EC-48AB-B51C-04C3F67D92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1895" y="2599111"/>
            <a:ext cx="2476500" cy="1847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D338E82-880A-4C51-A9E5-2DA601C4833D}"/>
              </a:ext>
            </a:extLst>
          </p:cNvPr>
          <p:cNvSpPr txBox="1"/>
          <p:nvPr/>
        </p:nvSpPr>
        <p:spPr>
          <a:xfrm>
            <a:off x="8380429" y="657897"/>
            <a:ext cx="2479249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/>
              <a:t>Webinar recording </a:t>
            </a:r>
          </a:p>
          <a:p>
            <a:pPr algn="ctr"/>
            <a:r>
              <a:rPr lang="en-US"/>
              <a:t>and slides</a:t>
            </a:r>
          </a:p>
        </p:txBody>
      </p:sp>
      <p:sp>
        <p:nvSpPr>
          <p:cNvPr id="5" name="Arrow: Right 4">
            <a:extLst>
              <a:ext uri="{FF2B5EF4-FFF2-40B4-BE49-F238E27FC236}">
                <a16:creationId xmlns:a16="http://schemas.microsoft.com/office/drawing/2014/main" id="{0882FD01-5F25-4141-B17F-CD27891EE908}"/>
              </a:ext>
            </a:extLst>
          </p:cNvPr>
          <p:cNvSpPr/>
          <p:nvPr/>
        </p:nvSpPr>
        <p:spPr>
          <a:xfrm rot="6450442">
            <a:off x="8031574" y="1326089"/>
            <a:ext cx="395055" cy="509048"/>
          </a:xfrm>
          <a:prstGeom prst="rightArrow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140545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1DDFC7-462F-4CD0-A2F9-ECA15F5FDA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Q&amp;A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7EB14C3F-2FB5-42FB-AA7C-6B7A822D2F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1298520"/>
              </p:ext>
            </p:extLst>
          </p:nvPr>
        </p:nvGraphicFramePr>
        <p:xfrm>
          <a:off x="2149312" y="4523626"/>
          <a:ext cx="5439266" cy="615224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2403835">
                  <a:extLst>
                    <a:ext uri="{9D8B030D-6E8A-4147-A177-3AD203B41FA5}">
                      <a16:colId xmlns:a16="http://schemas.microsoft.com/office/drawing/2014/main" val="48998161"/>
                    </a:ext>
                  </a:extLst>
                </a:gridCol>
                <a:gridCol w="3035431">
                  <a:extLst>
                    <a:ext uri="{9D8B030D-6E8A-4147-A177-3AD203B41FA5}">
                      <a16:colId xmlns:a16="http://schemas.microsoft.com/office/drawing/2014/main" val="1387726912"/>
                    </a:ext>
                  </a:extLst>
                </a:gridCol>
              </a:tblGrid>
              <a:tr h="615224">
                <a:tc>
                  <a:txBody>
                    <a:bodyPr/>
                    <a:lstStyle/>
                    <a:p>
                      <a:pPr marL="0" marR="0" algn="r">
                        <a:lnSpc>
                          <a:spcPts val="165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pt-BR" sz="1600" b="1">
                          <a:effectLst/>
                        </a:rPr>
                        <a:t>Ana Paula de Almeida Aranha</a:t>
                      </a:r>
                      <a:endParaRPr lang="en-US" sz="16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65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1050">
                          <a:effectLst/>
                        </a:rPr>
                        <a:t>Senior Project Manager of Centralized Laboratory Network, </a:t>
                      </a:r>
                      <a:r>
                        <a:rPr lang="en-US" sz="1050" b="1">
                          <a:effectLst/>
                        </a:rPr>
                        <a:t>CEPI</a:t>
                      </a:r>
                      <a:endParaRPr lang="en-US" sz="11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47476480"/>
                  </a:ext>
                </a:extLst>
              </a:tr>
            </a:tbl>
          </a:graphicData>
        </a:graphic>
      </p:graphicFrame>
      <p:pic>
        <p:nvPicPr>
          <p:cNvPr id="6" name="Picture 5" descr="A person smiling for the camera&#10;&#10;Description automatically generated with medium confidence">
            <a:extLst>
              <a:ext uri="{FF2B5EF4-FFF2-40B4-BE49-F238E27FC236}">
                <a16:creationId xmlns:a16="http://schemas.microsoft.com/office/drawing/2014/main" id="{0A720E79-564A-446E-B727-4AFC3C889F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9674" y="3930695"/>
            <a:ext cx="997200" cy="1329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63422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BE1C982-5120-4A6F-8BDC-1EC016B319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0153"/>
            <a:ext cx="10515600" cy="1404918"/>
          </a:xfrm>
        </p:spPr>
        <p:txBody>
          <a:bodyPr anchor="t">
            <a:normAutofit/>
          </a:bodyPr>
          <a:lstStyle/>
          <a:p>
            <a:r>
              <a:rPr lang="en-US" dirty="0"/>
              <a:t>Instructions</a:t>
            </a:r>
          </a:p>
        </p:txBody>
      </p:sp>
      <p:graphicFrame>
        <p:nvGraphicFramePr>
          <p:cNvPr id="5" name="Content Placeholder 1">
            <a:extLst>
              <a:ext uri="{FF2B5EF4-FFF2-40B4-BE49-F238E27FC236}">
                <a16:creationId xmlns:a16="http://schemas.microsoft.com/office/drawing/2014/main" id="{AA9A4466-58A3-4047-939D-3FA456D9397C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752353483"/>
              </p:ext>
            </p:extLst>
          </p:nvPr>
        </p:nvGraphicFramePr>
        <p:xfrm>
          <a:off x="937064" y="1586706"/>
          <a:ext cx="10514012" cy="36845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54761570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Question Ppt Powerpoint Presentation File Pictures | PPT Images Gallery |  PowerPoint Slide Show | PowerPoint Presentation Templates">
            <a:extLst>
              <a:ext uri="{FF2B5EF4-FFF2-40B4-BE49-F238E27FC236}">
                <a16:creationId xmlns:a16="http://schemas.microsoft.com/office/drawing/2014/main" id="{25B6A983-FC0A-435D-BA02-B26ABBE0C8A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53" t="11836" r="1153" b="13266"/>
          <a:stretch/>
        </p:blipFill>
        <p:spPr bwMode="auto">
          <a:xfrm>
            <a:off x="1409699" y="637673"/>
            <a:ext cx="9565106" cy="5366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6377254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D1E30AF-D501-4823-B64F-4F931BABC9C3}"/>
              </a:ext>
            </a:extLst>
          </p:cNvPr>
          <p:cNvSpPr txBox="1"/>
          <p:nvPr/>
        </p:nvSpPr>
        <p:spPr>
          <a:xfrm>
            <a:off x="4271913" y="4100660"/>
            <a:ext cx="364817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chemeClr val="bg1"/>
                </a:solidFill>
                <a:latin typeface="Brush Script MT" panose="03060802040406070304" pitchFamily="66" charset="0"/>
              </a:rPr>
              <a:t>Thanks for joining</a:t>
            </a:r>
          </a:p>
        </p:txBody>
      </p:sp>
    </p:spTree>
    <p:extLst>
      <p:ext uri="{BB962C8B-B14F-4D97-AF65-F5344CB8AC3E}">
        <p14:creationId xmlns:p14="http://schemas.microsoft.com/office/powerpoint/2010/main" val="37364028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1DDFC7-462F-4CD0-A2F9-ECA15F5FDA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roduction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B86DFC46-7827-442E-AC21-B93ED5C610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3757027"/>
              </p:ext>
            </p:extLst>
          </p:nvPr>
        </p:nvGraphicFramePr>
        <p:xfrm>
          <a:off x="2066185" y="3290608"/>
          <a:ext cx="5439266" cy="650466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2358100">
                  <a:extLst>
                    <a:ext uri="{9D8B030D-6E8A-4147-A177-3AD203B41FA5}">
                      <a16:colId xmlns:a16="http://schemas.microsoft.com/office/drawing/2014/main" val="2567443434"/>
                    </a:ext>
                  </a:extLst>
                </a:gridCol>
                <a:gridCol w="3081166">
                  <a:extLst>
                    <a:ext uri="{9D8B030D-6E8A-4147-A177-3AD203B41FA5}">
                      <a16:colId xmlns:a16="http://schemas.microsoft.com/office/drawing/2014/main" val="2600775018"/>
                    </a:ext>
                  </a:extLst>
                </a:gridCol>
              </a:tblGrid>
              <a:tr h="650466">
                <a:tc>
                  <a:txBody>
                    <a:bodyPr/>
                    <a:lstStyle/>
                    <a:p>
                      <a:pPr marL="0" marR="0" algn="r">
                        <a:lnSpc>
                          <a:spcPts val="165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1600" b="1">
                          <a:effectLst/>
                        </a:rPr>
                        <a:t>Valentina Bernasconi</a:t>
                      </a:r>
                      <a:endParaRPr lang="en-US" sz="16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65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1050">
                          <a:effectLst/>
                        </a:rPr>
                        <a:t>Scientist, Project Leader of CEPI Centralized Laboratory Network, </a:t>
                      </a:r>
                      <a:r>
                        <a:rPr lang="en-US" sz="1050" b="1">
                          <a:effectLst/>
                        </a:rPr>
                        <a:t>CEPI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574607764"/>
                  </a:ext>
                </a:extLst>
              </a:tr>
            </a:tbl>
          </a:graphicData>
        </a:graphic>
      </p:graphicFrame>
      <p:pic>
        <p:nvPicPr>
          <p:cNvPr id="4" name="Picture 3" descr="A person smiling for the camera&#10;&#10;Description automatically generated with low confidence">
            <a:extLst>
              <a:ext uri="{FF2B5EF4-FFF2-40B4-BE49-F238E27FC236}">
                <a16:creationId xmlns:a16="http://schemas.microsoft.com/office/drawing/2014/main" id="{39BA0841-E24B-44EA-8708-E92E0861287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24326"/>
          <a:stretch/>
        </p:blipFill>
        <p:spPr>
          <a:xfrm>
            <a:off x="990744" y="3206769"/>
            <a:ext cx="915186" cy="1065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67549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1DDFC7-462F-4CD0-A2F9-ECA15F5FDA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ackground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30225090-8968-4FC9-9EC4-E9CA666982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9136721"/>
              </p:ext>
            </p:extLst>
          </p:nvPr>
        </p:nvGraphicFramePr>
        <p:xfrm>
          <a:off x="2555712" y="3239149"/>
          <a:ext cx="6650555" cy="870026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1434147">
                  <a:extLst>
                    <a:ext uri="{9D8B030D-6E8A-4147-A177-3AD203B41FA5}">
                      <a16:colId xmlns:a16="http://schemas.microsoft.com/office/drawing/2014/main" val="650597895"/>
                    </a:ext>
                  </a:extLst>
                </a:gridCol>
                <a:gridCol w="5216408">
                  <a:extLst>
                    <a:ext uri="{9D8B030D-6E8A-4147-A177-3AD203B41FA5}">
                      <a16:colId xmlns:a16="http://schemas.microsoft.com/office/drawing/2014/main" val="4062382802"/>
                    </a:ext>
                  </a:extLst>
                </a:gridCol>
              </a:tblGrid>
              <a:tr h="870026">
                <a:tc>
                  <a:txBody>
                    <a:bodyPr/>
                    <a:lstStyle/>
                    <a:p>
                      <a:pPr marL="0" marR="0" algn="r">
                        <a:lnSpc>
                          <a:spcPts val="165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1600" b="1">
                          <a:effectLst/>
                        </a:rPr>
                        <a:t>Arun Kumar</a:t>
                      </a:r>
                      <a:endParaRPr lang="en-US" sz="16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65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1050" dirty="0">
                          <a:effectLst/>
                        </a:rPr>
                        <a:t>Scientist, Co-lead of CEPI Centralized Laboratory Network, </a:t>
                      </a:r>
                      <a:r>
                        <a:rPr lang="en-US" sz="1050" b="1" dirty="0">
                          <a:effectLst/>
                        </a:rPr>
                        <a:t>CEPI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100261814"/>
                  </a:ext>
                </a:extLst>
              </a:tr>
            </a:tbl>
          </a:graphicData>
        </a:graphic>
      </p:graphicFrame>
      <p:pic>
        <p:nvPicPr>
          <p:cNvPr id="4" name="Picture 2" descr="Arun Kumar PhD, SCPM - Preclinical Vaccines Development Lead - CEPI  (Coalition for Epidemic Preparedness Innovations) | LinkedIn">
            <a:extLst>
              <a:ext uri="{FF2B5EF4-FFF2-40B4-BE49-F238E27FC236}">
                <a16:creationId xmlns:a16="http://schemas.microsoft.com/office/drawing/2014/main" id="{7DD3CF03-C241-434D-99E4-E3E51609FB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7130" y="2972909"/>
            <a:ext cx="912182" cy="9121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766849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56E4EFC-F6E2-4AAC-90E4-80EF6264C77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72180" y="1833084"/>
            <a:ext cx="7159906" cy="3980135"/>
          </a:xfrm>
        </p:spPr>
        <p:txBody>
          <a:bodyPr/>
          <a:lstStyle/>
          <a:p>
            <a:r>
              <a:rPr lang="en-US" sz="1800" dirty="0"/>
              <a:t>More than 400 COVID-19 vaccine developers worldwide</a:t>
            </a:r>
          </a:p>
          <a:p>
            <a:r>
              <a:rPr lang="en-GB" sz="1800" dirty="0"/>
              <a:t>Comparing immune responses against different vaccine candidates is challenging</a:t>
            </a:r>
          </a:p>
          <a:p>
            <a:pPr lvl="2"/>
            <a:r>
              <a:rPr lang="en-US" sz="1600" dirty="0"/>
              <a:t>Different stages of development</a:t>
            </a:r>
          </a:p>
          <a:p>
            <a:pPr lvl="2"/>
            <a:r>
              <a:rPr lang="en-GB" sz="1600" dirty="0"/>
              <a:t>Biological variation</a:t>
            </a:r>
          </a:p>
          <a:p>
            <a:pPr lvl="2"/>
            <a:r>
              <a:rPr lang="en-GB" sz="1600" dirty="0"/>
              <a:t>Technical differences (</a:t>
            </a:r>
            <a:r>
              <a:rPr lang="en-US" sz="1600" dirty="0"/>
              <a:t>how and where specimens are collected, transported, stored, and analyzed) </a:t>
            </a:r>
          </a:p>
          <a:p>
            <a:pPr lvl="2"/>
            <a:r>
              <a:rPr lang="en-GB" sz="1600" dirty="0"/>
              <a:t>Different technology platforms (e.g. recombinant viral vectors, inactivated vaccines, recombinant proteins and nucleic acids)</a:t>
            </a:r>
          </a:p>
          <a:p>
            <a:pPr lvl="2"/>
            <a:r>
              <a:rPr lang="en-US" sz="1600" dirty="0"/>
              <a:t>Lack of standardization among different assays and different testing laboratori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35A513F-8D9D-452C-8BFF-E8AE4B91A2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4980" y="508151"/>
            <a:ext cx="10515600" cy="1461188"/>
          </a:xfrm>
        </p:spPr>
        <p:txBody>
          <a:bodyPr/>
          <a:lstStyle/>
          <a:p>
            <a:r>
              <a:rPr lang="en-US" sz="3200"/>
              <a:t>COVID-19 pandemic and the need to standardize vaccine immune response measurement</a:t>
            </a:r>
          </a:p>
        </p:txBody>
      </p:sp>
      <p:pic>
        <p:nvPicPr>
          <p:cNvPr id="12290" name="Picture 2" descr="Open resources on account of SARS-CoV-2 and Covid-19 | lnu.se">
            <a:extLst>
              <a:ext uri="{FF2B5EF4-FFF2-40B4-BE49-F238E27FC236}">
                <a16:creationId xmlns:a16="http://schemas.microsoft.com/office/drawing/2014/main" id="{7DAE1800-E920-433D-A670-2D3D85A1BE7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62" r="17382"/>
          <a:stretch/>
        </p:blipFill>
        <p:spPr bwMode="auto">
          <a:xfrm>
            <a:off x="8132086" y="2288198"/>
            <a:ext cx="3816987" cy="2923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339975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7816E5D-4A29-4E2E-B3E0-8635C68B7C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4774" y="240143"/>
            <a:ext cx="10515600" cy="1461188"/>
          </a:xfrm>
        </p:spPr>
        <p:txBody>
          <a:bodyPr/>
          <a:lstStyle/>
          <a:p>
            <a:pPr algn="ctr"/>
            <a:r>
              <a:rPr lang="en-US" sz="4000"/>
              <a:t>CEPI Centralized Laboratory Network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6043472-452C-4A98-BF2D-82A6CCCC513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3412"/>
          <a:stretch/>
        </p:blipFill>
        <p:spPr>
          <a:xfrm>
            <a:off x="526938" y="2398025"/>
            <a:ext cx="11265615" cy="4259629"/>
          </a:xfrm>
          <a:prstGeom prst="rect">
            <a:avLst/>
          </a:prstGeom>
        </p:spPr>
      </p:pic>
      <p:pic>
        <p:nvPicPr>
          <p:cNvPr id="6" name="Picture 2" descr="THSTI – IVI">
            <a:extLst>
              <a:ext uri="{FF2B5EF4-FFF2-40B4-BE49-F238E27FC236}">
                <a16:creationId xmlns:a16="http://schemas.microsoft.com/office/drawing/2014/main" id="{8F010FD8-0D4F-4557-BE24-16FD059F13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9365" y="1008872"/>
            <a:ext cx="1110680" cy="1362363"/>
          </a:xfrm>
          <a:prstGeom prst="rect">
            <a:avLst/>
          </a:prstGeom>
          <a:solidFill>
            <a:schemeClr val="bg1"/>
          </a:solidFill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CCBA9D4A-28E7-4CC6-AD72-29C0E49EC15D}"/>
              </a:ext>
            </a:extLst>
          </p:cNvPr>
          <p:cNvGrpSpPr/>
          <p:nvPr/>
        </p:nvGrpSpPr>
        <p:grpSpPr>
          <a:xfrm>
            <a:off x="7991847" y="1882760"/>
            <a:ext cx="358427" cy="2088792"/>
            <a:chOff x="7487152" y="1631749"/>
            <a:chExt cx="374177" cy="2180576"/>
          </a:xfrm>
          <a:solidFill>
            <a:schemeClr val="accent5">
              <a:lumMod val="75000"/>
            </a:schemeClr>
          </a:solidFill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E8EF699E-6389-4334-8BC1-75B2EF071683}"/>
                </a:ext>
              </a:extLst>
            </p:cNvPr>
            <p:cNvSpPr/>
            <p:nvPr/>
          </p:nvSpPr>
          <p:spPr>
            <a:xfrm>
              <a:off x="7589335" y="3643650"/>
              <a:ext cx="168675" cy="168675"/>
            </a:xfrm>
            <a:prstGeom prst="ellipse">
              <a:avLst/>
            </a:prstGeom>
            <a:solidFill>
              <a:schemeClr val="accent5">
                <a:lumMod val="50000"/>
              </a:schemeClr>
            </a:solidFill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rriweather"/>
                <a:ea typeface="+mn-ea"/>
                <a:cs typeface="+mn-cs"/>
              </a:endParaRP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23EAEFBD-CEDA-4847-9515-CAAD14919296}"/>
                </a:ext>
              </a:extLst>
            </p:cNvPr>
            <p:cNvCxnSpPr>
              <a:cxnSpLocks/>
              <a:stCxn id="9" idx="0"/>
            </p:cNvCxnSpPr>
            <p:nvPr/>
          </p:nvCxnSpPr>
          <p:spPr>
            <a:xfrm rot="10800000" flipH="1">
              <a:off x="7673673" y="1944340"/>
              <a:ext cx="1" cy="1699310"/>
            </a:xfrm>
            <a:prstGeom prst="line">
              <a:avLst/>
            </a:prstGeom>
            <a:grpFill/>
            <a:ln w="28575">
              <a:solidFill>
                <a:schemeClr val="accent5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ardrop 10">
              <a:extLst>
                <a:ext uri="{FF2B5EF4-FFF2-40B4-BE49-F238E27FC236}">
                  <a16:creationId xmlns:a16="http://schemas.microsoft.com/office/drawing/2014/main" id="{B2B12B5C-7BD9-4862-9030-B910EFA20397}"/>
                </a:ext>
              </a:extLst>
            </p:cNvPr>
            <p:cNvSpPr/>
            <p:nvPr/>
          </p:nvSpPr>
          <p:spPr>
            <a:xfrm rot="8079188">
              <a:off x="7487152" y="1631749"/>
              <a:ext cx="374177" cy="374177"/>
            </a:xfrm>
            <a:prstGeom prst="teardrop">
              <a:avLst>
                <a:gd name="adj" fmla="val 200000"/>
              </a:avLst>
            </a:prstGeom>
            <a:solidFill>
              <a:schemeClr val="accent5">
                <a:lumMod val="50000"/>
              </a:schemeClr>
            </a:solidFill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rriweather"/>
                <a:ea typeface="+mn-ea"/>
                <a:cs typeface="+mn-cs"/>
              </a:endParaRP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F6500CAF-D4A1-4EC6-98B8-21A5BBCBD73E}"/>
              </a:ext>
            </a:extLst>
          </p:cNvPr>
          <p:cNvSpPr txBox="1"/>
          <p:nvPr/>
        </p:nvSpPr>
        <p:spPr>
          <a:xfrm>
            <a:off x="8017426" y="2316485"/>
            <a:ext cx="1684640" cy="243228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244F"/>
                </a:solidFill>
                <a:effectLst/>
                <a:uLnTx/>
                <a:uFillTx/>
                <a:latin typeface="Merriweather"/>
                <a:ea typeface="+mn-ea"/>
                <a:cs typeface="+mn-cs"/>
              </a:rPr>
              <a:t>India</a:t>
            </a:r>
          </a:p>
        </p:txBody>
      </p:sp>
      <p:sp>
        <p:nvSpPr>
          <p:cNvPr id="12" name="Teardrop 11">
            <a:extLst>
              <a:ext uri="{FF2B5EF4-FFF2-40B4-BE49-F238E27FC236}">
                <a16:creationId xmlns:a16="http://schemas.microsoft.com/office/drawing/2014/main" id="{081D6B2E-0995-4E29-BC0D-8445749DD2CA}"/>
              </a:ext>
            </a:extLst>
          </p:cNvPr>
          <p:cNvSpPr/>
          <p:nvPr/>
        </p:nvSpPr>
        <p:spPr>
          <a:xfrm rot="8079188">
            <a:off x="5406482" y="1583303"/>
            <a:ext cx="358427" cy="358427"/>
          </a:xfrm>
          <a:prstGeom prst="teardrop">
            <a:avLst>
              <a:gd name="adj" fmla="val 200000"/>
            </a:avLst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rriweather"/>
              <a:ea typeface="+mn-ea"/>
              <a:cs typeface="+mn-cs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B59F9975-4C89-49B5-A368-1EF0463C6BEE}"/>
              </a:ext>
            </a:extLst>
          </p:cNvPr>
          <p:cNvSpPr/>
          <p:nvPr/>
        </p:nvSpPr>
        <p:spPr>
          <a:xfrm>
            <a:off x="5504908" y="2869644"/>
            <a:ext cx="161575" cy="161575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rriweather"/>
              <a:ea typeface="+mn-ea"/>
              <a:cs typeface="+mn-cs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0FAE3A7-A681-4AC8-80FB-B2EF2C9A345E}"/>
              </a:ext>
            </a:extLst>
          </p:cNvPr>
          <p:cNvCxnSpPr>
            <a:cxnSpLocks/>
          </p:cNvCxnSpPr>
          <p:nvPr/>
        </p:nvCxnSpPr>
        <p:spPr>
          <a:xfrm flipH="1" flipV="1">
            <a:off x="5585153" y="1583305"/>
            <a:ext cx="1085" cy="1286338"/>
          </a:xfrm>
          <a:prstGeom prst="line">
            <a:avLst/>
          </a:prstGeom>
          <a:ln w="28575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F578A0ED-96F9-479F-9B64-A014AE763AE1}"/>
              </a:ext>
            </a:extLst>
          </p:cNvPr>
          <p:cNvSpPr txBox="1"/>
          <p:nvPr/>
        </p:nvSpPr>
        <p:spPr>
          <a:xfrm>
            <a:off x="1793386" y="1682852"/>
            <a:ext cx="1684639" cy="243228"/>
          </a:xfrm>
          <a:prstGeom prst="rect">
            <a:avLst/>
          </a:prstGeom>
          <a:noFill/>
          <a:ln>
            <a:noFill/>
          </a:ln>
        </p:spPr>
        <p:txBody>
          <a:bodyPr wrap="square" lIns="0" r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244F"/>
                </a:solidFill>
                <a:effectLst/>
                <a:uLnTx/>
                <a:uFillTx/>
                <a:latin typeface="Merriweather"/>
                <a:ea typeface="+mn-ea"/>
                <a:cs typeface="+mn-cs"/>
              </a:rPr>
              <a:t>Canada</a:t>
            </a:r>
          </a:p>
        </p:txBody>
      </p:sp>
      <p:pic>
        <p:nvPicPr>
          <p:cNvPr id="19" name="Picture 2" descr="nexelis immunology focused CRO - Home">
            <a:extLst>
              <a:ext uri="{FF2B5EF4-FFF2-40B4-BE49-F238E27FC236}">
                <a16:creationId xmlns:a16="http://schemas.microsoft.com/office/drawing/2014/main" id="{D55CB432-0D5E-417D-A542-E07E023A92D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50" b="23059"/>
          <a:stretch/>
        </p:blipFill>
        <p:spPr bwMode="auto">
          <a:xfrm>
            <a:off x="1870523" y="1195007"/>
            <a:ext cx="1394267" cy="472671"/>
          </a:xfrm>
          <a:prstGeom prst="rect">
            <a:avLst/>
          </a:prstGeom>
          <a:solidFill>
            <a:srgbClr val="00B050"/>
          </a:solidFill>
          <a:ln>
            <a:noFill/>
          </a:ln>
        </p:spPr>
      </p:pic>
      <p:pic>
        <p:nvPicPr>
          <p:cNvPr id="20" name="Picture 2" descr="Oversikt av Q2 Solutions som arbeidsgiver | Indeed.com">
            <a:extLst>
              <a:ext uri="{FF2B5EF4-FFF2-40B4-BE49-F238E27FC236}">
                <a16:creationId xmlns:a16="http://schemas.microsoft.com/office/drawing/2014/main" id="{962EF2ED-62EF-4406-B522-4AE013FD770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41" b="19407"/>
          <a:stretch/>
        </p:blipFill>
        <p:spPr bwMode="auto">
          <a:xfrm>
            <a:off x="472568" y="1852098"/>
            <a:ext cx="1143676" cy="730258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1" name="Teardrop 20">
            <a:extLst>
              <a:ext uri="{FF2B5EF4-FFF2-40B4-BE49-F238E27FC236}">
                <a16:creationId xmlns:a16="http://schemas.microsoft.com/office/drawing/2014/main" id="{9E2550D8-A53C-400B-8EE4-BB02841CF4C7}"/>
              </a:ext>
            </a:extLst>
          </p:cNvPr>
          <p:cNvSpPr/>
          <p:nvPr/>
        </p:nvSpPr>
        <p:spPr>
          <a:xfrm rot="8079188">
            <a:off x="1744370" y="2169827"/>
            <a:ext cx="358427" cy="358427"/>
          </a:xfrm>
          <a:prstGeom prst="teardrop">
            <a:avLst>
              <a:gd name="adj" fmla="val 200000"/>
            </a:avLst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rriweather"/>
              <a:ea typeface="+mn-ea"/>
              <a:cs typeface="+mn-cs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DA970FCD-12B6-42F2-83FC-D79CFA705275}"/>
              </a:ext>
            </a:extLst>
          </p:cNvPr>
          <p:cNvSpPr/>
          <p:nvPr/>
        </p:nvSpPr>
        <p:spPr>
          <a:xfrm>
            <a:off x="1842796" y="3456168"/>
            <a:ext cx="161575" cy="161575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rriweather"/>
              <a:ea typeface="+mn-ea"/>
              <a:cs typeface="+mn-cs"/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4A7EF55C-6F31-4852-BCE3-6E58A782A9A3}"/>
              </a:ext>
            </a:extLst>
          </p:cNvPr>
          <p:cNvCxnSpPr>
            <a:cxnSpLocks/>
          </p:cNvCxnSpPr>
          <p:nvPr/>
        </p:nvCxnSpPr>
        <p:spPr>
          <a:xfrm flipH="1" flipV="1">
            <a:off x="1923041" y="2169830"/>
            <a:ext cx="1085" cy="1286338"/>
          </a:xfrm>
          <a:prstGeom prst="line">
            <a:avLst/>
          </a:prstGeom>
          <a:ln w="28575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539755E-B9CB-4B7E-B06C-225DB92359C7}"/>
              </a:ext>
            </a:extLst>
          </p:cNvPr>
          <p:cNvSpPr txBox="1"/>
          <p:nvPr/>
        </p:nvSpPr>
        <p:spPr>
          <a:xfrm>
            <a:off x="238401" y="2512070"/>
            <a:ext cx="1684639" cy="243228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244F"/>
                </a:solidFill>
                <a:effectLst/>
                <a:uLnTx/>
                <a:uFillTx/>
                <a:latin typeface="Merriweather"/>
                <a:ea typeface="+mn-ea"/>
                <a:cs typeface="+mn-cs"/>
              </a:rPr>
              <a:t>USA</a:t>
            </a:r>
          </a:p>
        </p:txBody>
      </p:sp>
      <p:pic>
        <p:nvPicPr>
          <p:cNvPr id="25" name="Picture 2" descr="icddr,b, research recognized as scientific breakthrough in 2019 ...">
            <a:extLst>
              <a:ext uri="{FF2B5EF4-FFF2-40B4-BE49-F238E27FC236}">
                <a16:creationId xmlns:a16="http://schemas.microsoft.com/office/drawing/2014/main" id="{BA295049-EA9D-48F1-AFDE-F62213C43EE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398" b="13553"/>
          <a:stretch/>
        </p:blipFill>
        <p:spPr bwMode="auto">
          <a:xfrm>
            <a:off x="8961404" y="3637492"/>
            <a:ext cx="1324444" cy="530057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C0B984EC-FB87-49D3-8A5B-938D85A60AF2}"/>
              </a:ext>
            </a:extLst>
          </p:cNvPr>
          <p:cNvSpPr txBox="1"/>
          <p:nvPr/>
        </p:nvSpPr>
        <p:spPr>
          <a:xfrm>
            <a:off x="8937464" y="4043823"/>
            <a:ext cx="1684639" cy="243228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244F"/>
                </a:solidFill>
                <a:effectLst/>
                <a:uLnTx/>
                <a:uFillTx/>
                <a:latin typeface="Merriweather"/>
                <a:ea typeface="+mn-ea"/>
                <a:cs typeface="+mn-cs"/>
              </a:rPr>
              <a:t>Bangladesh</a:t>
            </a:r>
          </a:p>
        </p:txBody>
      </p:sp>
      <p:sp>
        <p:nvSpPr>
          <p:cNvPr id="30" name="Teardrop 29">
            <a:extLst>
              <a:ext uri="{FF2B5EF4-FFF2-40B4-BE49-F238E27FC236}">
                <a16:creationId xmlns:a16="http://schemas.microsoft.com/office/drawing/2014/main" id="{F8CA7B51-6398-40D1-8761-648AFA63E17E}"/>
              </a:ext>
            </a:extLst>
          </p:cNvPr>
          <p:cNvSpPr/>
          <p:nvPr/>
        </p:nvSpPr>
        <p:spPr>
          <a:xfrm rot="8079188">
            <a:off x="6402019" y="2026586"/>
            <a:ext cx="358427" cy="358427"/>
          </a:xfrm>
          <a:prstGeom prst="teardrop">
            <a:avLst>
              <a:gd name="adj" fmla="val 200000"/>
            </a:avLst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rriweather"/>
              <a:ea typeface="+mn-ea"/>
              <a:cs typeface="+mn-cs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6F9F2347-2953-454D-9FC3-9D199EC0D229}"/>
              </a:ext>
            </a:extLst>
          </p:cNvPr>
          <p:cNvSpPr/>
          <p:nvPr/>
        </p:nvSpPr>
        <p:spPr>
          <a:xfrm>
            <a:off x="6500445" y="3312927"/>
            <a:ext cx="161575" cy="161575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rriweather"/>
              <a:ea typeface="+mn-ea"/>
              <a:cs typeface="+mn-cs"/>
            </a:endParaRP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8BF17958-335C-4A00-90A7-021F7E07D73D}"/>
              </a:ext>
            </a:extLst>
          </p:cNvPr>
          <p:cNvCxnSpPr>
            <a:cxnSpLocks/>
          </p:cNvCxnSpPr>
          <p:nvPr/>
        </p:nvCxnSpPr>
        <p:spPr>
          <a:xfrm flipH="1" flipV="1">
            <a:off x="6580690" y="2026589"/>
            <a:ext cx="1085" cy="1286338"/>
          </a:xfrm>
          <a:prstGeom prst="line">
            <a:avLst/>
          </a:prstGeom>
          <a:ln w="28575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ardrop 32">
            <a:extLst>
              <a:ext uri="{FF2B5EF4-FFF2-40B4-BE49-F238E27FC236}">
                <a16:creationId xmlns:a16="http://schemas.microsoft.com/office/drawing/2014/main" id="{87170456-6A29-4D46-A913-2FB7CE251853}"/>
              </a:ext>
            </a:extLst>
          </p:cNvPr>
          <p:cNvSpPr/>
          <p:nvPr/>
        </p:nvSpPr>
        <p:spPr>
          <a:xfrm rot="8079188">
            <a:off x="6061320" y="1629255"/>
            <a:ext cx="358427" cy="358427"/>
          </a:xfrm>
          <a:prstGeom prst="teardrop">
            <a:avLst>
              <a:gd name="adj" fmla="val 200000"/>
            </a:avLst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rriweather"/>
              <a:ea typeface="+mn-ea"/>
              <a:cs typeface="+mn-cs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79DAE53F-0D80-4536-A087-CD5277745B59}"/>
              </a:ext>
            </a:extLst>
          </p:cNvPr>
          <p:cNvSpPr/>
          <p:nvPr/>
        </p:nvSpPr>
        <p:spPr>
          <a:xfrm>
            <a:off x="6159746" y="2915597"/>
            <a:ext cx="161575" cy="161575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rriweather"/>
              <a:ea typeface="+mn-ea"/>
              <a:cs typeface="+mn-cs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A6FCCD5-8B7E-4C5C-A266-D48EEC603E1D}"/>
              </a:ext>
            </a:extLst>
          </p:cNvPr>
          <p:cNvCxnSpPr>
            <a:cxnSpLocks/>
          </p:cNvCxnSpPr>
          <p:nvPr/>
        </p:nvCxnSpPr>
        <p:spPr>
          <a:xfrm flipH="1" flipV="1">
            <a:off x="6239991" y="1629258"/>
            <a:ext cx="1085" cy="1286338"/>
          </a:xfrm>
          <a:prstGeom prst="line">
            <a:avLst/>
          </a:prstGeom>
          <a:ln w="28575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Picture 2" descr="NIBSC (National Institute for Biological Standards and Control ...">
            <a:extLst>
              <a:ext uri="{FF2B5EF4-FFF2-40B4-BE49-F238E27FC236}">
                <a16:creationId xmlns:a16="http://schemas.microsoft.com/office/drawing/2014/main" id="{B9E6CE0C-F703-4ACA-BB85-C092CFFBBED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566" b="30538"/>
          <a:stretch/>
        </p:blipFill>
        <p:spPr bwMode="auto">
          <a:xfrm>
            <a:off x="4421702" y="1076774"/>
            <a:ext cx="1376286" cy="41729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37" name="Picture 2" descr="VisMederi Vismederi | Analyses for life improvement">
            <a:extLst>
              <a:ext uri="{FF2B5EF4-FFF2-40B4-BE49-F238E27FC236}">
                <a16:creationId xmlns:a16="http://schemas.microsoft.com/office/drawing/2014/main" id="{60AB43B6-7DAA-4697-A2BA-734AF2E09B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8675" y="1890072"/>
            <a:ext cx="1133360" cy="544013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38" name="Picture 2" descr="Summit Partners Announces Growth Equity Investment in Viroclinics ...">
            <a:extLst>
              <a:ext uri="{FF2B5EF4-FFF2-40B4-BE49-F238E27FC236}">
                <a16:creationId xmlns:a16="http://schemas.microsoft.com/office/drawing/2014/main" id="{F6C70B9D-F8B1-4990-8232-E91D542CF3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1023" y="1007597"/>
            <a:ext cx="1359573" cy="566489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F92A0FB7-3F66-4864-B89D-DFAB756CF60A}"/>
              </a:ext>
            </a:extLst>
          </p:cNvPr>
          <p:cNvSpPr txBox="1"/>
          <p:nvPr/>
        </p:nvSpPr>
        <p:spPr>
          <a:xfrm>
            <a:off x="6216385" y="1560527"/>
            <a:ext cx="1684639" cy="243228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244F"/>
                </a:solidFill>
                <a:effectLst/>
                <a:uLnTx/>
                <a:uFillTx/>
                <a:latin typeface="Merriweather"/>
                <a:ea typeface="+mn-ea"/>
                <a:cs typeface="+mn-cs"/>
              </a:rPr>
              <a:t>The Netherland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7555C348-0767-426A-8C4F-09B7BC81FC9D}"/>
              </a:ext>
            </a:extLst>
          </p:cNvPr>
          <p:cNvSpPr txBox="1"/>
          <p:nvPr/>
        </p:nvSpPr>
        <p:spPr>
          <a:xfrm>
            <a:off x="7123212" y="2417621"/>
            <a:ext cx="494253" cy="253916"/>
          </a:xfrm>
          <a:prstGeom prst="rect">
            <a:avLst/>
          </a:prstGeom>
          <a:solidFill>
            <a:schemeClr val="bg1"/>
          </a:solidFill>
        </p:spPr>
        <p:txBody>
          <a:bodyPr wrap="square" lIns="0" r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244F"/>
                </a:solidFill>
                <a:effectLst/>
                <a:uLnTx/>
                <a:uFillTx/>
                <a:latin typeface="Merriweather"/>
                <a:ea typeface="+mn-ea"/>
                <a:cs typeface="+mn-cs"/>
              </a:rPr>
              <a:t>Italy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66B3FD0-2B1C-4E90-B8F9-AE7CEFB8146E}"/>
              </a:ext>
            </a:extLst>
          </p:cNvPr>
          <p:cNvSpPr txBox="1"/>
          <p:nvPr/>
        </p:nvSpPr>
        <p:spPr>
          <a:xfrm>
            <a:off x="4394602" y="1465193"/>
            <a:ext cx="1684639" cy="243228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244F"/>
                </a:solidFill>
                <a:effectLst/>
                <a:uLnTx/>
                <a:uFillTx/>
                <a:latin typeface="Merriweather"/>
                <a:ea typeface="+mn-ea"/>
                <a:cs typeface="+mn-cs"/>
              </a:rPr>
              <a:t>UK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C36FDEE-CAF8-4A05-A67C-C8ABFF0A3FAD}"/>
              </a:ext>
            </a:extLst>
          </p:cNvPr>
          <p:cNvSpPr txBox="1"/>
          <p:nvPr/>
        </p:nvSpPr>
        <p:spPr>
          <a:xfrm>
            <a:off x="4484631" y="2273004"/>
            <a:ext cx="346274" cy="2539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r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244F"/>
                </a:solidFill>
                <a:effectLst/>
                <a:uLnTx/>
                <a:uFillTx/>
                <a:latin typeface="Merriweather"/>
                <a:ea typeface="+mn-ea"/>
                <a:cs typeface="+mn-cs"/>
              </a:rPr>
              <a:t>UK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18B936B6-74D5-4013-A3FA-276BDDE3E410}"/>
              </a:ext>
            </a:extLst>
          </p:cNvPr>
          <p:cNvSpPr/>
          <p:nvPr/>
        </p:nvSpPr>
        <p:spPr>
          <a:xfrm>
            <a:off x="8778958" y="4150314"/>
            <a:ext cx="161575" cy="161575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rriweather"/>
              <a:ea typeface="+mn-ea"/>
              <a:cs typeface="+mn-cs"/>
            </a:endParaRP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A241570E-35BF-4E0A-B85B-D143E810B57C}"/>
              </a:ext>
            </a:extLst>
          </p:cNvPr>
          <p:cNvCxnSpPr>
            <a:cxnSpLocks/>
            <a:stCxn id="45" idx="0"/>
          </p:cNvCxnSpPr>
          <p:nvPr/>
        </p:nvCxnSpPr>
        <p:spPr>
          <a:xfrm flipH="1" flipV="1">
            <a:off x="8858323" y="3454733"/>
            <a:ext cx="1423" cy="695581"/>
          </a:xfrm>
          <a:prstGeom prst="line">
            <a:avLst/>
          </a:prstGeom>
          <a:solidFill>
            <a:schemeClr val="accent5">
              <a:lumMod val="50000"/>
            </a:schemeClr>
          </a:solidFill>
          <a:ln w="28575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ardrop 46">
            <a:extLst>
              <a:ext uri="{FF2B5EF4-FFF2-40B4-BE49-F238E27FC236}">
                <a16:creationId xmlns:a16="http://schemas.microsoft.com/office/drawing/2014/main" id="{29D31FDA-E9E1-4D40-83E1-0F16418F0990}"/>
              </a:ext>
            </a:extLst>
          </p:cNvPr>
          <p:cNvSpPr/>
          <p:nvPr/>
        </p:nvSpPr>
        <p:spPr>
          <a:xfrm rot="8079188">
            <a:off x="8679110" y="3189164"/>
            <a:ext cx="358427" cy="358427"/>
          </a:xfrm>
          <a:prstGeom prst="teardrop">
            <a:avLst>
              <a:gd name="adj" fmla="val 200000"/>
            </a:avLst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rriweather"/>
              <a:ea typeface="+mn-ea"/>
              <a:cs typeface="+mn-cs"/>
            </a:endParaRPr>
          </a:p>
        </p:txBody>
      </p:sp>
      <p:sp>
        <p:nvSpPr>
          <p:cNvPr id="48" name="AutoShape 2">
            <a:extLst>
              <a:ext uri="{FF2B5EF4-FFF2-40B4-BE49-F238E27FC236}">
                <a16:creationId xmlns:a16="http://schemas.microsoft.com/office/drawing/2014/main" id="{E4FB1B56-8AB2-41E7-A593-B7D8D8AD0E5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244F"/>
              </a:solidFill>
              <a:effectLst/>
              <a:uLnTx/>
              <a:uFillTx/>
              <a:latin typeface="Merriweather"/>
              <a:ea typeface="+mn-ea"/>
              <a:cs typeface="+mn-cs"/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9CCE58FE-5592-430A-9FBA-3B8EB6B0C21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791752" y="3234496"/>
            <a:ext cx="1540551" cy="716356"/>
          </a:xfrm>
          <a:prstGeom prst="rect">
            <a:avLst/>
          </a:prstGeom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98068F2C-3561-4EE8-B256-DC0FD9D7CF96}"/>
              </a:ext>
            </a:extLst>
          </p:cNvPr>
          <p:cNvSpPr txBox="1"/>
          <p:nvPr/>
        </p:nvSpPr>
        <p:spPr>
          <a:xfrm>
            <a:off x="2973129" y="3787726"/>
            <a:ext cx="1684639" cy="253916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244F"/>
                </a:solidFill>
                <a:effectLst/>
                <a:uLnTx/>
                <a:uFillTx/>
                <a:latin typeface="Merriweather"/>
                <a:ea typeface="+mn-ea"/>
                <a:cs typeface="+mn-cs"/>
              </a:rPr>
              <a:t>Mexico</a:t>
            </a:r>
          </a:p>
        </p:txBody>
      </p:sp>
      <p:sp>
        <p:nvSpPr>
          <p:cNvPr id="63" name="Teardrop 62">
            <a:extLst>
              <a:ext uri="{FF2B5EF4-FFF2-40B4-BE49-F238E27FC236}">
                <a16:creationId xmlns:a16="http://schemas.microsoft.com/office/drawing/2014/main" id="{AD19477A-AFD4-471B-BF32-D1F6F65CC1BA}"/>
              </a:ext>
            </a:extLst>
          </p:cNvPr>
          <p:cNvSpPr/>
          <p:nvPr/>
        </p:nvSpPr>
        <p:spPr>
          <a:xfrm rot="8079188">
            <a:off x="2962767" y="1664914"/>
            <a:ext cx="358427" cy="358427"/>
          </a:xfrm>
          <a:prstGeom prst="teardrop">
            <a:avLst>
              <a:gd name="adj" fmla="val 200000"/>
            </a:avLst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rriweather"/>
              <a:ea typeface="+mn-ea"/>
              <a:cs typeface="+mn-cs"/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254FE3D3-C1E4-48A5-866A-E84EE01088BB}"/>
              </a:ext>
            </a:extLst>
          </p:cNvPr>
          <p:cNvSpPr/>
          <p:nvPr/>
        </p:nvSpPr>
        <p:spPr>
          <a:xfrm>
            <a:off x="3061193" y="2951255"/>
            <a:ext cx="161575" cy="161575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rriweather"/>
              <a:ea typeface="+mn-ea"/>
              <a:cs typeface="+mn-cs"/>
            </a:endParaRP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8396D127-75C3-4639-89A2-24FE0F301BEF}"/>
              </a:ext>
            </a:extLst>
          </p:cNvPr>
          <p:cNvCxnSpPr>
            <a:cxnSpLocks/>
          </p:cNvCxnSpPr>
          <p:nvPr/>
        </p:nvCxnSpPr>
        <p:spPr>
          <a:xfrm flipH="1" flipV="1">
            <a:off x="3141438" y="1664917"/>
            <a:ext cx="1085" cy="1286338"/>
          </a:xfrm>
          <a:prstGeom prst="line">
            <a:avLst/>
          </a:prstGeom>
          <a:ln w="28575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Oval 59">
            <a:extLst>
              <a:ext uri="{FF2B5EF4-FFF2-40B4-BE49-F238E27FC236}">
                <a16:creationId xmlns:a16="http://schemas.microsoft.com/office/drawing/2014/main" id="{40582084-6F1C-4496-902C-7E374D626EA9}"/>
              </a:ext>
            </a:extLst>
          </p:cNvPr>
          <p:cNvSpPr/>
          <p:nvPr/>
        </p:nvSpPr>
        <p:spPr>
          <a:xfrm>
            <a:off x="2549714" y="4003862"/>
            <a:ext cx="161575" cy="161575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rriweather"/>
              <a:ea typeface="+mn-ea"/>
              <a:cs typeface="+mn-cs"/>
            </a:endParaRP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1EF62BB8-C343-413F-9264-8E60B5C7A639}"/>
              </a:ext>
            </a:extLst>
          </p:cNvPr>
          <p:cNvCxnSpPr>
            <a:cxnSpLocks/>
            <a:stCxn id="60" idx="0"/>
          </p:cNvCxnSpPr>
          <p:nvPr/>
        </p:nvCxnSpPr>
        <p:spPr>
          <a:xfrm flipH="1" flipV="1">
            <a:off x="2629079" y="3308281"/>
            <a:ext cx="1423" cy="695581"/>
          </a:xfrm>
          <a:prstGeom prst="line">
            <a:avLst/>
          </a:prstGeom>
          <a:solidFill>
            <a:schemeClr val="accent5">
              <a:lumMod val="50000"/>
            </a:schemeClr>
          </a:solidFill>
          <a:ln w="28575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ardrop 69">
            <a:extLst>
              <a:ext uri="{FF2B5EF4-FFF2-40B4-BE49-F238E27FC236}">
                <a16:creationId xmlns:a16="http://schemas.microsoft.com/office/drawing/2014/main" id="{9DF97C1D-B892-420F-AE64-F71390408E89}"/>
              </a:ext>
            </a:extLst>
          </p:cNvPr>
          <p:cNvSpPr/>
          <p:nvPr/>
        </p:nvSpPr>
        <p:spPr>
          <a:xfrm rot="8079188">
            <a:off x="2449866" y="3042712"/>
            <a:ext cx="358427" cy="358427"/>
          </a:xfrm>
          <a:prstGeom prst="teardrop">
            <a:avLst>
              <a:gd name="adj" fmla="val 200000"/>
            </a:avLst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rriweather"/>
              <a:ea typeface="+mn-ea"/>
              <a:cs typeface="+mn-cs"/>
            </a:endParaRP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592EFEEA-B63A-41BB-B6BE-B290A5CCCDE2}"/>
              </a:ext>
            </a:extLst>
          </p:cNvPr>
          <p:cNvSpPr/>
          <p:nvPr/>
        </p:nvSpPr>
        <p:spPr>
          <a:xfrm>
            <a:off x="5273285" y="3033471"/>
            <a:ext cx="161575" cy="161575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rriweather"/>
              <a:ea typeface="+mn-ea"/>
              <a:cs typeface="+mn-cs"/>
            </a:endParaRP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3158EA94-915F-4D7D-8A66-065F09BA1381}"/>
              </a:ext>
            </a:extLst>
          </p:cNvPr>
          <p:cNvCxnSpPr>
            <a:cxnSpLocks/>
            <a:stCxn id="72" idx="0"/>
          </p:cNvCxnSpPr>
          <p:nvPr/>
        </p:nvCxnSpPr>
        <p:spPr>
          <a:xfrm flipH="1" flipV="1">
            <a:off x="5352650" y="2337890"/>
            <a:ext cx="1423" cy="695581"/>
          </a:xfrm>
          <a:prstGeom prst="line">
            <a:avLst/>
          </a:prstGeom>
          <a:solidFill>
            <a:schemeClr val="accent5">
              <a:lumMod val="50000"/>
            </a:schemeClr>
          </a:solidFill>
          <a:ln w="28575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ardrop 73">
            <a:extLst>
              <a:ext uri="{FF2B5EF4-FFF2-40B4-BE49-F238E27FC236}">
                <a16:creationId xmlns:a16="http://schemas.microsoft.com/office/drawing/2014/main" id="{46684C24-62C7-4907-852F-5C89192A455E}"/>
              </a:ext>
            </a:extLst>
          </p:cNvPr>
          <p:cNvSpPr/>
          <p:nvPr/>
        </p:nvSpPr>
        <p:spPr>
          <a:xfrm rot="8079188">
            <a:off x="5173437" y="2072321"/>
            <a:ext cx="358427" cy="358427"/>
          </a:xfrm>
          <a:prstGeom prst="teardrop">
            <a:avLst>
              <a:gd name="adj" fmla="val 200000"/>
            </a:avLst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rriweather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A9F02E3-B665-4B66-9251-1B3192F34609}"/>
              </a:ext>
            </a:extLst>
          </p:cNvPr>
          <p:cNvSpPr/>
          <p:nvPr/>
        </p:nvSpPr>
        <p:spPr>
          <a:xfrm>
            <a:off x="472568" y="6133672"/>
            <a:ext cx="1370228" cy="4841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rriweather"/>
              <a:ea typeface="+mn-ea"/>
              <a:cs typeface="+mn-cs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CB31D99B-0FF6-43CD-A1E3-E4345FEB0FFE}"/>
              </a:ext>
            </a:extLst>
          </p:cNvPr>
          <p:cNvSpPr/>
          <p:nvPr/>
        </p:nvSpPr>
        <p:spPr>
          <a:xfrm>
            <a:off x="10376898" y="6060004"/>
            <a:ext cx="1019151" cy="5578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rriweather"/>
              <a:ea typeface="+mn-ea"/>
              <a:cs typeface="+mn-cs"/>
            </a:endParaRPr>
          </a:p>
        </p:txBody>
      </p:sp>
      <p:pic>
        <p:nvPicPr>
          <p:cNvPr id="101" name="Picture 4" descr="UK Health Security Agency - Wikipedia">
            <a:extLst>
              <a:ext uri="{FF2B5EF4-FFF2-40B4-BE49-F238E27FC236}">
                <a16:creationId xmlns:a16="http://schemas.microsoft.com/office/drawing/2014/main" id="{0AFB56F9-2A68-4C7D-9FA5-3E1A965366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1187" y="1491787"/>
            <a:ext cx="742312" cy="786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Oval 66">
            <a:extLst>
              <a:ext uri="{FF2B5EF4-FFF2-40B4-BE49-F238E27FC236}">
                <a16:creationId xmlns:a16="http://schemas.microsoft.com/office/drawing/2014/main" id="{5944EFAE-8BFC-4F5D-8FB4-F76FA61F168C}"/>
              </a:ext>
            </a:extLst>
          </p:cNvPr>
          <p:cNvSpPr/>
          <p:nvPr/>
        </p:nvSpPr>
        <p:spPr>
          <a:xfrm>
            <a:off x="9356186" y="3540356"/>
            <a:ext cx="161575" cy="161575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rriweather"/>
              <a:ea typeface="+mn-ea"/>
              <a:cs typeface="+mn-cs"/>
            </a:endParaRPr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8A5FF1D1-974A-44E3-8C20-75B47C8B72A9}"/>
              </a:ext>
            </a:extLst>
          </p:cNvPr>
          <p:cNvCxnSpPr>
            <a:cxnSpLocks/>
            <a:stCxn id="67" idx="0"/>
          </p:cNvCxnSpPr>
          <p:nvPr/>
        </p:nvCxnSpPr>
        <p:spPr>
          <a:xfrm flipH="1" flipV="1">
            <a:off x="9435551" y="2844775"/>
            <a:ext cx="1423" cy="695581"/>
          </a:xfrm>
          <a:prstGeom prst="line">
            <a:avLst/>
          </a:prstGeom>
          <a:solidFill>
            <a:schemeClr val="accent5">
              <a:lumMod val="50000"/>
            </a:schemeClr>
          </a:solidFill>
          <a:ln w="28575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ardrop 68">
            <a:extLst>
              <a:ext uri="{FF2B5EF4-FFF2-40B4-BE49-F238E27FC236}">
                <a16:creationId xmlns:a16="http://schemas.microsoft.com/office/drawing/2014/main" id="{F84FD469-BC63-4D35-8911-FE274D50CF24}"/>
              </a:ext>
            </a:extLst>
          </p:cNvPr>
          <p:cNvSpPr/>
          <p:nvPr/>
        </p:nvSpPr>
        <p:spPr>
          <a:xfrm rot="8079188">
            <a:off x="9256338" y="2579206"/>
            <a:ext cx="358427" cy="358427"/>
          </a:xfrm>
          <a:prstGeom prst="teardrop">
            <a:avLst>
              <a:gd name="adj" fmla="val 200000"/>
            </a:avLst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rriweather"/>
              <a:ea typeface="+mn-ea"/>
              <a:cs typeface="+mn-cs"/>
            </a:endParaRPr>
          </a:p>
        </p:txBody>
      </p:sp>
      <p:pic>
        <p:nvPicPr>
          <p:cNvPr id="75" name="Picture 2" descr="Oversikt av Q2 Solutions som arbeidsgiver | Indeed.com">
            <a:extLst>
              <a:ext uri="{FF2B5EF4-FFF2-40B4-BE49-F238E27FC236}">
                <a16:creationId xmlns:a16="http://schemas.microsoft.com/office/drawing/2014/main" id="{0BA5F308-FC7B-446D-94D2-726A855805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41" b="19407"/>
          <a:stretch/>
        </p:blipFill>
        <p:spPr bwMode="auto">
          <a:xfrm>
            <a:off x="9668122" y="2691470"/>
            <a:ext cx="1143676" cy="730258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6" name="TextBox 75">
            <a:extLst>
              <a:ext uri="{FF2B5EF4-FFF2-40B4-BE49-F238E27FC236}">
                <a16:creationId xmlns:a16="http://schemas.microsoft.com/office/drawing/2014/main" id="{6CE88467-BCD3-4F6A-9D2F-575110A3E2F4}"/>
              </a:ext>
            </a:extLst>
          </p:cNvPr>
          <p:cNvSpPr txBox="1"/>
          <p:nvPr/>
        </p:nvSpPr>
        <p:spPr>
          <a:xfrm>
            <a:off x="9427487" y="3338758"/>
            <a:ext cx="1684639" cy="253916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244F"/>
                </a:solidFill>
                <a:effectLst/>
                <a:uLnTx/>
                <a:uFillTx/>
                <a:latin typeface="Merriweather"/>
                <a:ea typeface="+mn-ea"/>
                <a:cs typeface="+mn-cs"/>
              </a:rPr>
              <a:t>China</a:t>
            </a:r>
          </a:p>
        </p:txBody>
      </p:sp>
    </p:spTree>
    <p:extLst>
      <p:ext uri="{BB962C8B-B14F-4D97-AF65-F5344CB8AC3E}">
        <p14:creationId xmlns:p14="http://schemas.microsoft.com/office/powerpoint/2010/main" val="4076821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70F0068-EC36-48BA-A356-0D3E83C26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41093"/>
            <a:ext cx="10515600" cy="831268"/>
          </a:xfrm>
        </p:spPr>
        <p:txBody>
          <a:bodyPr/>
          <a:lstStyle/>
          <a:p>
            <a:r>
              <a:rPr lang="en-US" sz="3600"/>
              <a:t>Objectives of the Network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ECA3458-074C-4D17-B455-807AC8B1AE06}"/>
              </a:ext>
            </a:extLst>
          </p:cNvPr>
          <p:cNvSpPr/>
          <p:nvPr/>
        </p:nvSpPr>
        <p:spPr>
          <a:xfrm>
            <a:off x="10312400" y="5651523"/>
            <a:ext cx="1879600" cy="8737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Content Placeholder 1">
            <a:extLst>
              <a:ext uri="{FF2B5EF4-FFF2-40B4-BE49-F238E27FC236}">
                <a16:creationId xmlns:a16="http://schemas.microsoft.com/office/drawing/2014/main" id="{6E7D6FE5-36B2-4016-9D53-7F645BF110FE}"/>
              </a:ext>
            </a:extLst>
          </p:cNvPr>
          <p:cNvSpPr txBox="1">
            <a:spLocks/>
          </p:cNvSpPr>
          <p:nvPr/>
        </p:nvSpPr>
        <p:spPr>
          <a:xfrm>
            <a:off x="673982" y="1694508"/>
            <a:ext cx="8004858" cy="43764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0244F"/>
                </a:solidFill>
                <a:latin typeface="Georgia Regular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0244F"/>
                </a:solidFill>
                <a:latin typeface="Georgia Regular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0244F"/>
                </a:solidFill>
                <a:latin typeface="Georgia Regular" charset="0"/>
                <a:ea typeface="+mn-ea"/>
                <a:cs typeface="+mn-cs"/>
              </a:defRPr>
            </a:lvl3pPr>
            <a:lvl4pPr marL="1543050" marR="0" indent="-171450" algn="l" defTabSz="914400" rtl="0" eaLnBrk="1" fontAlgn="auto" latinLnBrk="0" hangingPunct="1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b="0" i="0" kern="1200">
                <a:solidFill>
                  <a:srgbClr val="00244F"/>
                </a:solidFill>
                <a:latin typeface="Georgia Regular" charset="0"/>
                <a:ea typeface="+mn-ea"/>
                <a:cs typeface="+mn-cs"/>
              </a:defRPr>
            </a:lvl4pPr>
            <a:lvl5pPr marL="2114550" marR="0" indent="-228600" algn="l" defTabSz="914400" rtl="0" eaLnBrk="1" fontAlgn="auto" latinLnBrk="0" hangingPunct="1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b="0" i="0" kern="1200">
                <a:solidFill>
                  <a:srgbClr val="00244F"/>
                </a:solidFill>
                <a:latin typeface="Georgia Regular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/>
              <a:t>The CEPI Centralized Laboratory Network was built to ensure the harmonization of assays across laboratories</a:t>
            </a:r>
          </a:p>
          <a:p>
            <a:r>
              <a:rPr lang="en-GB" sz="2000"/>
              <a:t>The Network is opened to </a:t>
            </a:r>
            <a:r>
              <a:rPr lang="en-GB" sz="2000" b="1" u="sng"/>
              <a:t>all</a:t>
            </a:r>
            <a:r>
              <a:rPr lang="en-GB" sz="2000"/>
              <a:t> COVID-19 vaccine developers:</a:t>
            </a:r>
          </a:p>
          <a:p>
            <a:pPr lvl="1"/>
            <a:r>
              <a:rPr lang="en-GB" sz="1800"/>
              <a:t>To test samples from pre-clinical to Phase III clinical studies </a:t>
            </a:r>
            <a:r>
              <a:rPr lang="en-US" sz="1800"/>
              <a:t>for key immunogenicity and efficacy endpoint evaluation</a:t>
            </a:r>
          </a:p>
          <a:p>
            <a:pPr lvl="1"/>
            <a:r>
              <a:rPr lang="en-US" sz="1800"/>
              <a:t>To support SARS-CoV-2 vaccine developers in the pathway towards licensure</a:t>
            </a:r>
          </a:p>
          <a:p>
            <a:pPr lvl="1"/>
            <a:r>
              <a:rPr lang="en-US" sz="1800"/>
              <a:t>To help the identification of Immune Correlates of Protection</a:t>
            </a:r>
          </a:p>
          <a:p>
            <a:pPr lvl="1"/>
            <a:r>
              <a:rPr lang="en-US" sz="1800"/>
              <a:t>To facilitate rapid evaluation, approval, and dissemination of the most effective vaccine candidates</a:t>
            </a:r>
          </a:p>
          <a:p>
            <a:endParaRPr lang="en-US" sz="2000"/>
          </a:p>
        </p:txBody>
      </p:sp>
      <p:pic>
        <p:nvPicPr>
          <p:cNvPr id="11266" name="Picture 2" descr="Purpose of Learning Objectives in eLearning [Infographic]">
            <a:extLst>
              <a:ext uri="{FF2B5EF4-FFF2-40B4-BE49-F238E27FC236}">
                <a16:creationId xmlns:a16="http://schemas.microsoft.com/office/drawing/2014/main" id="{7E64E758-2675-4D3B-ADD9-C1EBD2C99E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8840" y="2515202"/>
            <a:ext cx="3251103" cy="18484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102714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>
            <a:extLst>
              <a:ext uri="{FF2B5EF4-FFF2-40B4-BE49-F238E27FC236}">
                <a16:creationId xmlns:a16="http://schemas.microsoft.com/office/drawing/2014/main" id="{81ED0D51-9937-4530-882B-469508D41E04}"/>
              </a:ext>
            </a:extLst>
          </p:cNvPr>
          <p:cNvGrpSpPr/>
          <p:nvPr/>
        </p:nvGrpSpPr>
        <p:grpSpPr>
          <a:xfrm>
            <a:off x="561269" y="260114"/>
            <a:ext cx="11081038" cy="6503116"/>
            <a:chOff x="2687161" y="3731096"/>
            <a:chExt cx="5158677" cy="3027467"/>
          </a:xfrm>
          <a:solidFill>
            <a:schemeClr val="accent5">
              <a:alpha val="40000"/>
            </a:schemeClr>
          </a:solidFill>
        </p:grpSpPr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ABD2069-5DE3-4D90-8779-E8149C28D3A7}"/>
                </a:ext>
              </a:extLst>
            </p:cNvPr>
            <p:cNvSpPr/>
            <p:nvPr/>
          </p:nvSpPr>
          <p:spPr>
            <a:xfrm>
              <a:off x="2725967" y="4290519"/>
              <a:ext cx="1906137" cy="2468044"/>
            </a:xfrm>
            <a:custGeom>
              <a:avLst/>
              <a:gdLst>
                <a:gd name="connsiteX0" fmla="*/ 1901480 w 1906136"/>
                <a:gd name="connsiteY0" fmla="*/ 1594450 h 2468044"/>
                <a:gd name="connsiteX1" fmla="*/ 1898376 w 1906136"/>
                <a:gd name="connsiteY1" fmla="*/ 1588241 h 2468044"/>
                <a:gd name="connsiteX2" fmla="*/ 1892167 w 1906136"/>
                <a:gd name="connsiteY2" fmla="*/ 1582963 h 2468044"/>
                <a:gd name="connsiteX3" fmla="*/ 1886889 w 1906136"/>
                <a:gd name="connsiteY3" fmla="*/ 1575513 h 2468044"/>
                <a:gd name="connsiteX4" fmla="*/ 1879749 w 1906136"/>
                <a:gd name="connsiteY4" fmla="*/ 1577686 h 2468044"/>
                <a:gd name="connsiteX5" fmla="*/ 1870436 w 1906136"/>
                <a:gd name="connsiteY5" fmla="*/ 1577686 h 2468044"/>
                <a:gd name="connsiteX6" fmla="*/ 1862054 w 1906136"/>
                <a:gd name="connsiteY6" fmla="*/ 1575513 h 2468044"/>
                <a:gd name="connsiteX7" fmla="*/ 1855845 w 1906136"/>
                <a:gd name="connsiteY7" fmla="*/ 1568062 h 2468044"/>
                <a:gd name="connsiteX8" fmla="*/ 1854913 w 1906136"/>
                <a:gd name="connsiteY8" fmla="*/ 1558748 h 2468044"/>
                <a:gd name="connsiteX9" fmla="*/ 1850878 w 1906136"/>
                <a:gd name="connsiteY9" fmla="*/ 1548193 h 2468044"/>
                <a:gd name="connsiteX10" fmla="*/ 1845600 w 1906136"/>
                <a:gd name="connsiteY10" fmla="*/ 1542916 h 2468044"/>
                <a:gd name="connsiteX11" fmla="*/ 1789410 w 1906136"/>
                <a:gd name="connsiteY11" fmla="*/ 1538569 h 2468044"/>
                <a:gd name="connsiteX12" fmla="*/ 1785374 w 1906136"/>
                <a:gd name="connsiteY12" fmla="*/ 1537638 h 2468044"/>
                <a:gd name="connsiteX13" fmla="*/ 1782269 w 1906136"/>
                <a:gd name="connsiteY13" fmla="*/ 1535465 h 2468044"/>
                <a:gd name="connsiteX14" fmla="*/ 1778233 w 1906136"/>
                <a:gd name="connsiteY14" fmla="*/ 1533292 h 2468044"/>
                <a:gd name="connsiteX15" fmla="*/ 1777302 w 1906136"/>
                <a:gd name="connsiteY15" fmla="*/ 1533292 h 2468044"/>
                <a:gd name="connsiteX16" fmla="*/ 1771093 w 1906136"/>
                <a:gd name="connsiteY16" fmla="*/ 1531119 h 2468044"/>
                <a:gd name="connsiteX17" fmla="*/ 1767989 w 1906136"/>
                <a:gd name="connsiteY17" fmla="*/ 1533292 h 2468044"/>
                <a:gd name="connsiteX18" fmla="*/ 1762711 w 1906136"/>
                <a:gd name="connsiteY18" fmla="*/ 1535465 h 2468044"/>
                <a:gd name="connsiteX19" fmla="*/ 1758675 w 1906136"/>
                <a:gd name="connsiteY19" fmla="*/ 1522737 h 2468044"/>
                <a:gd name="connsiteX20" fmla="*/ 1736944 w 1906136"/>
                <a:gd name="connsiteY20" fmla="*/ 1515286 h 2468044"/>
                <a:gd name="connsiteX21" fmla="*/ 1713971 w 1906136"/>
                <a:gd name="connsiteY21" fmla="*/ 1515286 h 2468044"/>
                <a:gd name="connsiteX22" fmla="*/ 1717075 w 1906136"/>
                <a:gd name="connsiteY22" fmla="*/ 1509077 h 2468044"/>
                <a:gd name="connsiteX23" fmla="*/ 1721111 w 1906136"/>
                <a:gd name="connsiteY23" fmla="*/ 1505973 h 2468044"/>
                <a:gd name="connsiteX24" fmla="*/ 1724216 w 1906136"/>
                <a:gd name="connsiteY24" fmla="*/ 1500695 h 2468044"/>
                <a:gd name="connsiteX25" fmla="*/ 1728252 w 1906136"/>
                <a:gd name="connsiteY25" fmla="*/ 1496349 h 2468044"/>
                <a:gd name="connsiteX26" fmla="*/ 1729183 w 1906136"/>
                <a:gd name="connsiteY26" fmla="*/ 1488898 h 2468044"/>
                <a:gd name="connsiteX27" fmla="*/ 1704037 w 1906136"/>
                <a:gd name="connsiteY27" fmla="*/ 1476170 h 2468044"/>
                <a:gd name="connsiteX28" fmla="*/ 1682306 w 1906136"/>
                <a:gd name="connsiteY28" fmla="*/ 1459406 h 2468044"/>
                <a:gd name="connsiteX29" fmla="*/ 1662437 w 1906136"/>
                <a:gd name="connsiteY29" fmla="*/ 1439537 h 2468044"/>
                <a:gd name="connsiteX30" fmla="*/ 1645673 w 1906136"/>
                <a:gd name="connsiteY30" fmla="*/ 1417496 h 2468044"/>
                <a:gd name="connsiteX31" fmla="*/ 1621769 w 1906136"/>
                <a:gd name="connsiteY31" fmla="*/ 1415322 h 2468044"/>
                <a:gd name="connsiteX32" fmla="*/ 1604073 w 1906136"/>
                <a:gd name="connsiteY32" fmla="*/ 1414391 h 2468044"/>
                <a:gd name="connsiteX33" fmla="*/ 1582342 w 1906136"/>
                <a:gd name="connsiteY33" fmla="*/ 1412218 h 2468044"/>
                <a:gd name="connsiteX34" fmla="*/ 1578306 w 1906136"/>
                <a:gd name="connsiteY34" fmla="*/ 1400732 h 2468044"/>
                <a:gd name="connsiteX35" fmla="*/ 1571166 w 1906136"/>
                <a:gd name="connsiteY35" fmla="*/ 1393281 h 2468044"/>
                <a:gd name="connsiteX36" fmla="*/ 1562784 w 1906136"/>
                <a:gd name="connsiteY36" fmla="*/ 1392350 h 2468044"/>
                <a:gd name="connsiteX37" fmla="*/ 1549124 w 1906136"/>
                <a:gd name="connsiteY37" fmla="*/ 1388003 h 2468044"/>
                <a:gd name="connsiteX38" fmla="*/ 1549124 w 1906136"/>
                <a:gd name="connsiteY38" fmla="*/ 1377448 h 2468044"/>
                <a:gd name="connsiteX39" fmla="*/ 1536707 w 1906136"/>
                <a:gd name="connsiteY39" fmla="*/ 1371239 h 2468044"/>
                <a:gd name="connsiteX40" fmla="*/ 1529566 w 1906136"/>
                <a:gd name="connsiteY40" fmla="*/ 1365962 h 2468044"/>
                <a:gd name="connsiteX41" fmla="*/ 1522426 w 1906136"/>
                <a:gd name="connsiteY41" fmla="*/ 1360684 h 2468044"/>
                <a:gd name="connsiteX42" fmla="*/ 1510008 w 1906136"/>
                <a:gd name="connsiteY42" fmla="*/ 1356338 h 2468044"/>
                <a:gd name="connsiteX43" fmla="*/ 1512181 w 1906136"/>
                <a:gd name="connsiteY43" fmla="*/ 1353233 h 2468044"/>
                <a:gd name="connsiteX44" fmla="*/ 1512181 w 1906136"/>
                <a:gd name="connsiteY44" fmla="*/ 1351060 h 2468044"/>
                <a:gd name="connsiteX45" fmla="*/ 1514354 w 1906136"/>
                <a:gd name="connsiteY45" fmla="*/ 1350129 h 2468044"/>
                <a:gd name="connsiteX46" fmla="*/ 1514354 w 1906136"/>
                <a:gd name="connsiteY46" fmla="*/ 1347956 h 2468044"/>
                <a:gd name="connsiteX47" fmla="*/ 1514354 w 1906136"/>
                <a:gd name="connsiteY47" fmla="*/ 1343609 h 2468044"/>
                <a:gd name="connsiteX48" fmla="*/ 1488277 w 1906136"/>
                <a:gd name="connsiteY48" fmla="*/ 1345783 h 2468044"/>
                <a:gd name="connsiteX49" fmla="*/ 1463131 w 1906136"/>
                <a:gd name="connsiteY49" fmla="*/ 1347956 h 2468044"/>
                <a:gd name="connsiteX50" fmla="*/ 1441400 w 1906136"/>
                <a:gd name="connsiteY50" fmla="*/ 1345783 h 2468044"/>
                <a:gd name="connsiteX51" fmla="*/ 1419668 w 1906136"/>
                <a:gd name="connsiteY51" fmla="*/ 1338332 h 2468044"/>
                <a:gd name="connsiteX52" fmla="*/ 1402904 w 1906136"/>
                <a:gd name="connsiteY52" fmla="*/ 1323741 h 2468044"/>
                <a:gd name="connsiteX53" fmla="*/ 1399800 w 1906136"/>
                <a:gd name="connsiteY53" fmla="*/ 1325914 h 2468044"/>
                <a:gd name="connsiteX54" fmla="*/ 1395764 w 1906136"/>
                <a:gd name="connsiteY54" fmla="*/ 1328087 h 2468044"/>
                <a:gd name="connsiteX55" fmla="*/ 1393591 w 1906136"/>
                <a:gd name="connsiteY55" fmla="*/ 1329019 h 2468044"/>
                <a:gd name="connsiteX56" fmla="*/ 1392660 w 1906136"/>
                <a:gd name="connsiteY56" fmla="*/ 1331192 h 2468044"/>
                <a:gd name="connsiteX57" fmla="*/ 1390487 w 1906136"/>
                <a:gd name="connsiteY57" fmla="*/ 1333365 h 2468044"/>
                <a:gd name="connsiteX58" fmla="*/ 1386451 w 1906136"/>
                <a:gd name="connsiteY58" fmla="*/ 1336469 h 2468044"/>
                <a:gd name="connsiteX59" fmla="*/ 1386451 w 1906136"/>
                <a:gd name="connsiteY59" fmla="*/ 1340815 h 2468044"/>
                <a:gd name="connsiteX60" fmla="*/ 1383346 w 1906136"/>
                <a:gd name="connsiteY60" fmla="*/ 1338642 h 2468044"/>
                <a:gd name="connsiteX61" fmla="*/ 1381173 w 1906136"/>
                <a:gd name="connsiteY61" fmla="*/ 1336469 h 2468044"/>
                <a:gd name="connsiteX62" fmla="*/ 1379000 w 1906136"/>
                <a:gd name="connsiteY62" fmla="*/ 1336469 h 2468044"/>
                <a:gd name="connsiteX63" fmla="*/ 1379000 w 1906136"/>
                <a:gd name="connsiteY63" fmla="*/ 1335538 h 2468044"/>
                <a:gd name="connsiteX64" fmla="*/ 1381173 w 1906136"/>
                <a:gd name="connsiteY64" fmla="*/ 1335538 h 2468044"/>
                <a:gd name="connsiteX65" fmla="*/ 1381173 w 1906136"/>
                <a:gd name="connsiteY65" fmla="*/ 1331192 h 2468044"/>
                <a:gd name="connsiteX66" fmla="*/ 1383346 w 1906136"/>
                <a:gd name="connsiteY66" fmla="*/ 1328087 h 2468044"/>
                <a:gd name="connsiteX67" fmla="*/ 1378069 w 1906136"/>
                <a:gd name="connsiteY67" fmla="*/ 1328087 h 2468044"/>
                <a:gd name="connsiteX68" fmla="*/ 1374033 w 1906136"/>
                <a:gd name="connsiteY68" fmla="*/ 1325914 h 2468044"/>
                <a:gd name="connsiteX69" fmla="*/ 1371860 w 1906136"/>
                <a:gd name="connsiteY69" fmla="*/ 1325914 h 2468044"/>
                <a:gd name="connsiteX70" fmla="*/ 1368755 w 1906136"/>
                <a:gd name="connsiteY70" fmla="*/ 1325914 h 2468044"/>
                <a:gd name="connsiteX71" fmla="*/ 1366582 w 1906136"/>
                <a:gd name="connsiteY71" fmla="*/ 1325914 h 2468044"/>
                <a:gd name="connsiteX72" fmla="*/ 1363478 w 1906136"/>
                <a:gd name="connsiteY72" fmla="*/ 1328087 h 2468044"/>
                <a:gd name="connsiteX73" fmla="*/ 1343609 w 1906136"/>
                <a:gd name="connsiteY73" fmla="*/ 1331192 h 2468044"/>
                <a:gd name="connsiteX74" fmla="*/ 1329950 w 1906136"/>
                <a:gd name="connsiteY74" fmla="*/ 1338642 h 2468044"/>
                <a:gd name="connsiteX75" fmla="*/ 1319395 w 1906136"/>
                <a:gd name="connsiteY75" fmla="*/ 1347956 h 2468044"/>
                <a:gd name="connsiteX76" fmla="*/ 1310081 w 1906136"/>
                <a:gd name="connsiteY76" fmla="*/ 1358511 h 2468044"/>
                <a:gd name="connsiteX77" fmla="*/ 1302941 w 1906136"/>
                <a:gd name="connsiteY77" fmla="*/ 1373102 h 2468044"/>
                <a:gd name="connsiteX78" fmla="*/ 1296111 w 1906136"/>
                <a:gd name="connsiteY78" fmla="*/ 1371550 h 2468044"/>
                <a:gd name="connsiteX79" fmla="*/ 1290833 w 1906136"/>
                <a:gd name="connsiteY79" fmla="*/ 1370618 h 2468044"/>
                <a:gd name="connsiteX80" fmla="*/ 1288660 w 1906136"/>
                <a:gd name="connsiteY80" fmla="*/ 1370618 h 2468044"/>
                <a:gd name="connsiteX81" fmla="*/ 1286798 w 1906136"/>
                <a:gd name="connsiteY81" fmla="*/ 1368445 h 2468044"/>
                <a:gd name="connsiteX82" fmla="*/ 1283693 w 1906136"/>
                <a:gd name="connsiteY82" fmla="*/ 1364099 h 2468044"/>
                <a:gd name="connsiteX83" fmla="*/ 1281520 w 1906136"/>
                <a:gd name="connsiteY83" fmla="*/ 1360994 h 2468044"/>
                <a:gd name="connsiteX84" fmla="*/ 1264756 w 1906136"/>
                <a:gd name="connsiteY84" fmla="*/ 1360994 h 2468044"/>
                <a:gd name="connsiteX85" fmla="*/ 1255443 w 1906136"/>
                <a:gd name="connsiteY85" fmla="*/ 1364099 h 2468044"/>
                <a:gd name="connsiteX86" fmla="*/ 1248302 w 1906136"/>
                <a:gd name="connsiteY86" fmla="*/ 1373412 h 2468044"/>
                <a:gd name="connsiteX87" fmla="*/ 1234643 w 1906136"/>
                <a:gd name="connsiteY87" fmla="*/ 1370308 h 2468044"/>
                <a:gd name="connsiteX88" fmla="*/ 1223156 w 1906136"/>
                <a:gd name="connsiteY88" fmla="*/ 1364099 h 2468044"/>
                <a:gd name="connsiteX89" fmla="*/ 1216016 w 1906136"/>
                <a:gd name="connsiteY89" fmla="*/ 1356648 h 2468044"/>
                <a:gd name="connsiteX90" fmla="*/ 1210739 w 1906136"/>
                <a:gd name="connsiteY90" fmla="*/ 1350439 h 2468044"/>
                <a:gd name="connsiteX91" fmla="*/ 1201425 w 1906136"/>
                <a:gd name="connsiteY91" fmla="*/ 1341126 h 2468044"/>
                <a:gd name="connsiteX92" fmla="*/ 1201425 w 1906136"/>
                <a:gd name="connsiteY92" fmla="*/ 1326535 h 2468044"/>
                <a:gd name="connsiteX93" fmla="*/ 1205461 w 1906136"/>
                <a:gd name="connsiteY93" fmla="*/ 1311944 h 2468044"/>
                <a:gd name="connsiteX94" fmla="*/ 1208565 w 1906136"/>
                <a:gd name="connsiteY94" fmla="*/ 1300457 h 2468044"/>
                <a:gd name="connsiteX95" fmla="*/ 1206392 w 1906136"/>
                <a:gd name="connsiteY95" fmla="*/ 1284625 h 2468044"/>
                <a:gd name="connsiteX96" fmla="*/ 1199252 w 1906136"/>
                <a:gd name="connsiteY96" fmla="*/ 1273138 h 2468044"/>
                <a:gd name="connsiteX97" fmla="*/ 1190870 w 1906136"/>
                <a:gd name="connsiteY97" fmla="*/ 1267861 h 2468044"/>
                <a:gd name="connsiteX98" fmla="*/ 1177210 w 1906136"/>
                <a:gd name="connsiteY98" fmla="*/ 1265688 h 2468044"/>
                <a:gd name="connsiteX99" fmla="*/ 1162619 w 1906136"/>
                <a:gd name="connsiteY99" fmla="*/ 1265688 h 2468044"/>
                <a:gd name="connsiteX100" fmla="*/ 1147097 w 1906136"/>
                <a:gd name="connsiteY100" fmla="*/ 1267861 h 2468044"/>
                <a:gd name="connsiteX101" fmla="*/ 1128470 w 1906136"/>
                <a:gd name="connsiteY101" fmla="*/ 1267861 h 2468044"/>
                <a:gd name="connsiteX102" fmla="*/ 1134679 w 1906136"/>
                <a:gd name="connsiteY102" fmla="*/ 1255132 h 2468044"/>
                <a:gd name="connsiteX103" fmla="*/ 1139957 w 1906136"/>
                <a:gd name="connsiteY103" fmla="*/ 1238368 h 2468044"/>
                <a:gd name="connsiteX104" fmla="*/ 1145234 w 1906136"/>
                <a:gd name="connsiteY104" fmla="*/ 1220362 h 2468044"/>
                <a:gd name="connsiteX105" fmla="*/ 1150512 w 1906136"/>
                <a:gd name="connsiteY105" fmla="*/ 1206703 h 2468044"/>
                <a:gd name="connsiteX106" fmla="*/ 1157652 w 1906136"/>
                <a:gd name="connsiteY106" fmla="*/ 1199252 h 2468044"/>
                <a:gd name="connsiteX107" fmla="*/ 1157652 w 1906136"/>
                <a:gd name="connsiteY107" fmla="*/ 1183420 h 2468044"/>
                <a:gd name="connsiteX108" fmla="*/ 1152375 w 1906136"/>
                <a:gd name="connsiteY108" fmla="*/ 1184351 h 2468044"/>
                <a:gd name="connsiteX109" fmla="*/ 1148339 w 1906136"/>
                <a:gd name="connsiteY109" fmla="*/ 1184351 h 2468044"/>
                <a:gd name="connsiteX110" fmla="*/ 1147097 w 1906136"/>
                <a:gd name="connsiteY110" fmla="*/ 1184351 h 2468044"/>
                <a:gd name="connsiteX111" fmla="*/ 1147097 w 1906136"/>
                <a:gd name="connsiteY111" fmla="*/ 1186524 h 2468044"/>
                <a:gd name="connsiteX112" fmla="*/ 1144924 w 1906136"/>
                <a:gd name="connsiteY112" fmla="*/ 1186524 h 2468044"/>
                <a:gd name="connsiteX113" fmla="*/ 1144924 w 1906136"/>
                <a:gd name="connsiteY113" fmla="*/ 1184351 h 2468044"/>
                <a:gd name="connsiteX114" fmla="*/ 1142751 w 1906136"/>
                <a:gd name="connsiteY114" fmla="*/ 1183420 h 2468044"/>
                <a:gd name="connsiteX115" fmla="*/ 1141820 w 1906136"/>
                <a:gd name="connsiteY115" fmla="*/ 1179073 h 2468044"/>
                <a:gd name="connsiteX116" fmla="*/ 1125055 w 1906136"/>
                <a:gd name="connsiteY116" fmla="*/ 1181246 h 2468044"/>
                <a:gd name="connsiteX117" fmla="*/ 1113569 w 1906136"/>
                <a:gd name="connsiteY117" fmla="*/ 1186524 h 2468044"/>
                <a:gd name="connsiteX118" fmla="*/ 1105187 w 1906136"/>
                <a:gd name="connsiteY118" fmla="*/ 1195837 h 2468044"/>
                <a:gd name="connsiteX119" fmla="*/ 1103014 w 1906136"/>
                <a:gd name="connsiteY119" fmla="*/ 1198942 h 2468044"/>
                <a:gd name="connsiteX120" fmla="*/ 1100841 w 1906136"/>
                <a:gd name="connsiteY120" fmla="*/ 1205151 h 2468044"/>
                <a:gd name="connsiteX121" fmla="*/ 1098668 w 1906136"/>
                <a:gd name="connsiteY121" fmla="*/ 1210428 h 2468044"/>
                <a:gd name="connsiteX122" fmla="*/ 1097736 w 1906136"/>
                <a:gd name="connsiteY122" fmla="*/ 1215706 h 2468044"/>
                <a:gd name="connsiteX123" fmla="*/ 1093700 w 1906136"/>
                <a:gd name="connsiteY123" fmla="*/ 1220052 h 2468044"/>
                <a:gd name="connsiteX124" fmla="*/ 1093700 w 1906136"/>
                <a:gd name="connsiteY124" fmla="*/ 1220983 h 2468044"/>
                <a:gd name="connsiteX125" fmla="*/ 1091527 w 1906136"/>
                <a:gd name="connsiteY125" fmla="*/ 1220983 h 2468044"/>
                <a:gd name="connsiteX126" fmla="*/ 1090596 w 1906136"/>
                <a:gd name="connsiteY126" fmla="*/ 1220983 h 2468044"/>
                <a:gd name="connsiteX127" fmla="*/ 1086560 w 1906136"/>
                <a:gd name="connsiteY127" fmla="*/ 1220983 h 2468044"/>
                <a:gd name="connsiteX128" fmla="*/ 1084387 w 1906136"/>
                <a:gd name="connsiteY128" fmla="*/ 1220983 h 2468044"/>
                <a:gd name="connsiteX129" fmla="*/ 1081283 w 1906136"/>
                <a:gd name="connsiteY129" fmla="*/ 1223157 h 2468044"/>
                <a:gd name="connsiteX130" fmla="*/ 1066692 w 1906136"/>
                <a:gd name="connsiteY130" fmla="*/ 1230607 h 2468044"/>
                <a:gd name="connsiteX131" fmla="*/ 1057378 w 1906136"/>
                <a:gd name="connsiteY131" fmla="*/ 1234953 h 2468044"/>
                <a:gd name="connsiteX132" fmla="*/ 1052101 w 1906136"/>
                <a:gd name="connsiteY132" fmla="*/ 1232780 h 2468044"/>
                <a:gd name="connsiteX133" fmla="*/ 1048065 w 1906136"/>
                <a:gd name="connsiteY133" fmla="*/ 1230607 h 2468044"/>
                <a:gd name="connsiteX134" fmla="*/ 1044960 w 1906136"/>
                <a:gd name="connsiteY134" fmla="*/ 1227503 h 2468044"/>
                <a:gd name="connsiteX135" fmla="*/ 1037820 w 1906136"/>
                <a:gd name="connsiteY135" fmla="*/ 1225330 h 2468044"/>
                <a:gd name="connsiteX136" fmla="*/ 1025402 w 1906136"/>
                <a:gd name="connsiteY136" fmla="*/ 1223157 h 2468044"/>
                <a:gd name="connsiteX137" fmla="*/ 1013916 w 1906136"/>
                <a:gd name="connsiteY137" fmla="*/ 1201115 h 2468044"/>
                <a:gd name="connsiteX138" fmla="*/ 1006776 w 1906136"/>
                <a:gd name="connsiteY138" fmla="*/ 1183109 h 2468044"/>
                <a:gd name="connsiteX139" fmla="*/ 1005844 w 1906136"/>
                <a:gd name="connsiteY139" fmla="*/ 1164172 h 2468044"/>
                <a:gd name="connsiteX140" fmla="*/ 1005844 w 1906136"/>
                <a:gd name="connsiteY140" fmla="*/ 1146166 h 2468044"/>
                <a:gd name="connsiteX141" fmla="*/ 1012985 w 1906136"/>
                <a:gd name="connsiteY141" fmla="*/ 1121951 h 2468044"/>
                <a:gd name="connsiteX142" fmla="*/ 1016089 w 1906136"/>
                <a:gd name="connsiteY142" fmla="*/ 1111396 h 2468044"/>
                <a:gd name="connsiteX143" fmla="*/ 1016089 w 1906136"/>
                <a:gd name="connsiteY143" fmla="*/ 1102083 h 2468044"/>
                <a:gd name="connsiteX144" fmla="*/ 1013916 w 1906136"/>
                <a:gd name="connsiteY144" fmla="*/ 1094632 h 2468044"/>
                <a:gd name="connsiteX145" fmla="*/ 1017952 w 1906136"/>
                <a:gd name="connsiteY145" fmla="*/ 1085319 h 2468044"/>
                <a:gd name="connsiteX146" fmla="*/ 1025092 w 1906136"/>
                <a:gd name="connsiteY146" fmla="*/ 1074764 h 2468044"/>
                <a:gd name="connsiteX147" fmla="*/ 1035647 w 1906136"/>
                <a:gd name="connsiteY147" fmla="*/ 1067313 h 2468044"/>
                <a:gd name="connsiteX148" fmla="*/ 1048065 w 1906136"/>
                <a:gd name="connsiteY148" fmla="*/ 1061104 h 2468044"/>
                <a:gd name="connsiteX149" fmla="*/ 1059551 w 1906136"/>
                <a:gd name="connsiteY149" fmla="*/ 1057999 h 2468044"/>
                <a:gd name="connsiteX150" fmla="*/ 1076316 w 1906136"/>
                <a:gd name="connsiteY150" fmla="*/ 1055826 h 2468044"/>
                <a:gd name="connsiteX151" fmla="*/ 1091838 w 1906136"/>
                <a:gd name="connsiteY151" fmla="*/ 1055826 h 2468044"/>
                <a:gd name="connsiteX152" fmla="*/ 1108602 w 1906136"/>
                <a:gd name="connsiteY152" fmla="*/ 1060173 h 2468044"/>
                <a:gd name="connsiteX153" fmla="*/ 1121020 w 1906136"/>
                <a:gd name="connsiteY153" fmla="*/ 1065450 h 2468044"/>
                <a:gd name="connsiteX154" fmla="*/ 1137784 w 1906136"/>
                <a:gd name="connsiteY154" fmla="*/ 1065450 h 2468044"/>
                <a:gd name="connsiteX155" fmla="*/ 1134679 w 1906136"/>
                <a:gd name="connsiteY155" fmla="*/ 1060173 h 2468044"/>
                <a:gd name="connsiteX156" fmla="*/ 1132506 w 1906136"/>
                <a:gd name="connsiteY156" fmla="*/ 1055826 h 2468044"/>
                <a:gd name="connsiteX157" fmla="*/ 1130333 w 1906136"/>
                <a:gd name="connsiteY157" fmla="*/ 1052722 h 2468044"/>
                <a:gd name="connsiteX158" fmla="*/ 1127229 w 1906136"/>
                <a:gd name="connsiteY158" fmla="*/ 1047444 h 2468044"/>
                <a:gd name="connsiteX159" fmla="*/ 1125055 w 1906136"/>
                <a:gd name="connsiteY159" fmla="*/ 1041235 h 2468044"/>
                <a:gd name="connsiteX160" fmla="*/ 1128160 w 1906136"/>
                <a:gd name="connsiteY160" fmla="*/ 1041235 h 2468044"/>
                <a:gd name="connsiteX161" fmla="*/ 1128160 w 1906136"/>
                <a:gd name="connsiteY161" fmla="*/ 1038131 h 2468044"/>
                <a:gd name="connsiteX162" fmla="*/ 1149891 w 1906136"/>
                <a:gd name="connsiteY162" fmla="*/ 1041235 h 2468044"/>
                <a:gd name="connsiteX163" fmla="*/ 1168518 w 1906136"/>
                <a:gd name="connsiteY163" fmla="*/ 1048686 h 2468044"/>
                <a:gd name="connsiteX164" fmla="*/ 1184040 w 1906136"/>
                <a:gd name="connsiteY164" fmla="*/ 1056137 h 2468044"/>
                <a:gd name="connsiteX165" fmla="*/ 1197700 w 1906136"/>
                <a:gd name="connsiteY165" fmla="*/ 1058310 h 2468044"/>
                <a:gd name="connsiteX166" fmla="*/ 1208255 w 1906136"/>
                <a:gd name="connsiteY166" fmla="*/ 1067623 h 2468044"/>
                <a:gd name="connsiteX167" fmla="*/ 1219741 w 1906136"/>
                <a:gd name="connsiteY167" fmla="*/ 1083456 h 2468044"/>
                <a:gd name="connsiteX168" fmla="*/ 1230297 w 1906136"/>
                <a:gd name="connsiteY168" fmla="*/ 1105498 h 2468044"/>
                <a:gd name="connsiteX169" fmla="*/ 1239610 w 1906136"/>
                <a:gd name="connsiteY169" fmla="*/ 1126608 h 2468044"/>
                <a:gd name="connsiteX170" fmla="*/ 1244888 w 1906136"/>
                <a:gd name="connsiteY170" fmla="*/ 1142441 h 2468044"/>
                <a:gd name="connsiteX171" fmla="*/ 1257305 w 1906136"/>
                <a:gd name="connsiteY171" fmla="*/ 1146787 h 2468044"/>
                <a:gd name="connsiteX172" fmla="*/ 1257305 w 1906136"/>
                <a:gd name="connsiteY172" fmla="*/ 1142441 h 2468044"/>
                <a:gd name="connsiteX173" fmla="*/ 1261341 w 1906136"/>
                <a:gd name="connsiteY173" fmla="*/ 1142441 h 2468044"/>
                <a:gd name="connsiteX174" fmla="*/ 1257305 w 1906136"/>
                <a:gd name="connsiteY174" fmla="*/ 1124435 h 2468044"/>
                <a:gd name="connsiteX175" fmla="*/ 1250165 w 1906136"/>
                <a:gd name="connsiteY175" fmla="*/ 1104566 h 2468044"/>
                <a:gd name="connsiteX176" fmla="*/ 1243025 w 1906136"/>
                <a:gd name="connsiteY176" fmla="*/ 1083456 h 2468044"/>
                <a:gd name="connsiteX177" fmla="*/ 1237747 w 1906136"/>
                <a:gd name="connsiteY177" fmla="*/ 1063587 h 2468044"/>
                <a:gd name="connsiteX178" fmla="*/ 1235574 w 1906136"/>
                <a:gd name="connsiteY178" fmla="*/ 1045581 h 2468044"/>
                <a:gd name="connsiteX179" fmla="*/ 1241783 w 1906136"/>
                <a:gd name="connsiteY179" fmla="*/ 1030991 h 2468044"/>
                <a:gd name="connsiteX180" fmla="*/ 1247061 w 1906136"/>
                <a:gd name="connsiteY180" fmla="*/ 1012053 h 2468044"/>
                <a:gd name="connsiteX181" fmla="*/ 1257616 w 1906136"/>
                <a:gd name="connsiteY181" fmla="*/ 997462 h 2468044"/>
                <a:gd name="connsiteX182" fmla="*/ 1274380 w 1906136"/>
                <a:gd name="connsiteY182" fmla="*/ 986907 h 2468044"/>
                <a:gd name="connsiteX183" fmla="*/ 1291144 w 1906136"/>
                <a:gd name="connsiteY183" fmla="*/ 975421 h 2468044"/>
                <a:gd name="connsiteX184" fmla="*/ 1306666 w 1906136"/>
                <a:gd name="connsiteY184" fmla="*/ 967039 h 2468044"/>
                <a:gd name="connsiteX185" fmla="*/ 1321257 w 1906136"/>
                <a:gd name="connsiteY185" fmla="*/ 957725 h 2468044"/>
                <a:gd name="connsiteX186" fmla="*/ 1321257 w 1906136"/>
                <a:gd name="connsiteY186" fmla="*/ 952448 h 2468044"/>
                <a:gd name="connsiteX187" fmla="*/ 1318153 w 1906136"/>
                <a:gd name="connsiteY187" fmla="*/ 940961 h 2468044"/>
                <a:gd name="connsiteX188" fmla="*/ 1314117 w 1906136"/>
                <a:gd name="connsiteY188" fmla="*/ 928233 h 2468044"/>
                <a:gd name="connsiteX189" fmla="*/ 1311012 w 1906136"/>
                <a:gd name="connsiteY189" fmla="*/ 917678 h 2468044"/>
                <a:gd name="connsiteX190" fmla="*/ 1308839 w 1906136"/>
                <a:gd name="connsiteY190" fmla="*/ 913332 h 2468044"/>
                <a:gd name="connsiteX191" fmla="*/ 1308839 w 1906136"/>
                <a:gd name="connsiteY191" fmla="*/ 904018 h 2468044"/>
                <a:gd name="connsiteX192" fmla="*/ 1314117 w 1906136"/>
                <a:gd name="connsiteY192" fmla="*/ 908364 h 2468044"/>
                <a:gd name="connsiteX193" fmla="*/ 1316290 w 1906136"/>
                <a:gd name="connsiteY193" fmla="*/ 910538 h 2468044"/>
                <a:gd name="connsiteX194" fmla="*/ 1320326 w 1906136"/>
                <a:gd name="connsiteY194" fmla="*/ 911469 h 2468044"/>
                <a:gd name="connsiteX195" fmla="*/ 1321257 w 1906136"/>
                <a:gd name="connsiteY195" fmla="*/ 913642 h 2468044"/>
                <a:gd name="connsiteX196" fmla="*/ 1325293 w 1906136"/>
                <a:gd name="connsiteY196" fmla="*/ 917988 h 2468044"/>
                <a:gd name="connsiteX197" fmla="*/ 1337711 w 1906136"/>
                <a:gd name="connsiteY197" fmla="*/ 886633 h 2468044"/>
                <a:gd name="connsiteX198" fmla="*/ 1348266 w 1906136"/>
                <a:gd name="connsiteY198" fmla="*/ 857141 h 2468044"/>
                <a:gd name="connsiteX199" fmla="*/ 1362857 w 1906136"/>
                <a:gd name="connsiteY199" fmla="*/ 854968 h 2468044"/>
                <a:gd name="connsiteX200" fmla="*/ 1376517 w 1906136"/>
                <a:gd name="connsiteY200" fmla="*/ 852795 h 2468044"/>
                <a:gd name="connsiteX201" fmla="*/ 1391108 w 1906136"/>
                <a:gd name="connsiteY201" fmla="*/ 849690 h 2468044"/>
                <a:gd name="connsiteX202" fmla="*/ 1401663 w 1906136"/>
                <a:gd name="connsiteY202" fmla="*/ 840377 h 2468044"/>
                <a:gd name="connsiteX203" fmla="*/ 1408803 w 1906136"/>
                <a:gd name="connsiteY203" fmla="*/ 840377 h 2468044"/>
                <a:gd name="connsiteX204" fmla="*/ 1405698 w 1906136"/>
                <a:gd name="connsiteY204" fmla="*/ 837272 h 2468044"/>
                <a:gd name="connsiteX205" fmla="*/ 1398558 w 1906136"/>
                <a:gd name="connsiteY205" fmla="*/ 835099 h 2468044"/>
                <a:gd name="connsiteX206" fmla="*/ 1392349 w 1906136"/>
                <a:gd name="connsiteY206" fmla="*/ 832926 h 2468044"/>
                <a:gd name="connsiteX207" fmla="*/ 1398558 w 1906136"/>
                <a:gd name="connsiteY207" fmla="*/ 814920 h 2468044"/>
                <a:gd name="connsiteX208" fmla="*/ 1406940 w 1906136"/>
                <a:gd name="connsiteY208" fmla="*/ 802192 h 2468044"/>
                <a:gd name="connsiteX209" fmla="*/ 1420600 w 1906136"/>
                <a:gd name="connsiteY209" fmla="*/ 792879 h 2468044"/>
                <a:gd name="connsiteX210" fmla="*/ 1435191 w 1906136"/>
                <a:gd name="connsiteY210" fmla="*/ 785428 h 2468044"/>
                <a:gd name="connsiteX211" fmla="*/ 1448850 w 1906136"/>
                <a:gd name="connsiteY211" fmla="*/ 780150 h 2468044"/>
                <a:gd name="connsiteX212" fmla="*/ 1465615 w 1906136"/>
                <a:gd name="connsiteY212" fmla="*/ 772700 h 2468044"/>
                <a:gd name="connsiteX213" fmla="*/ 1478032 w 1906136"/>
                <a:gd name="connsiteY213" fmla="*/ 763386 h 2468044"/>
                <a:gd name="connsiteX214" fmla="*/ 1478032 w 1906136"/>
                <a:gd name="connsiteY214" fmla="*/ 761213 h 2468044"/>
                <a:gd name="connsiteX215" fmla="*/ 1478032 w 1906136"/>
                <a:gd name="connsiteY215" fmla="*/ 759040 h 2468044"/>
                <a:gd name="connsiteX216" fmla="*/ 1480205 w 1906136"/>
                <a:gd name="connsiteY216" fmla="*/ 759040 h 2468044"/>
                <a:gd name="connsiteX217" fmla="*/ 1482379 w 1906136"/>
                <a:gd name="connsiteY217" fmla="*/ 759040 h 2468044"/>
                <a:gd name="connsiteX218" fmla="*/ 1482379 w 1906136"/>
                <a:gd name="connsiteY218" fmla="*/ 763386 h 2468044"/>
                <a:gd name="connsiteX219" fmla="*/ 1489519 w 1906136"/>
                <a:gd name="connsiteY219" fmla="*/ 766491 h 2468044"/>
                <a:gd name="connsiteX220" fmla="*/ 1482379 w 1906136"/>
                <a:gd name="connsiteY220" fmla="*/ 775804 h 2468044"/>
                <a:gd name="connsiteX221" fmla="*/ 1475238 w 1906136"/>
                <a:gd name="connsiteY221" fmla="*/ 781082 h 2468044"/>
                <a:gd name="connsiteX222" fmla="*/ 1465925 w 1906136"/>
                <a:gd name="connsiteY222" fmla="*/ 787291 h 2468044"/>
                <a:gd name="connsiteX223" fmla="*/ 1465925 w 1906136"/>
                <a:gd name="connsiteY223" fmla="*/ 803123 h 2468044"/>
                <a:gd name="connsiteX224" fmla="*/ 1484552 w 1906136"/>
                <a:gd name="connsiteY224" fmla="*/ 795673 h 2468044"/>
                <a:gd name="connsiteX225" fmla="*/ 1499143 w 1906136"/>
                <a:gd name="connsiteY225" fmla="*/ 785117 h 2468044"/>
                <a:gd name="connsiteX226" fmla="*/ 1509698 w 1906136"/>
                <a:gd name="connsiteY226" fmla="*/ 772389 h 2468044"/>
                <a:gd name="connsiteX227" fmla="*/ 1511871 w 1906136"/>
                <a:gd name="connsiteY227" fmla="*/ 770216 h 2468044"/>
                <a:gd name="connsiteX228" fmla="*/ 1511871 w 1906136"/>
                <a:gd name="connsiteY228" fmla="*/ 768043 h 2468044"/>
                <a:gd name="connsiteX229" fmla="*/ 1514044 w 1906136"/>
                <a:gd name="connsiteY229" fmla="*/ 768043 h 2468044"/>
                <a:gd name="connsiteX230" fmla="*/ 1514044 w 1906136"/>
                <a:gd name="connsiteY230" fmla="*/ 765870 h 2468044"/>
                <a:gd name="connsiteX231" fmla="*/ 1514044 w 1906136"/>
                <a:gd name="connsiteY231" fmla="*/ 762765 h 2468044"/>
                <a:gd name="connsiteX232" fmla="*/ 1504731 w 1906136"/>
                <a:gd name="connsiteY232" fmla="*/ 751279 h 2468044"/>
                <a:gd name="connsiteX233" fmla="*/ 1497590 w 1906136"/>
                <a:gd name="connsiteY233" fmla="*/ 740724 h 2468044"/>
                <a:gd name="connsiteX234" fmla="*/ 1488277 w 1906136"/>
                <a:gd name="connsiteY234" fmla="*/ 730169 h 2468044"/>
                <a:gd name="connsiteX235" fmla="*/ 1473686 w 1906136"/>
                <a:gd name="connsiteY235" fmla="*/ 722718 h 2468044"/>
                <a:gd name="connsiteX236" fmla="*/ 1475859 w 1906136"/>
                <a:gd name="connsiteY236" fmla="*/ 711231 h 2468044"/>
                <a:gd name="connsiteX237" fmla="*/ 1478032 w 1906136"/>
                <a:gd name="connsiteY237" fmla="*/ 703781 h 2468044"/>
                <a:gd name="connsiteX238" fmla="*/ 1481137 w 1906136"/>
                <a:gd name="connsiteY238" fmla="*/ 696330 h 2468044"/>
                <a:gd name="connsiteX239" fmla="*/ 1486414 w 1906136"/>
                <a:gd name="connsiteY239" fmla="*/ 687017 h 2468044"/>
                <a:gd name="connsiteX240" fmla="*/ 1483310 w 1906136"/>
                <a:gd name="connsiteY240" fmla="*/ 683912 h 2468044"/>
                <a:gd name="connsiteX241" fmla="*/ 1479274 w 1906136"/>
                <a:gd name="connsiteY241" fmla="*/ 681739 h 2468044"/>
                <a:gd name="connsiteX242" fmla="*/ 1476170 w 1906136"/>
                <a:gd name="connsiteY242" fmla="*/ 679566 h 2468044"/>
                <a:gd name="connsiteX243" fmla="*/ 1473996 w 1906136"/>
                <a:gd name="connsiteY243" fmla="*/ 678635 h 2468044"/>
                <a:gd name="connsiteX244" fmla="*/ 1471823 w 1906136"/>
                <a:gd name="connsiteY244" fmla="*/ 674288 h 2468044"/>
                <a:gd name="connsiteX245" fmla="*/ 1470892 w 1906136"/>
                <a:gd name="connsiteY245" fmla="*/ 671184 h 2468044"/>
                <a:gd name="connsiteX246" fmla="*/ 1446988 w 1906136"/>
                <a:gd name="connsiteY246" fmla="*/ 676461 h 2468044"/>
                <a:gd name="connsiteX247" fmla="*/ 1425257 w 1906136"/>
                <a:gd name="connsiteY247" fmla="*/ 685775 h 2468044"/>
                <a:gd name="connsiteX248" fmla="*/ 1407561 w 1906136"/>
                <a:gd name="connsiteY248" fmla="*/ 698503 h 2468044"/>
                <a:gd name="connsiteX249" fmla="*/ 1403525 w 1906136"/>
                <a:gd name="connsiteY249" fmla="*/ 698503 h 2468044"/>
                <a:gd name="connsiteX250" fmla="*/ 1418116 w 1906136"/>
                <a:gd name="connsiteY250" fmla="*/ 681739 h 2468044"/>
                <a:gd name="connsiteX251" fmla="*/ 1437985 w 1906136"/>
                <a:gd name="connsiteY251" fmla="*/ 672426 h 2468044"/>
                <a:gd name="connsiteX252" fmla="*/ 1459716 w 1906136"/>
                <a:gd name="connsiteY252" fmla="*/ 664975 h 2468044"/>
                <a:gd name="connsiteX253" fmla="*/ 1485793 w 1906136"/>
                <a:gd name="connsiteY253" fmla="*/ 661870 h 2468044"/>
                <a:gd name="connsiteX254" fmla="*/ 1510940 w 1906136"/>
                <a:gd name="connsiteY254" fmla="*/ 657524 h 2468044"/>
                <a:gd name="connsiteX255" fmla="*/ 1537017 w 1906136"/>
                <a:gd name="connsiteY255" fmla="*/ 654420 h 2468044"/>
                <a:gd name="connsiteX256" fmla="*/ 1562163 w 1906136"/>
                <a:gd name="connsiteY256" fmla="*/ 649142 h 2468044"/>
                <a:gd name="connsiteX257" fmla="*/ 1583894 w 1906136"/>
                <a:gd name="connsiteY257" fmla="*/ 639829 h 2468044"/>
                <a:gd name="connsiteX258" fmla="*/ 1603763 w 1906136"/>
                <a:gd name="connsiteY258" fmla="*/ 625238 h 2468044"/>
                <a:gd name="connsiteX259" fmla="*/ 1603763 w 1906136"/>
                <a:gd name="connsiteY259" fmla="*/ 622133 h 2468044"/>
                <a:gd name="connsiteX260" fmla="*/ 1603763 w 1906136"/>
                <a:gd name="connsiteY260" fmla="*/ 619960 h 2468044"/>
                <a:gd name="connsiteX261" fmla="*/ 1603763 w 1906136"/>
                <a:gd name="connsiteY261" fmla="*/ 615614 h 2468044"/>
                <a:gd name="connsiteX262" fmla="*/ 1601590 w 1906136"/>
                <a:gd name="connsiteY262" fmla="*/ 614683 h 2468044"/>
                <a:gd name="connsiteX263" fmla="*/ 1601590 w 1906136"/>
                <a:gd name="connsiteY263" fmla="*/ 610336 h 2468044"/>
                <a:gd name="connsiteX264" fmla="*/ 1601590 w 1906136"/>
                <a:gd name="connsiteY264" fmla="*/ 607232 h 2468044"/>
                <a:gd name="connsiteX265" fmla="*/ 1603763 w 1906136"/>
                <a:gd name="connsiteY265" fmla="*/ 601023 h 2468044"/>
                <a:gd name="connsiteX266" fmla="*/ 1601590 w 1906136"/>
                <a:gd name="connsiteY266" fmla="*/ 595746 h 2468044"/>
                <a:gd name="connsiteX267" fmla="*/ 1601590 w 1906136"/>
                <a:gd name="connsiteY267" fmla="*/ 590468 h 2468044"/>
                <a:gd name="connsiteX268" fmla="*/ 1600658 w 1906136"/>
                <a:gd name="connsiteY268" fmla="*/ 586122 h 2468044"/>
                <a:gd name="connsiteX269" fmla="*/ 1600658 w 1906136"/>
                <a:gd name="connsiteY269" fmla="*/ 580844 h 2468044"/>
                <a:gd name="connsiteX270" fmla="*/ 1581721 w 1906136"/>
                <a:gd name="connsiteY270" fmla="*/ 580844 h 2468044"/>
                <a:gd name="connsiteX271" fmla="*/ 1579548 w 1906136"/>
                <a:gd name="connsiteY271" fmla="*/ 566253 h 2468044"/>
                <a:gd name="connsiteX272" fmla="*/ 1572408 w 1906136"/>
                <a:gd name="connsiteY272" fmla="*/ 556940 h 2468044"/>
                <a:gd name="connsiteX273" fmla="*/ 1565268 w 1906136"/>
                <a:gd name="connsiteY273" fmla="*/ 549489 h 2468044"/>
                <a:gd name="connsiteX274" fmla="*/ 1552850 w 1906136"/>
                <a:gd name="connsiteY274" fmla="*/ 546385 h 2468044"/>
                <a:gd name="connsiteX275" fmla="*/ 1543536 w 1906136"/>
                <a:gd name="connsiteY275" fmla="*/ 556940 h 2468044"/>
                <a:gd name="connsiteX276" fmla="*/ 1532981 w 1906136"/>
                <a:gd name="connsiteY276" fmla="*/ 566253 h 2468044"/>
                <a:gd name="connsiteX277" fmla="*/ 1521495 w 1906136"/>
                <a:gd name="connsiteY277" fmla="*/ 577740 h 2468044"/>
                <a:gd name="connsiteX278" fmla="*/ 1518390 w 1906136"/>
                <a:gd name="connsiteY278" fmla="*/ 577740 h 2468044"/>
                <a:gd name="connsiteX279" fmla="*/ 1530808 w 1906136"/>
                <a:gd name="connsiteY279" fmla="*/ 558803 h 2468044"/>
                <a:gd name="connsiteX280" fmla="*/ 1542295 w 1906136"/>
                <a:gd name="connsiteY280" fmla="*/ 536761 h 2468044"/>
                <a:gd name="connsiteX281" fmla="*/ 1528635 w 1906136"/>
                <a:gd name="connsiteY281" fmla="*/ 526206 h 2468044"/>
                <a:gd name="connsiteX282" fmla="*/ 1525531 w 1906136"/>
                <a:gd name="connsiteY282" fmla="*/ 516892 h 2468044"/>
                <a:gd name="connsiteX283" fmla="*/ 1527704 w 1906136"/>
                <a:gd name="connsiteY283" fmla="*/ 506337 h 2468044"/>
                <a:gd name="connsiteX284" fmla="*/ 1527704 w 1906136"/>
                <a:gd name="connsiteY284" fmla="*/ 494851 h 2468044"/>
                <a:gd name="connsiteX285" fmla="*/ 1521495 w 1906136"/>
                <a:gd name="connsiteY285" fmla="*/ 480260 h 2468044"/>
                <a:gd name="connsiteX286" fmla="*/ 1520563 w 1906136"/>
                <a:gd name="connsiteY286" fmla="*/ 478087 h 2468044"/>
                <a:gd name="connsiteX287" fmla="*/ 1516528 w 1906136"/>
                <a:gd name="connsiteY287" fmla="*/ 478087 h 2468044"/>
                <a:gd name="connsiteX288" fmla="*/ 1514354 w 1906136"/>
                <a:gd name="connsiteY288" fmla="*/ 478087 h 2468044"/>
                <a:gd name="connsiteX289" fmla="*/ 1511250 w 1906136"/>
                <a:gd name="connsiteY289" fmla="*/ 478087 h 2468044"/>
                <a:gd name="connsiteX290" fmla="*/ 1507214 w 1906136"/>
                <a:gd name="connsiteY290" fmla="*/ 478087 h 2468044"/>
                <a:gd name="connsiteX291" fmla="*/ 1506283 w 1906136"/>
                <a:gd name="connsiteY291" fmla="*/ 477155 h 2468044"/>
                <a:gd name="connsiteX292" fmla="*/ 1504110 w 1906136"/>
                <a:gd name="connsiteY292" fmla="*/ 472809 h 2468044"/>
                <a:gd name="connsiteX293" fmla="*/ 1501937 w 1906136"/>
                <a:gd name="connsiteY293" fmla="*/ 469705 h 2468044"/>
                <a:gd name="connsiteX294" fmla="*/ 1504110 w 1906136"/>
                <a:gd name="connsiteY294" fmla="*/ 465358 h 2468044"/>
                <a:gd name="connsiteX295" fmla="*/ 1504110 w 1906136"/>
                <a:gd name="connsiteY295" fmla="*/ 462254 h 2468044"/>
                <a:gd name="connsiteX296" fmla="*/ 1506283 w 1906136"/>
                <a:gd name="connsiteY296" fmla="*/ 460081 h 2468044"/>
                <a:gd name="connsiteX297" fmla="*/ 1506283 w 1906136"/>
                <a:gd name="connsiteY297" fmla="*/ 455734 h 2468044"/>
                <a:gd name="connsiteX298" fmla="*/ 1506283 w 1906136"/>
                <a:gd name="connsiteY298" fmla="*/ 452630 h 2468044"/>
                <a:gd name="connsiteX299" fmla="*/ 1500074 w 1906136"/>
                <a:gd name="connsiteY299" fmla="*/ 443317 h 2468044"/>
                <a:gd name="connsiteX300" fmla="*/ 1492934 w 1906136"/>
                <a:gd name="connsiteY300" fmla="*/ 435866 h 2468044"/>
                <a:gd name="connsiteX301" fmla="*/ 1485793 w 1906136"/>
                <a:gd name="connsiteY301" fmla="*/ 428415 h 2468044"/>
                <a:gd name="connsiteX302" fmla="*/ 1480516 w 1906136"/>
                <a:gd name="connsiteY302" fmla="*/ 420964 h 2468044"/>
                <a:gd name="connsiteX303" fmla="*/ 1478343 w 1906136"/>
                <a:gd name="connsiteY303" fmla="*/ 408236 h 2468044"/>
                <a:gd name="connsiteX304" fmla="*/ 1463752 w 1906136"/>
                <a:gd name="connsiteY304" fmla="*/ 419723 h 2468044"/>
                <a:gd name="connsiteX305" fmla="*/ 1455370 w 1906136"/>
                <a:gd name="connsiteY305" fmla="*/ 434314 h 2468044"/>
                <a:gd name="connsiteX306" fmla="*/ 1443883 w 1906136"/>
                <a:gd name="connsiteY306" fmla="*/ 447973 h 2468044"/>
                <a:gd name="connsiteX307" fmla="*/ 1429292 w 1906136"/>
                <a:gd name="connsiteY307" fmla="*/ 459460 h 2468044"/>
                <a:gd name="connsiteX308" fmla="*/ 1428361 w 1906136"/>
                <a:gd name="connsiteY308" fmla="*/ 455114 h 2468044"/>
                <a:gd name="connsiteX309" fmla="*/ 1422152 w 1906136"/>
                <a:gd name="connsiteY309" fmla="*/ 454182 h 2468044"/>
                <a:gd name="connsiteX310" fmla="*/ 1419048 w 1906136"/>
                <a:gd name="connsiteY310" fmla="*/ 449836 h 2468044"/>
                <a:gd name="connsiteX311" fmla="*/ 1415012 w 1906136"/>
                <a:gd name="connsiteY311" fmla="*/ 447663 h 2468044"/>
                <a:gd name="connsiteX312" fmla="*/ 1411907 w 1906136"/>
                <a:gd name="connsiteY312" fmla="*/ 444558 h 2468044"/>
                <a:gd name="connsiteX313" fmla="*/ 1409734 w 1906136"/>
                <a:gd name="connsiteY313" fmla="*/ 442385 h 2468044"/>
                <a:gd name="connsiteX314" fmla="*/ 1406630 w 1906136"/>
                <a:gd name="connsiteY314" fmla="*/ 431830 h 2468044"/>
                <a:gd name="connsiteX315" fmla="*/ 1404457 w 1906136"/>
                <a:gd name="connsiteY315" fmla="*/ 417239 h 2468044"/>
                <a:gd name="connsiteX316" fmla="*/ 1400421 w 1906136"/>
                <a:gd name="connsiteY316" fmla="*/ 400475 h 2468044"/>
                <a:gd name="connsiteX317" fmla="*/ 1399490 w 1906136"/>
                <a:gd name="connsiteY317" fmla="*/ 391162 h 2468044"/>
                <a:gd name="connsiteX318" fmla="*/ 1395454 w 1906136"/>
                <a:gd name="connsiteY318" fmla="*/ 388057 h 2468044"/>
                <a:gd name="connsiteX319" fmla="*/ 1390176 w 1906136"/>
                <a:gd name="connsiteY319" fmla="*/ 385884 h 2468044"/>
                <a:gd name="connsiteX320" fmla="*/ 1384899 w 1906136"/>
                <a:gd name="connsiteY320" fmla="*/ 383711 h 2468044"/>
                <a:gd name="connsiteX321" fmla="*/ 1378690 w 1906136"/>
                <a:gd name="connsiteY321" fmla="*/ 383711 h 2468044"/>
                <a:gd name="connsiteX322" fmla="*/ 1375585 w 1906136"/>
                <a:gd name="connsiteY322" fmla="*/ 382780 h 2468044"/>
                <a:gd name="connsiteX323" fmla="*/ 1370308 w 1906136"/>
                <a:gd name="connsiteY323" fmla="*/ 378433 h 2468044"/>
                <a:gd name="connsiteX324" fmla="*/ 1364099 w 1906136"/>
                <a:gd name="connsiteY324" fmla="*/ 369120 h 2468044"/>
                <a:gd name="connsiteX325" fmla="*/ 1358821 w 1906136"/>
                <a:gd name="connsiteY325" fmla="*/ 356392 h 2468044"/>
                <a:gd name="connsiteX326" fmla="*/ 1353544 w 1906136"/>
                <a:gd name="connsiteY326" fmla="*/ 347078 h 2468044"/>
                <a:gd name="connsiteX327" fmla="*/ 1329639 w 1906136"/>
                <a:gd name="connsiteY327" fmla="*/ 351425 h 2468044"/>
                <a:gd name="connsiteX328" fmla="*/ 1307908 w 1906136"/>
                <a:gd name="connsiteY328" fmla="*/ 351425 h 2468044"/>
                <a:gd name="connsiteX329" fmla="*/ 1282762 w 1906136"/>
                <a:gd name="connsiteY329" fmla="*/ 347078 h 2468044"/>
                <a:gd name="connsiteX330" fmla="*/ 1282762 w 1906136"/>
                <a:gd name="connsiteY330" fmla="*/ 351425 h 2468044"/>
                <a:gd name="connsiteX331" fmla="*/ 1278726 w 1906136"/>
                <a:gd name="connsiteY331" fmla="*/ 351425 h 2468044"/>
                <a:gd name="connsiteX332" fmla="*/ 1280899 w 1906136"/>
                <a:gd name="connsiteY332" fmla="*/ 369431 h 2468044"/>
                <a:gd name="connsiteX333" fmla="*/ 1286177 w 1906136"/>
                <a:gd name="connsiteY333" fmla="*/ 388368 h 2468044"/>
                <a:gd name="connsiteX334" fmla="*/ 1290213 w 1906136"/>
                <a:gd name="connsiteY334" fmla="*/ 405132 h 2468044"/>
                <a:gd name="connsiteX335" fmla="*/ 1293317 w 1906136"/>
                <a:gd name="connsiteY335" fmla="*/ 420964 h 2468044"/>
                <a:gd name="connsiteX336" fmla="*/ 1290213 w 1906136"/>
                <a:gd name="connsiteY336" fmla="*/ 435555 h 2468044"/>
                <a:gd name="connsiteX337" fmla="*/ 1283072 w 1906136"/>
                <a:gd name="connsiteY337" fmla="*/ 448284 h 2468044"/>
                <a:gd name="connsiteX338" fmla="*/ 1285246 w 1906136"/>
                <a:gd name="connsiteY338" fmla="*/ 454493 h 2468044"/>
                <a:gd name="connsiteX339" fmla="*/ 1288350 w 1906136"/>
                <a:gd name="connsiteY339" fmla="*/ 457597 h 2468044"/>
                <a:gd name="connsiteX340" fmla="*/ 1292386 w 1906136"/>
                <a:gd name="connsiteY340" fmla="*/ 459770 h 2468044"/>
                <a:gd name="connsiteX341" fmla="*/ 1295490 w 1906136"/>
                <a:gd name="connsiteY341" fmla="*/ 461943 h 2468044"/>
                <a:gd name="connsiteX342" fmla="*/ 1302630 w 1906136"/>
                <a:gd name="connsiteY342" fmla="*/ 465048 h 2468044"/>
                <a:gd name="connsiteX343" fmla="*/ 1302630 w 1906136"/>
                <a:gd name="connsiteY343" fmla="*/ 481812 h 2468044"/>
                <a:gd name="connsiteX344" fmla="*/ 1304804 w 1906136"/>
                <a:gd name="connsiteY344" fmla="*/ 498576 h 2468044"/>
                <a:gd name="connsiteX345" fmla="*/ 1302630 w 1906136"/>
                <a:gd name="connsiteY345" fmla="*/ 509131 h 2468044"/>
                <a:gd name="connsiteX346" fmla="*/ 1297353 w 1906136"/>
                <a:gd name="connsiteY346" fmla="*/ 528068 h 2468044"/>
                <a:gd name="connsiteX347" fmla="*/ 1288040 w 1906136"/>
                <a:gd name="connsiteY347" fmla="*/ 542659 h 2468044"/>
                <a:gd name="connsiteX348" fmla="*/ 1273449 w 1906136"/>
                <a:gd name="connsiteY348" fmla="*/ 553214 h 2468044"/>
                <a:gd name="connsiteX349" fmla="*/ 1258858 w 1906136"/>
                <a:gd name="connsiteY349" fmla="*/ 560665 h 2468044"/>
                <a:gd name="connsiteX350" fmla="*/ 1264135 w 1906136"/>
                <a:gd name="connsiteY350" fmla="*/ 577429 h 2468044"/>
                <a:gd name="connsiteX351" fmla="*/ 1268171 w 1906136"/>
                <a:gd name="connsiteY351" fmla="*/ 595435 h 2468044"/>
                <a:gd name="connsiteX352" fmla="*/ 1270344 w 1906136"/>
                <a:gd name="connsiteY352" fmla="*/ 610026 h 2468044"/>
                <a:gd name="connsiteX353" fmla="*/ 1270344 w 1906136"/>
                <a:gd name="connsiteY353" fmla="*/ 621513 h 2468044"/>
                <a:gd name="connsiteX354" fmla="*/ 1268171 w 1906136"/>
                <a:gd name="connsiteY354" fmla="*/ 624617 h 2468044"/>
                <a:gd name="connsiteX355" fmla="*/ 1268171 w 1906136"/>
                <a:gd name="connsiteY355" fmla="*/ 626790 h 2468044"/>
                <a:gd name="connsiteX356" fmla="*/ 1268171 w 1906136"/>
                <a:gd name="connsiteY356" fmla="*/ 628963 h 2468044"/>
                <a:gd name="connsiteX357" fmla="*/ 1265998 w 1906136"/>
                <a:gd name="connsiteY357" fmla="*/ 628963 h 2468044"/>
                <a:gd name="connsiteX358" fmla="*/ 1262893 w 1906136"/>
                <a:gd name="connsiteY358" fmla="*/ 629895 h 2468044"/>
                <a:gd name="connsiteX359" fmla="*/ 1260720 w 1906136"/>
                <a:gd name="connsiteY359" fmla="*/ 629895 h 2468044"/>
                <a:gd name="connsiteX360" fmla="*/ 1258547 w 1906136"/>
                <a:gd name="connsiteY360" fmla="*/ 632068 h 2468044"/>
                <a:gd name="connsiteX361" fmla="*/ 1256374 w 1906136"/>
                <a:gd name="connsiteY361" fmla="*/ 632068 h 2468044"/>
                <a:gd name="connsiteX362" fmla="*/ 1253270 w 1906136"/>
                <a:gd name="connsiteY362" fmla="*/ 634241 h 2468044"/>
                <a:gd name="connsiteX363" fmla="*/ 1242714 w 1906136"/>
                <a:gd name="connsiteY363" fmla="*/ 617477 h 2468044"/>
                <a:gd name="connsiteX364" fmla="*/ 1233401 w 1906136"/>
                <a:gd name="connsiteY364" fmla="*/ 604748 h 2468044"/>
                <a:gd name="connsiteX365" fmla="*/ 1229365 w 1906136"/>
                <a:gd name="connsiteY365" fmla="*/ 593262 h 2468044"/>
                <a:gd name="connsiteX366" fmla="*/ 1228434 w 1906136"/>
                <a:gd name="connsiteY366" fmla="*/ 582707 h 2468044"/>
                <a:gd name="connsiteX367" fmla="*/ 1226261 w 1906136"/>
                <a:gd name="connsiteY367" fmla="*/ 571220 h 2468044"/>
                <a:gd name="connsiteX368" fmla="*/ 1222225 w 1906136"/>
                <a:gd name="connsiteY368" fmla="*/ 556629 h 2468044"/>
                <a:gd name="connsiteX369" fmla="*/ 1219121 w 1906136"/>
                <a:gd name="connsiteY369" fmla="*/ 536761 h 2468044"/>
                <a:gd name="connsiteX370" fmla="*/ 1189939 w 1906136"/>
                <a:gd name="connsiteY370" fmla="*/ 529310 h 2468044"/>
                <a:gd name="connsiteX371" fmla="*/ 1185903 w 1906136"/>
                <a:gd name="connsiteY371" fmla="*/ 529310 h 2468044"/>
                <a:gd name="connsiteX372" fmla="*/ 1184972 w 1906136"/>
                <a:gd name="connsiteY372" fmla="*/ 531483 h 2468044"/>
                <a:gd name="connsiteX373" fmla="*/ 1180936 w 1906136"/>
                <a:gd name="connsiteY373" fmla="*/ 533656 h 2468044"/>
                <a:gd name="connsiteX374" fmla="*/ 1178763 w 1906136"/>
                <a:gd name="connsiteY374" fmla="*/ 535829 h 2468044"/>
                <a:gd name="connsiteX375" fmla="*/ 1175658 w 1906136"/>
                <a:gd name="connsiteY375" fmla="*/ 535829 h 2468044"/>
                <a:gd name="connsiteX376" fmla="*/ 1171622 w 1906136"/>
                <a:gd name="connsiteY376" fmla="*/ 536761 h 2468044"/>
                <a:gd name="connsiteX377" fmla="*/ 1168518 w 1906136"/>
                <a:gd name="connsiteY377" fmla="*/ 535829 h 2468044"/>
                <a:gd name="connsiteX378" fmla="*/ 1163240 w 1906136"/>
                <a:gd name="connsiteY378" fmla="*/ 533656 h 2468044"/>
                <a:gd name="connsiteX379" fmla="*/ 1150202 w 1906136"/>
                <a:gd name="connsiteY379" fmla="*/ 527137 h 2468044"/>
                <a:gd name="connsiteX380" fmla="*/ 1139646 w 1906136"/>
                <a:gd name="connsiteY380" fmla="*/ 515650 h 2468044"/>
                <a:gd name="connsiteX381" fmla="*/ 1127229 w 1906136"/>
                <a:gd name="connsiteY381" fmla="*/ 502922 h 2468044"/>
                <a:gd name="connsiteX382" fmla="*/ 1113569 w 1906136"/>
                <a:gd name="connsiteY382" fmla="*/ 493609 h 2468044"/>
                <a:gd name="connsiteX383" fmla="*/ 1101151 w 1906136"/>
                <a:gd name="connsiteY383" fmla="*/ 488331 h 2468044"/>
                <a:gd name="connsiteX384" fmla="*/ 1088733 w 1906136"/>
                <a:gd name="connsiteY384" fmla="*/ 490504 h 2468044"/>
                <a:gd name="connsiteX385" fmla="*/ 1083456 w 1906136"/>
                <a:gd name="connsiteY385" fmla="*/ 488331 h 2468044"/>
                <a:gd name="connsiteX386" fmla="*/ 1077247 w 1906136"/>
                <a:gd name="connsiteY386" fmla="*/ 488331 h 2468044"/>
                <a:gd name="connsiteX387" fmla="*/ 1076316 w 1906136"/>
                <a:gd name="connsiteY387" fmla="*/ 486158 h 2468044"/>
                <a:gd name="connsiteX388" fmla="*/ 1076316 w 1906136"/>
                <a:gd name="connsiteY388" fmla="*/ 485227 h 2468044"/>
                <a:gd name="connsiteX389" fmla="*/ 1076316 w 1906136"/>
                <a:gd name="connsiteY389" fmla="*/ 483054 h 2468044"/>
                <a:gd name="connsiteX390" fmla="*/ 1076316 w 1906136"/>
                <a:gd name="connsiteY390" fmla="*/ 480881 h 2468044"/>
                <a:gd name="connsiteX391" fmla="*/ 1076316 w 1906136"/>
                <a:gd name="connsiteY391" fmla="*/ 477776 h 2468044"/>
                <a:gd name="connsiteX392" fmla="*/ 1076316 w 1906136"/>
                <a:gd name="connsiteY392" fmla="*/ 473430 h 2468044"/>
                <a:gd name="connsiteX393" fmla="*/ 1072280 w 1906136"/>
                <a:gd name="connsiteY393" fmla="*/ 470325 h 2468044"/>
                <a:gd name="connsiteX394" fmla="*/ 1072280 w 1906136"/>
                <a:gd name="connsiteY394" fmla="*/ 461012 h 2468044"/>
                <a:gd name="connsiteX395" fmla="*/ 1052411 w 1906136"/>
                <a:gd name="connsiteY395" fmla="*/ 461012 h 2468044"/>
                <a:gd name="connsiteX396" fmla="*/ 1052411 w 1906136"/>
                <a:gd name="connsiteY396" fmla="*/ 441143 h 2468044"/>
                <a:gd name="connsiteX397" fmla="*/ 1048375 w 1906136"/>
                <a:gd name="connsiteY397" fmla="*/ 421275 h 2468044"/>
                <a:gd name="connsiteX398" fmla="*/ 1042166 w 1906136"/>
                <a:gd name="connsiteY398" fmla="*/ 406684 h 2468044"/>
                <a:gd name="connsiteX399" fmla="*/ 1042166 w 1906136"/>
                <a:gd name="connsiteY399" fmla="*/ 382469 h 2468044"/>
                <a:gd name="connsiteX400" fmla="*/ 1048375 w 1906136"/>
                <a:gd name="connsiteY400" fmla="*/ 365705 h 2468044"/>
                <a:gd name="connsiteX401" fmla="*/ 1057689 w 1906136"/>
                <a:gd name="connsiteY401" fmla="*/ 355150 h 2468044"/>
                <a:gd name="connsiteX402" fmla="*/ 1072280 w 1906136"/>
                <a:gd name="connsiteY402" fmla="*/ 345837 h 2468044"/>
                <a:gd name="connsiteX403" fmla="*/ 1089044 w 1906136"/>
                <a:gd name="connsiteY403" fmla="*/ 340559 h 2468044"/>
                <a:gd name="connsiteX404" fmla="*/ 1089044 w 1906136"/>
                <a:gd name="connsiteY404" fmla="*/ 335282 h 2468044"/>
                <a:gd name="connsiteX405" fmla="*/ 1086871 w 1906136"/>
                <a:gd name="connsiteY405" fmla="*/ 329073 h 2468044"/>
                <a:gd name="connsiteX406" fmla="*/ 1086871 w 1906136"/>
                <a:gd name="connsiteY406" fmla="*/ 325968 h 2468044"/>
                <a:gd name="connsiteX407" fmla="*/ 1084698 w 1906136"/>
                <a:gd name="connsiteY407" fmla="*/ 323795 h 2468044"/>
                <a:gd name="connsiteX408" fmla="*/ 1083766 w 1906136"/>
                <a:gd name="connsiteY408" fmla="*/ 320691 h 2468044"/>
                <a:gd name="connsiteX409" fmla="*/ 1081593 w 1906136"/>
                <a:gd name="connsiteY409" fmla="*/ 316344 h 2468044"/>
                <a:gd name="connsiteX410" fmla="*/ 1072280 w 1906136"/>
                <a:gd name="connsiteY410" fmla="*/ 316344 h 2468044"/>
                <a:gd name="connsiteX411" fmla="*/ 1072280 w 1906136"/>
                <a:gd name="connsiteY411" fmla="*/ 313240 h 2468044"/>
                <a:gd name="connsiteX412" fmla="*/ 1079420 w 1906136"/>
                <a:gd name="connsiteY412" fmla="*/ 314171 h 2468044"/>
                <a:gd name="connsiteX413" fmla="*/ 1083456 w 1906136"/>
                <a:gd name="connsiteY413" fmla="*/ 316344 h 2468044"/>
                <a:gd name="connsiteX414" fmla="*/ 1088733 w 1906136"/>
                <a:gd name="connsiteY414" fmla="*/ 318517 h 2468044"/>
                <a:gd name="connsiteX415" fmla="*/ 1094011 w 1906136"/>
                <a:gd name="connsiteY415" fmla="*/ 320691 h 2468044"/>
                <a:gd name="connsiteX416" fmla="*/ 1101151 w 1906136"/>
                <a:gd name="connsiteY416" fmla="*/ 320691 h 2468044"/>
                <a:gd name="connsiteX417" fmla="*/ 1105187 w 1906136"/>
                <a:gd name="connsiteY417" fmla="*/ 307031 h 2468044"/>
                <a:gd name="connsiteX418" fmla="*/ 1108291 w 1906136"/>
                <a:gd name="connsiteY418" fmla="*/ 298649 h 2468044"/>
                <a:gd name="connsiteX419" fmla="*/ 1115432 w 1906136"/>
                <a:gd name="connsiteY419" fmla="*/ 291198 h 2468044"/>
                <a:gd name="connsiteX420" fmla="*/ 1124745 w 1906136"/>
                <a:gd name="connsiteY420" fmla="*/ 283748 h 2468044"/>
                <a:gd name="connsiteX421" fmla="*/ 1126918 w 1906136"/>
                <a:gd name="connsiteY421" fmla="*/ 279401 h 2468044"/>
                <a:gd name="connsiteX422" fmla="*/ 1130023 w 1906136"/>
                <a:gd name="connsiteY422" fmla="*/ 276297 h 2468044"/>
                <a:gd name="connsiteX423" fmla="*/ 1132196 w 1906136"/>
                <a:gd name="connsiteY423" fmla="*/ 271951 h 2468044"/>
                <a:gd name="connsiteX424" fmla="*/ 1132196 w 1906136"/>
                <a:gd name="connsiteY424" fmla="*/ 266673 h 2468044"/>
                <a:gd name="connsiteX425" fmla="*/ 1130023 w 1906136"/>
                <a:gd name="connsiteY425" fmla="*/ 261395 h 2468044"/>
                <a:gd name="connsiteX426" fmla="*/ 1127849 w 1906136"/>
                <a:gd name="connsiteY426" fmla="*/ 259222 h 2468044"/>
                <a:gd name="connsiteX427" fmla="*/ 1126918 w 1906136"/>
                <a:gd name="connsiteY427" fmla="*/ 257049 h 2468044"/>
                <a:gd name="connsiteX428" fmla="*/ 1124745 w 1906136"/>
                <a:gd name="connsiteY428" fmla="*/ 254876 h 2468044"/>
                <a:gd name="connsiteX429" fmla="*/ 1120709 w 1906136"/>
                <a:gd name="connsiteY429" fmla="*/ 251772 h 2468044"/>
                <a:gd name="connsiteX430" fmla="*/ 1117605 w 1906136"/>
                <a:gd name="connsiteY430" fmla="*/ 251772 h 2468044"/>
                <a:gd name="connsiteX431" fmla="*/ 1117605 w 1906136"/>
                <a:gd name="connsiteY431" fmla="*/ 247736 h 2468044"/>
                <a:gd name="connsiteX432" fmla="*/ 1135300 w 1906136"/>
                <a:gd name="connsiteY432" fmla="*/ 252082 h 2468044"/>
                <a:gd name="connsiteX433" fmla="*/ 1147718 w 1906136"/>
                <a:gd name="connsiteY433" fmla="*/ 259533 h 2468044"/>
                <a:gd name="connsiteX434" fmla="*/ 1157031 w 1906136"/>
                <a:gd name="connsiteY434" fmla="*/ 259533 h 2468044"/>
                <a:gd name="connsiteX435" fmla="*/ 1159205 w 1906136"/>
                <a:gd name="connsiteY435" fmla="*/ 241527 h 2468044"/>
                <a:gd name="connsiteX436" fmla="*/ 1161378 w 1906136"/>
                <a:gd name="connsiteY436" fmla="*/ 230040 h 2468044"/>
                <a:gd name="connsiteX437" fmla="*/ 1157342 w 1906136"/>
                <a:gd name="connsiteY437" fmla="*/ 219485 h 2468044"/>
                <a:gd name="connsiteX438" fmla="*/ 1157342 w 1906136"/>
                <a:gd name="connsiteY438" fmla="*/ 215139 h 2468044"/>
                <a:gd name="connsiteX439" fmla="*/ 1208255 w 1906136"/>
                <a:gd name="connsiteY439" fmla="*/ 212034 h 2468044"/>
                <a:gd name="connsiteX440" fmla="*/ 1208255 w 1906136"/>
                <a:gd name="connsiteY440" fmla="*/ 205826 h 2468044"/>
                <a:gd name="connsiteX441" fmla="*/ 1206082 w 1906136"/>
                <a:gd name="connsiteY441" fmla="*/ 202721 h 2468044"/>
                <a:gd name="connsiteX442" fmla="*/ 1206082 w 1906136"/>
                <a:gd name="connsiteY442" fmla="*/ 200548 h 2468044"/>
                <a:gd name="connsiteX443" fmla="*/ 1205151 w 1906136"/>
                <a:gd name="connsiteY443" fmla="*/ 198375 h 2468044"/>
                <a:gd name="connsiteX444" fmla="*/ 1202977 w 1906136"/>
                <a:gd name="connsiteY444" fmla="*/ 197444 h 2468044"/>
                <a:gd name="connsiteX445" fmla="*/ 1200804 w 1906136"/>
                <a:gd name="connsiteY445" fmla="*/ 195270 h 2468044"/>
                <a:gd name="connsiteX446" fmla="*/ 1200804 w 1906136"/>
                <a:gd name="connsiteY446" fmla="*/ 190924 h 2468044"/>
                <a:gd name="connsiteX447" fmla="*/ 1206082 w 1906136"/>
                <a:gd name="connsiteY447" fmla="*/ 193097 h 2468044"/>
                <a:gd name="connsiteX448" fmla="*/ 1210118 w 1906136"/>
                <a:gd name="connsiteY448" fmla="*/ 195270 h 2468044"/>
                <a:gd name="connsiteX449" fmla="*/ 1213222 w 1906136"/>
                <a:gd name="connsiteY449" fmla="*/ 197444 h 2468044"/>
                <a:gd name="connsiteX450" fmla="*/ 1217258 w 1906136"/>
                <a:gd name="connsiteY450" fmla="*/ 198375 h 2468044"/>
                <a:gd name="connsiteX451" fmla="*/ 1224398 w 1906136"/>
                <a:gd name="connsiteY451" fmla="*/ 198375 h 2468044"/>
                <a:gd name="connsiteX452" fmla="*/ 1226571 w 1906136"/>
                <a:gd name="connsiteY452" fmla="*/ 187820 h 2468044"/>
                <a:gd name="connsiteX453" fmla="*/ 1229676 w 1906136"/>
                <a:gd name="connsiteY453" fmla="*/ 173229 h 2468044"/>
                <a:gd name="connsiteX454" fmla="*/ 1233711 w 1906136"/>
                <a:gd name="connsiteY454" fmla="*/ 154292 h 2468044"/>
                <a:gd name="connsiteX455" fmla="*/ 1234643 w 1906136"/>
                <a:gd name="connsiteY455" fmla="*/ 138459 h 2468044"/>
                <a:gd name="connsiteX456" fmla="*/ 1236816 w 1906136"/>
                <a:gd name="connsiteY456" fmla="*/ 125731 h 2468044"/>
                <a:gd name="connsiteX457" fmla="*/ 1236816 w 1906136"/>
                <a:gd name="connsiteY457" fmla="*/ 118280 h 2468044"/>
                <a:gd name="connsiteX458" fmla="*/ 1236816 w 1906136"/>
                <a:gd name="connsiteY458" fmla="*/ 103689 h 2468044"/>
                <a:gd name="connsiteX459" fmla="*/ 1229676 w 1906136"/>
                <a:gd name="connsiteY459" fmla="*/ 97480 h 2468044"/>
                <a:gd name="connsiteX460" fmla="*/ 1220362 w 1906136"/>
                <a:gd name="connsiteY460" fmla="*/ 99653 h 2468044"/>
                <a:gd name="connsiteX461" fmla="*/ 1211980 w 1906136"/>
                <a:gd name="connsiteY461" fmla="*/ 103999 h 2468044"/>
                <a:gd name="connsiteX462" fmla="*/ 1204840 w 1906136"/>
                <a:gd name="connsiteY462" fmla="*/ 103999 h 2468044"/>
                <a:gd name="connsiteX463" fmla="*/ 1202667 w 1906136"/>
                <a:gd name="connsiteY463" fmla="*/ 99653 h 2468044"/>
                <a:gd name="connsiteX464" fmla="*/ 1198631 w 1906136"/>
                <a:gd name="connsiteY464" fmla="*/ 97480 h 2468044"/>
                <a:gd name="connsiteX465" fmla="*/ 1197700 w 1906136"/>
                <a:gd name="connsiteY465" fmla="*/ 94376 h 2468044"/>
                <a:gd name="connsiteX466" fmla="*/ 1193664 w 1906136"/>
                <a:gd name="connsiteY466" fmla="*/ 90029 h 2468044"/>
                <a:gd name="connsiteX467" fmla="*/ 1191491 w 1906136"/>
                <a:gd name="connsiteY467" fmla="*/ 86925 h 2468044"/>
                <a:gd name="connsiteX468" fmla="*/ 1188386 w 1906136"/>
                <a:gd name="connsiteY468" fmla="*/ 84752 h 2468044"/>
                <a:gd name="connsiteX469" fmla="*/ 1184351 w 1906136"/>
                <a:gd name="connsiteY469" fmla="*/ 82579 h 2468044"/>
                <a:gd name="connsiteX470" fmla="*/ 1181246 w 1906136"/>
                <a:gd name="connsiteY470" fmla="*/ 82579 h 2468044"/>
                <a:gd name="connsiteX471" fmla="*/ 1177210 w 1906136"/>
                <a:gd name="connsiteY471" fmla="*/ 86925 h 2468044"/>
                <a:gd name="connsiteX472" fmla="*/ 1166655 w 1906136"/>
                <a:gd name="connsiteY472" fmla="*/ 96238 h 2468044"/>
                <a:gd name="connsiteX473" fmla="*/ 1162619 w 1906136"/>
                <a:gd name="connsiteY473" fmla="*/ 108966 h 2468044"/>
                <a:gd name="connsiteX474" fmla="*/ 1162619 w 1906136"/>
                <a:gd name="connsiteY474" fmla="*/ 121695 h 2468044"/>
                <a:gd name="connsiteX475" fmla="*/ 1164793 w 1906136"/>
                <a:gd name="connsiteY475" fmla="*/ 134423 h 2468044"/>
                <a:gd name="connsiteX476" fmla="*/ 1164793 w 1906136"/>
                <a:gd name="connsiteY476" fmla="*/ 147151 h 2468044"/>
                <a:gd name="connsiteX477" fmla="*/ 1157652 w 1906136"/>
                <a:gd name="connsiteY477" fmla="*/ 163915 h 2468044"/>
                <a:gd name="connsiteX478" fmla="*/ 1148339 w 1906136"/>
                <a:gd name="connsiteY478" fmla="*/ 178506 h 2468044"/>
                <a:gd name="connsiteX479" fmla="*/ 1143061 w 1906136"/>
                <a:gd name="connsiteY479" fmla="*/ 176333 h 2468044"/>
                <a:gd name="connsiteX480" fmla="*/ 1139957 w 1906136"/>
                <a:gd name="connsiteY480" fmla="*/ 175402 h 2468044"/>
                <a:gd name="connsiteX481" fmla="*/ 1137784 w 1906136"/>
                <a:gd name="connsiteY481" fmla="*/ 173229 h 2468044"/>
                <a:gd name="connsiteX482" fmla="*/ 1135611 w 1906136"/>
                <a:gd name="connsiteY482" fmla="*/ 171056 h 2468044"/>
                <a:gd name="connsiteX483" fmla="*/ 1132506 w 1906136"/>
                <a:gd name="connsiteY483" fmla="*/ 167951 h 2468044"/>
                <a:gd name="connsiteX484" fmla="*/ 1134679 w 1906136"/>
                <a:gd name="connsiteY484" fmla="*/ 161742 h 2468044"/>
                <a:gd name="connsiteX485" fmla="*/ 1134679 w 1906136"/>
                <a:gd name="connsiteY485" fmla="*/ 153360 h 2468044"/>
                <a:gd name="connsiteX486" fmla="*/ 1135611 w 1906136"/>
                <a:gd name="connsiteY486" fmla="*/ 140632 h 2468044"/>
                <a:gd name="connsiteX487" fmla="*/ 1137784 w 1906136"/>
                <a:gd name="connsiteY487" fmla="*/ 126041 h 2468044"/>
                <a:gd name="connsiteX488" fmla="*/ 1137784 w 1906136"/>
                <a:gd name="connsiteY488" fmla="*/ 114244 h 2468044"/>
                <a:gd name="connsiteX489" fmla="*/ 1128470 w 1906136"/>
                <a:gd name="connsiteY489" fmla="*/ 118590 h 2468044"/>
                <a:gd name="connsiteX490" fmla="*/ 1123193 w 1906136"/>
                <a:gd name="connsiteY490" fmla="*/ 123868 h 2468044"/>
                <a:gd name="connsiteX491" fmla="*/ 1117915 w 1906136"/>
                <a:gd name="connsiteY491" fmla="*/ 129145 h 2468044"/>
                <a:gd name="connsiteX492" fmla="*/ 1112638 w 1906136"/>
                <a:gd name="connsiteY492" fmla="*/ 134423 h 2468044"/>
                <a:gd name="connsiteX493" fmla="*/ 1101151 w 1906136"/>
                <a:gd name="connsiteY493" fmla="*/ 134423 h 2468044"/>
                <a:gd name="connsiteX494" fmla="*/ 1098047 w 1906136"/>
                <a:gd name="connsiteY494" fmla="*/ 119832 h 2468044"/>
                <a:gd name="connsiteX495" fmla="*/ 1098047 w 1906136"/>
                <a:gd name="connsiteY495" fmla="*/ 103999 h 2468044"/>
                <a:gd name="connsiteX496" fmla="*/ 1071969 w 1906136"/>
                <a:gd name="connsiteY496" fmla="*/ 103999 h 2468044"/>
                <a:gd name="connsiteX497" fmla="*/ 1076005 w 1906136"/>
                <a:gd name="connsiteY497" fmla="*/ 96549 h 2468044"/>
                <a:gd name="connsiteX498" fmla="*/ 1076936 w 1906136"/>
                <a:gd name="connsiteY498" fmla="*/ 90340 h 2468044"/>
                <a:gd name="connsiteX499" fmla="*/ 1079110 w 1906136"/>
                <a:gd name="connsiteY499" fmla="*/ 85062 h 2468044"/>
                <a:gd name="connsiteX500" fmla="*/ 1083145 w 1906136"/>
                <a:gd name="connsiteY500" fmla="*/ 81958 h 2468044"/>
                <a:gd name="connsiteX501" fmla="*/ 1088423 w 1906136"/>
                <a:gd name="connsiteY501" fmla="*/ 77611 h 2468044"/>
                <a:gd name="connsiteX502" fmla="*/ 1088423 w 1906136"/>
                <a:gd name="connsiteY502" fmla="*/ 70161 h 2468044"/>
                <a:gd name="connsiteX503" fmla="*/ 1088423 w 1906136"/>
                <a:gd name="connsiteY503" fmla="*/ 62710 h 2468044"/>
                <a:gd name="connsiteX504" fmla="*/ 1086250 w 1906136"/>
                <a:gd name="connsiteY504" fmla="*/ 59606 h 2468044"/>
                <a:gd name="connsiteX505" fmla="*/ 1083145 w 1906136"/>
                <a:gd name="connsiteY505" fmla="*/ 55259 h 2468044"/>
                <a:gd name="connsiteX506" fmla="*/ 1079110 w 1906136"/>
                <a:gd name="connsiteY506" fmla="*/ 52155 h 2468044"/>
                <a:gd name="connsiteX507" fmla="*/ 1071969 w 1906136"/>
                <a:gd name="connsiteY507" fmla="*/ 49982 h 2468044"/>
                <a:gd name="connsiteX508" fmla="*/ 1074142 w 1906136"/>
                <a:gd name="connsiteY508" fmla="*/ 42531 h 2468044"/>
                <a:gd name="connsiteX509" fmla="*/ 1076316 w 1906136"/>
                <a:gd name="connsiteY509" fmla="*/ 39427 h 2468044"/>
                <a:gd name="connsiteX510" fmla="*/ 1077247 w 1906136"/>
                <a:gd name="connsiteY510" fmla="*/ 35080 h 2468044"/>
                <a:gd name="connsiteX511" fmla="*/ 1079420 w 1906136"/>
                <a:gd name="connsiteY511" fmla="*/ 29803 h 2468044"/>
                <a:gd name="connsiteX512" fmla="*/ 1081593 w 1906136"/>
                <a:gd name="connsiteY512" fmla="*/ 25457 h 2468044"/>
                <a:gd name="connsiteX513" fmla="*/ 1079420 w 1906136"/>
                <a:gd name="connsiteY513" fmla="*/ 22352 h 2468044"/>
                <a:gd name="connsiteX514" fmla="*/ 1076316 w 1906136"/>
                <a:gd name="connsiteY514" fmla="*/ 18006 h 2468044"/>
                <a:gd name="connsiteX515" fmla="*/ 1074142 w 1906136"/>
                <a:gd name="connsiteY515" fmla="*/ 17075 h 2468044"/>
                <a:gd name="connsiteX516" fmla="*/ 1071969 w 1906136"/>
                <a:gd name="connsiteY516" fmla="*/ 14901 h 2468044"/>
                <a:gd name="connsiteX517" fmla="*/ 1069796 w 1906136"/>
                <a:gd name="connsiteY517" fmla="*/ 12728 h 2468044"/>
                <a:gd name="connsiteX518" fmla="*/ 1069796 w 1906136"/>
                <a:gd name="connsiteY518" fmla="*/ 7451 h 2468044"/>
                <a:gd name="connsiteX519" fmla="*/ 1068865 w 1906136"/>
                <a:gd name="connsiteY519" fmla="*/ 0 h 2468044"/>
                <a:gd name="connsiteX520" fmla="*/ 1057378 w 1906136"/>
                <a:gd name="connsiteY520" fmla="*/ 2173 h 2468044"/>
                <a:gd name="connsiteX521" fmla="*/ 1046823 w 1906136"/>
                <a:gd name="connsiteY521" fmla="*/ 5278 h 2468044"/>
                <a:gd name="connsiteX522" fmla="*/ 1037510 w 1906136"/>
                <a:gd name="connsiteY522" fmla="*/ 9624 h 2468044"/>
                <a:gd name="connsiteX523" fmla="*/ 1025092 w 1906136"/>
                <a:gd name="connsiteY523" fmla="*/ 29492 h 2468044"/>
                <a:gd name="connsiteX524" fmla="*/ 1021056 w 1906136"/>
                <a:gd name="connsiteY524" fmla="*/ 47498 h 2468044"/>
                <a:gd name="connsiteX525" fmla="*/ 1023229 w 1906136"/>
                <a:gd name="connsiteY525" fmla="*/ 66435 h 2468044"/>
                <a:gd name="connsiteX526" fmla="*/ 1032543 w 1906136"/>
                <a:gd name="connsiteY526" fmla="*/ 82268 h 2468044"/>
                <a:gd name="connsiteX527" fmla="*/ 1044960 w 1906136"/>
                <a:gd name="connsiteY527" fmla="*/ 96859 h 2468044"/>
                <a:gd name="connsiteX528" fmla="*/ 1047134 w 1906136"/>
                <a:gd name="connsiteY528" fmla="*/ 104310 h 2468044"/>
                <a:gd name="connsiteX529" fmla="*/ 1044960 w 1906136"/>
                <a:gd name="connsiteY529" fmla="*/ 118901 h 2468044"/>
                <a:gd name="connsiteX530" fmla="*/ 1044960 w 1906136"/>
                <a:gd name="connsiteY530" fmla="*/ 135665 h 2468044"/>
                <a:gd name="connsiteX531" fmla="*/ 1044960 w 1906136"/>
                <a:gd name="connsiteY531" fmla="*/ 150256 h 2468044"/>
                <a:gd name="connsiteX532" fmla="*/ 1032543 w 1906136"/>
                <a:gd name="connsiteY532" fmla="*/ 150256 h 2468044"/>
                <a:gd name="connsiteX533" fmla="*/ 1032543 w 1906136"/>
                <a:gd name="connsiteY533" fmla="*/ 153360 h 2468044"/>
                <a:gd name="connsiteX534" fmla="*/ 1030369 w 1906136"/>
                <a:gd name="connsiteY534" fmla="*/ 159569 h 2468044"/>
                <a:gd name="connsiteX535" fmla="*/ 1030369 w 1906136"/>
                <a:gd name="connsiteY535" fmla="*/ 162674 h 2468044"/>
                <a:gd name="connsiteX536" fmla="*/ 1028196 w 1906136"/>
                <a:gd name="connsiteY536" fmla="*/ 170124 h 2468044"/>
                <a:gd name="connsiteX537" fmla="*/ 1019814 w 1906136"/>
                <a:gd name="connsiteY537" fmla="*/ 153360 h 2468044"/>
                <a:gd name="connsiteX538" fmla="*/ 1012674 w 1906136"/>
                <a:gd name="connsiteY538" fmla="*/ 137528 h 2468044"/>
                <a:gd name="connsiteX539" fmla="*/ 988770 w 1906136"/>
                <a:gd name="connsiteY539" fmla="*/ 137528 h 2468044"/>
                <a:gd name="connsiteX540" fmla="*/ 988770 w 1906136"/>
                <a:gd name="connsiteY540" fmla="*/ 150256 h 2468044"/>
                <a:gd name="connsiteX541" fmla="*/ 986597 w 1906136"/>
                <a:gd name="connsiteY541" fmla="*/ 152429 h 2468044"/>
                <a:gd name="connsiteX542" fmla="*/ 984424 w 1906136"/>
                <a:gd name="connsiteY542" fmla="*/ 153360 h 2468044"/>
                <a:gd name="connsiteX543" fmla="*/ 983492 w 1906136"/>
                <a:gd name="connsiteY543" fmla="*/ 155533 h 2468044"/>
                <a:gd name="connsiteX544" fmla="*/ 981319 w 1906136"/>
                <a:gd name="connsiteY544" fmla="*/ 157706 h 2468044"/>
                <a:gd name="connsiteX545" fmla="*/ 962692 w 1906136"/>
                <a:gd name="connsiteY545" fmla="*/ 157706 h 2468044"/>
                <a:gd name="connsiteX546" fmla="*/ 950275 w 1906136"/>
                <a:gd name="connsiteY546" fmla="*/ 155533 h 2468044"/>
                <a:gd name="connsiteX547" fmla="*/ 937857 w 1906136"/>
                <a:gd name="connsiteY547" fmla="*/ 153360 h 2468044"/>
                <a:gd name="connsiteX548" fmla="*/ 925439 w 1906136"/>
                <a:gd name="connsiteY548" fmla="*/ 150256 h 2468044"/>
                <a:gd name="connsiteX549" fmla="*/ 905570 w 1906136"/>
                <a:gd name="connsiteY549" fmla="*/ 150256 h 2468044"/>
                <a:gd name="connsiteX550" fmla="*/ 901535 w 1906136"/>
                <a:gd name="connsiteY550" fmla="*/ 142805 h 2468044"/>
                <a:gd name="connsiteX551" fmla="*/ 898430 w 1906136"/>
                <a:gd name="connsiteY551" fmla="*/ 139701 h 2468044"/>
                <a:gd name="connsiteX552" fmla="*/ 894394 w 1906136"/>
                <a:gd name="connsiteY552" fmla="*/ 133492 h 2468044"/>
                <a:gd name="connsiteX553" fmla="*/ 889117 w 1906136"/>
                <a:gd name="connsiteY553" fmla="*/ 130387 h 2468044"/>
                <a:gd name="connsiteX554" fmla="*/ 889117 w 1906136"/>
                <a:gd name="connsiteY554" fmla="*/ 117659 h 2468044"/>
                <a:gd name="connsiteX555" fmla="*/ 842239 w 1906136"/>
                <a:gd name="connsiteY555" fmla="*/ 122937 h 2468044"/>
                <a:gd name="connsiteX556" fmla="*/ 842239 w 1906136"/>
                <a:gd name="connsiteY556" fmla="*/ 126041 h 2468044"/>
                <a:gd name="connsiteX557" fmla="*/ 838204 w 1906136"/>
                <a:gd name="connsiteY557" fmla="*/ 126041 h 2468044"/>
                <a:gd name="connsiteX558" fmla="*/ 838204 w 1906136"/>
                <a:gd name="connsiteY558" fmla="*/ 132250 h 2468044"/>
                <a:gd name="connsiteX559" fmla="*/ 840377 w 1906136"/>
                <a:gd name="connsiteY559" fmla="*/ 135354 h 2468044"/>
                <a:gd name="connsiteX560" fmla="*/ 842550 w 1906136"/>
                <a:gd name="connsiteY560" fmla="*/ 139701 h 2468044"/>
                <a:gd name="connsiteX561" fmla="*/ 843481 w 1906136"/>
                <a:gd name="connsiteY561" fmla="*/ 140632 h 2468044"/>
                <a:gd name="connsiteX562" fmla="*/ 845654 w 1906136"/>
                <a:gd name="connsiteY562" fmla="*/ 145910 h 2468044"/>
                <a:gd name="connsiteX563" fmla="*/ 877941 w 1906136"/>
                <a:gd name="connsiteY563" fmla="*/ 145910 h 2468044"/>
                <a:gd name="connsiteX564" fmla="*/ 877941 w 1906136"/>
                <a:gd name="connsiteY564" fmla="*/ 150256 h 2468044"/>
                <a:gd name="connsiteX565" fmla="*/ 870800 w 1906136"/>
                <a:gd name="connsiteY565" fmla="*/ 152429 h 2468044"/>
                <a:gd name="connsiteX566" fmla="*/ 865523 w 1906136"/>
                <a:gd name="connsiteY566" fmla="*/ 153360 h 2468044"/>
                <a:gd name="connsiteX567" fmla="*/ 858383 w 1906136"/>
                <a:gd name="connsiteY567" fmla="*/ 153360 h 2468044"/>
                <a:gd name="connsiteX568" fmla="*/ 849069 w 1906136"/>
                <a:gd name="connsiteY568" fmla="*/ 153360 h 2468044"/>
                <a:gd name="connsiteX569" fmla="*/ 849069 w 1906136"/>
                <a:gd name="connsiteY569" fmla="*/ 189993 h 2468044"/>
                <a:gd name="connsiteX570" fmla="*/ 840687 w 1906136"/>
                <a:gd name="connsiteY570" fmla="*/ 179438 h 2468044"/>
                <a:gd name="connsiteX571" fmla="*/ 831374 w 1906136"/>
                <a:gd name="connsiteY571" fmla="*/ 167951 h 2468044"/>
                <a:gd name="connsiteX572" fmla="*/ 822060 w 1906136"/>
                <a:gd name="connsiteY572" fmla="*/ 157396 h 2468044"/>
                <a:gd name="connsiteX573" fmla="*/ 813678 w 1906136"/>
                <a:gd name="connsiteY573" fmla="*/ 155223 h 2468044"/>
                <a:gd name="connsiteX574" fmla="*/ 799087 w 1906136"/>
                <a:gd name="connsiteY574" fmla="*/ 155223 h 2468044"/>
                <a:gd name="connsiteX575" fmla="*/ 782323 w 1906136"/>
                <a:gd name="connsiteY575" fmla="*/ 155223 h 2468044"/>
                <a:gd name="connsiteX576" fmla="*/ 765559 w 1906136"/>
                <a:gd name="connsiteY576" fmla="*/ 153050 h 2468044"/>
                <a:gd name="connsiteX577" fmla="*/ 753141 w 1906136"/>
                <a:gd name="connsiteY577" fmla="*/ 153050 h 2468044"/>
                <a:gd name="connsiteX578" fmla="*/ 755315 w 1906136"/>
                <a:gd name="connsiteY578" fmla="*/ 149945 h 2468044"/>
                <a:gd name="connsiteX579" fmla="*/ 756246 w 1906136"/>
                <a:gd name="connsiteY579" fmla="*/ 147772 h 2468044"/>
                <a:gd name="connsiteX580" fmla="*/ 756246 w 1906136"/>
                <a:gd name="connsiteY580" fmla="*/ 145599 h 2468044"/>
                <a:gd name="connsiteX581" fmla="*/ 758419 w 1906136"/>
                <a:gd name="connsiteY581" fmla="*/ 144668 h 2468044"/>
                <a:gd name="connsiteX582" fmla="*/ 762455 w 1906136"/>
                <a:gd name="connsiteY582" fmla="*/ 142495 h 2468044"/>
                <a:gd name="connsiteX583" fmla="*/ 765559 w 1906136"/>
                <a:gd name="connsiteY583" fmla="*/ 140321 h 2468044"/>
                <a:gd name="connsiteX584" fmla="*/ 763386 w 1906136"/>
                <a:gd name="connsiteY584" fmla="*/ 137217 h 2468044"/>
                <a:gd name="connsiteX585" fmla="*/ 760282 w 1906136"/>
                <a:gd name="connsiteY585" fmla="*/ 129766 h 2468044"/>
                <a:gd name="connsiteX586" fmla="*/ 756246 w 1906136"/>
                <a:gd name="connsiteY586" fmla="*/ 124489 h 2468044"/>
                <a:gd name="connsiteX587" fmla="*/ 753141 w 1906136"/>
                <a:gd name="connsiteY587" fmla="*/ 120143 h 2468044"/>
                <a:gd name="connsiteX588" fmla="*/ 749106 w 1906136"/>
                <a:gd name="connsiteY588" fmla="*/ 117038 h 2468044"/>
                <a:gd name="connsiteX589" fmla="*/ 746001 w 1906136"/>
                <a:gd name="connsiteY589" fmla="*/ 117038 h 2468044"/>
                <a:gd name="connsiteX590" fmla="*/ 742897 w 1906136"/>
                <a:gd name="connsiteY590" fmla="*/ 117969 h 2468044"/>
                <a:gd name="connsiteX591" fmla="*/ 736688 w 1906136"/>
                <a:gd name="connsiteY591" fmla="*/ 120143 h 2468044"/>
                <a:gd name="connsiteX592" fmla="*/ 733583 w 1906136"/>
                <a:gd name="connsiteY592" fmla="*/ 122316 h 2468044"/>
                <a:gd name="connsiteX593" fmla="*/ 728306 w 1906136"/>
                <a:gd name="connsiteY593" fmla="*/ 122316 h 2468044"/>
                <a:gd name="connsiteX594" fmla="*/ 722097 w 1906136"/>
                <a:gd name="connsiteY594" fmla="*/ 122316 h 2468044"/>
                <a:gd name="connsiteX595" fmla="*/ 706575 w 1906136"/>
                <a:gd name="connsiteY595" fmla="*/ 110829 h 2468044"/>
                <a:gd name="connsiteX596" fmla="*/ 689811 w 1906136"/>
                <a:gd name="connsiteY596" fmla="*/ 98101 h 2468044"/>
                <a:gd name="connsiteX597" fmla="*/ 673046 w 1906136"/>
                <a:gd name="connsiteY597" fmla="*/ 85373 h 2468044"/>
                <a:gd name="connsiteX598" fmla="*/ 653178 w 1906136"/>
                <a:gd name="connsiteY598" fmla="*/ 80095 h 2468044"/>
                <a:gd name="connsiteX599" fmla="*/ 649142 w 1906136"/>
                <a:gd name="connsiteY599" fmla="*/ 81026 h 2468044"/>
                <a:gd name="connsiteX600" fmla="*/ 643865 w 1906136"/>
                <a:gd name="connsiteY600" fmla="*/ 83199 h 2468044"/>
                <a:gd name="connsiteX601" fmla="*/ 640760 w 1906136"/>
                <a:gd name="connsiteY601" fmla="*/ 87546 h 2468044"/>
                <a:gd name="connsiteX602" fmla="*/ 635482 w 1906136"/>
                <a:gd name="connsiteY602" fmla="*/ 90650 h 2468044"/>
                <a:gd name="connsiteX603" fmla="*/ 629274 w 1906136"/>
                <a:gd name="connsiteY603" fmla="*/ 92823 h 2468044"/>
                <a:gd name="connsiteX604" fmla="*/ 628342 w 1906136"/>
                <a:gd name="connsiteY604" fmla="*/ 88477 h 2468044"/>
                <a:gd name="connsiteX605" fmla="*/ 626169 w 1906136"/>
                <a:gd name="connsiteY605" fmla="*/ 85373 h 2468044"/>
                <a:gd name="connsiteX606" fmla="*/ 622133 w 1906136"/>
                <a:gd name="connsiteY606" fmla="*/ 80095 h 2468044"/>
                <a:gd name="connsiteX607" fmla="*/ 621202 w 1906136"/>
                <a:gd name="connsiteY607" fmla="*/ 80095 h 2468044"/>
                <a:gd name="connsiteX608" fmla="*/ 617166 w 1906136"/>
                <a:gd name="connsiteY608" fmla="*/ 80095 h 2468044"/>
                <a:gd name="connsiteX609" fmla="*/ 614993 w 1906136"/>
                <a:gd name="connsiteY609" fmla="*/ 81026 h 2468044"/>
                <a:gd name="connsiteX610" fmla="*/ 611889 w 1906136"/>
                <a:gd name="connsiteY610" fmla="*/ 83199 h 2468044"/>
                <a:gd name="connsiteX611" fmla="*/ 609715 w 1906136"/>
                <a:gd name="connsiteY611" fmla="*/ 85373 h 2468044"/>
                <a:gd name="connsiteX612" fmla="*/ 606611 w 1906136"/>
                <a:gd name="connsiteY612" fmla="*/ 88477 h 2468044"/>
                <a:gd name="connsiteX613" fmla="*/ 592951 w 1906136"/>
                <a:gd name="connsiteY613" fmla="*/ 85373 h 2468044"/>
                <a:gd name="connsiteX614" fmla="*/ 584569 w 1906136"/>
                <a:gd name="connsiteY614" fmla="*/ 77922 h 2468044"/>
                <a:gd name="connsiteX615" fmla="*/ 578360 w 1906136"/>
                <a:gd name="connsiteY615" fmla="*/ 68609 h 2468044"/>
                <a:gd name="connsiteX616" fmla="*/ 573083 w 1906136"/>
                <a:gd name="connsiteY616" fmla="*/ 55880 h 2468044"/>
                <a:gd name="connsiteX617" fmla="*/ 569978 w 1906136"/>
                <a:gd name="connsiteY617" fmla="*/ 58985 h 2468044"/>
                <a:gd name="connsiteX618" fmla="*/ 565943 w 1906136"/>
                <a:gd name="connsiteY618" fmla="*/ 65194 h 2468044"/>
                <a:gd name="connsiteX619" fmla="*/ 563770 w 1906136"/>
                <a:gd name="connsiteY619" fmla="*/ 70471 h 2468044"/>
                <a:gd name="connsiteX620" fmla="*/ 562838 w 1906136"/>
                <a:gd name="connsiteY620" fmla="*/ 75749 h 2468044"/>
                <a:gd name="connsiteX621" fmla="*/ 546074 w 1906136"/>
                <a:gd name="connsiteY621" fmla="*/ 77922 h 2468044"/>
                <a:gd name="connsiteX622" fmla="*/ 533656 w 1906136"/>
                <a:gd name="connsiteY622" fmla="*/ 77922 h 2468044"/>
                <a:gd name="connsiteX623" fmla="*/ 521238 w 1906136"/>
                <a:gd name="connsiteY623" fmla="*/ 80095 h 2468044"/>
                <a:gd name="connsiteX624" fmla="*/ 511925 w 1906136"/>
                <a:gd name="connsiteY624" fmla="*/ 85373 h 2468044"/>
                <a:gd name="connsiteX625" fmla="*/ 502612 w 1906136"/>
                <a:gd name="connsiteY625" fmla="*/ 95928 h 2468044"/>
                <a:gd name="connsiteX626" fmla="*/ 482743 w 1906136"/>
                <a:gd name="connsiteY626" fmla="*/ 92823 h 2468044"/>
                <a:gd name="connsiteX627" fmla="*/ 482743 w 1906136"/>
                <a:gd name="connsiteY627" fmla="*/ 85373 h 2468044"/>
                <a:gd name="connsiteX628" fmla="*/ 504474 w 1906136"/>
                <a:gd name="connsiteY628" fmla="*/ 76059 h 2468044"/>
                <a:gd name="connsiteX629" fmla="*/ 524343 w 1906136"/>
                <a:gd name="connsiteY629" fmla="*/ 63331 h 2468044"/>
                <a:gd name="connsiteX630" fmla="*/ 542970 w 1906136"/>
                <a:gd name="connsiteY630" fmla="*/ 48740 h 2468044"/>
                <a:gd name="connsiteX631" fmla="*/ 549179 w 1906136"/>
                <a:gd name="connsiteY631" fmla="*/ 48740 h 2468044"/>
                <a:gd name="connsiteX632" fmla="*/ 546074 w 1906136"/>
                <a:gd name="connsiteY632" fmla="*/ 46567 h 2468044"/>
                <a:gd name="connsiteX633" fmla="*/ 542970 w 1906136"/>
                <a:gd name="connsiteY633" fmla="*/ 44394 h 2468044"/>
                <a:gd name="connsiteX634" fmla="*/ 536761 w 1906136"/>
                <a:gd name="connsiteY634" fmla="*/ 43462 h 2468044"/>
                <a:gd name="connsiteX635" fmla="*/ 533656 w 1906136"/>
                <a:gd name="connsiteY635" fmla="*/ 41289 h 2468044"/>
                <a:gd name="connsiteX636" fmla="*/ 516892 w 1906136"/>
                <a:gd name="connsiteY636" fmla="*/ 44394 h 2468044"/>
                <a:gd name="connsiteX637" fmla="*/ 504474 w 1906136"/>
                <a:gd name="connsiteY637" fmla="*/ 50603 h 2468044"/>
                <a:gd name="connsiteX638" fmla="*/ 492988 w 1906136"/>
                <a:gd name="connsiteY638" fmla="*/ 58985 h 2468044"/>
                <a:gd name="connsiteX639" fmla="*/ 482433 w 1906136"/>
                <a:gd name="connsiteY639" fmla="*/ 66435 h 2468044"/>
                <a:gd name="connsiteX640" fmla="*/ 470015 w 1906136"/>
                <a:gd name="connsiteY640" fmla="*/ 73886 h 2468044"/>
                <a:gd name="connsiteX641" fmla="*/ 455424 w 1906136"/>
                <a:gd name="connsiteY641" fmla="*/ 78232 h 2468044"/>
                <a:gd name="connsiteX642" fmla="*/ 433693 w 1906136"/>
                <a:gd name="connsiteY642" fmla="*/ 80405 h 2468044"/>
                <a:gd name="connsiteX643" fmla="*/ 436797 w 1906136"/>
                <a:gd name="connsiteY643" fmla="*/ 88788 h 2468044"/>
                <a:gd name="connsiteX644" fmla="*/ 443006 w 1906136"/>
                <a:gd name="connsiteY644" fmla="*/ 96238 h 2468044"/>
                <a:gd name="connsiteX645" fmla="*/ 448284 w 1906136"/>
                <a:gd name="connsiteY645" fmla="*/ 103689 h 2468044"/>
                <a:gd name="connsiteX646" fmla="*/ 453561 w 1906136"/>
                <a:gd name="connsiteY646" fmla="*/ 109898 h 2468044"/>
                <a:gd name="connsiteX647" fmla="*/ 453561 w 1906136"/>
                <a:gd name="connsiteY647" fmla="*/ 117349 h 2468044"/>
                <a:gd name="connsiteX648" fmla="*/ 429657 w 1906136"/>
                <a:gd name="connsiteY648" fmla="*/ 113002 h 2468044"/>
                <a:gd name="connsiteX649" fmla="*/ 409788 w 1906136"/>
                <a:gd name="connsiteY649" fmla="*/ 102447 h 2468044"/>
                <a:gd name="connsiteX650" fmla="*/ 392093 w 1906136"/>
                <a:gd name="connsiteY650" fmla="*/ 90961 h 2468044"/>
                <a:gd name="connsiteX651" fmla="*/ 373466 w 1906136"/>
                <a:gd name="connsiteY651" fmla="*/ 78232 h 2468044"/>
                <a:gd name="connsiteX652" fmla="*/ 353598 w 1906136"/>
                <a:gd name="connsiteY652" fmla="*/ 68919 h 2468044"/>
                <a:gd name="connsiteX653" fmla="*/ 322243 w 1906136"/>
                <a:gd name="connsiteY653" fmla="*/ 73265 h 2468044"/>
                <a:gd name="connsiteX654" fmla="*/ 307652 w 1906136"/>
                <a:gd name="connsiteY654" fmla="*/ 68919 h 2468044"/>
                <a:gd name="connsiteX655" fmla="*/ 293061 w 1906136"/>
                <a:gd name="connsiteY655" fmla="*/ 61468 h 2468044"/>
                <a:gd name="connsiteX656" fmla="*/ 277539 w 1906136"/>
                <a:gd name="connsiteY656" fmla="*/ 56191 h 2468044"/>
                <a:gd name="connsiteX657" fmla="*/ 266052 w 1906136"/>
                <a:gd name="connsiteY657" fmla="*/ 51844 h 2468044"/>
                <a:gd name="connsiteX658" fmla="*/ 262948 w 1906136"/>
                <a:gd name="connsiteY658" fmla="*/ 51844 h 2468044"/>
                <a:gd name="connsiteX659" fmla="*/ 256739 w 1906136"/>
                <a:gd name="connsiteY659" fmla="*/ 54018 h 2468044"/>
                <a:gd name="connsiteX660" fmla="*/ 253634 w 1906136"/>
                <a:gd name="connsiteY660" fmla="*/ 56191 h 2468044"/>
                <a:gd name="connsiteX661" fmla="*/ 249598 w 1906136"/>
                <a:gd name="connsiteY661" fmla="*/ 56191 h 2468044"/>
                <a:gd name="connsiteX662" fmla="*/ 244321 w 1906136"/>
                <a:gd name="connsiteY662" fmla="*/ 58364 h 2468044"/>
                <a:gd name="connsiteX663" fmla="*/ 239043 w 1906136"/>
                <a:gd name="connsiteY663" fmla="*/ 56191 h 2468044"/>
                <a:gd name="connsiteX664" fmla="*/ 233766 w 1906136"/>
                <a:gd name="connsiteY664" fmla="*/ 54018 h 2468044"/>
                <a:gd name="connsiteX665" fmla="*/ 229730 w 1906136"/>
                <a:gd name="connsiteY665" fmla="*/ 50913 h 2468044"/>
                <a:gd name="connsiteX666" fmla="*/ 226625 w 1906136"/>
                <a:gd name="connsiteY666" fmla="*/ 46567 h 2468044"/>
                <a:gd name="connsiteX667" fmla="*/ 221348 w 1906136"/>
                <a:gd name="connsiteY667" fmla="*/ 41289 h 2468044"/>
                <a:gd name="connsiteX668" fmla="*/ 217312 w 1906136"/>
                <a:gd name="connsiteY668" fmla="*/ 38185 h 2468044"/>
                <a:gd name="connsiteX669" fmla="*/ 214208 w 1906136"/>
                <a:gd name="connsiteY669" fmla="*/ 36012 h 2468044"/>
                <a:gd name="connsiteX670" fmla="*/ 210172 w 1906136"/>
                <a:gd name="connsiteY670" fmla="*/ 36012 h 2468044"/>
                <a:gd name="connsiteX671" fmla="*/ 207067 w 1906136"/>
                <a:gd name="connsiteY671" fmla="*/ 36012 h 2468044"/>
                <a:gd name="connsiteX672" fmla="*/ 203032 w 1906136"/>
                <a:gd name="connsiteY672" fmla="*/ 38185 h 2468044"/>
                <a:gd name="connsiteX673" fmla="*/ 199927 w 1906136"/>
                <a:gd name="connsiteY673" fmla="*/ 39116 h 2468044"/>
                <a:gd name="connsiteX674" fmla="*/ 195891 w 1906136"/>
                <a:gd name="connsiteY674" fmla="*/ 39116 h 2468044"/>
                <a:gd name="connsiteX675" fmla="*/ 190614 w 1906136"/>
                <a:gd name="connsiteY675" fmla="*/ 39116 h 2468044"/>
                <a:gd name="connsiteX676" fmla="*/ 186578 w 1906136"/>
                <a:gd name="connsiteY676" fmla="*/ 36012 h 2468044"/>
                <a:gd name="connsiteX677" fmla="*/ 183473 w 1906136"/>
                <a:gd name="connsiteY677" fmla="*/ 31665 h 2468044"/>
                <a:gd name="connsiteX678" fmla="*/ 181300 w 1906136"/>
                <a:gd name="connsiteY678" fmla="*/ 30734 h 2468044"/>
                <a:gd name="connsiteX679" fmla="*/ 181300 w 1906136"/>
                <a:gd name="connsiteY679" fmla="*/ 26388 h 2468044"/>
                <a:gd name="connsiteX680" fmla="*/ 179127 w 1906136"/>
                <a:gd name="connsiteY680" fmla="*/ 24215 h 2468044"/>
                <a:gd name="connsiteX681" fmla="*/ 179127 w 1906136"/>
                <a:gd name="connsiteY681" fmla="*/ 21110 h 2468044"/>
                <a:gd name="connsiteX682" fmla="*/ 176023 w 1906136"/>
                <a:gd name="connsiteY682" fmla="*/ 18937 h 2468044"/>
                <a:gd name="connsiteX683" fmla="*/ 170745 w 1906136"/>
                <a:gd name="connsiteY683" fmla="*/ 15833 h 2468044"/>
                <a:gd name="connsiteX684" fmla="*/ 153981 w 1906136"/>
                <a:gd name="connsiteY684" fmla="*/ 26388 h 2468044"/>
                <a:gd name="connsiteX685" fmla="*/ 137217 w 1906136"/>
                <a:gd name="connsiteY685" fmla="*/ 33839 h 2468044"/>
                <a:gd name="connsiteX686" fmla="*/ 117348 w 1906136"/>
                <a:gd name="connsiteY686" fmla="*/ 39116 h 2468044"/>
                <a:gd name="connsiteX687" fmla="*/ 99653 w 1906136"/>
                <a:gd name="connsiteY687" fmla="*/ 48430 h 2468044"/>
                <a:gd name="connsiteX688" fmla="*/ 85993 w 1906136"/>
                <a:gd name="connsiteY688" fmla="*/ 58985 h 2468044"/>
                <a:gd name="connsiteX689" fmla="*/ 82889 w 1906136"/>
                <a:gd name="connsiteY689" fmla="*/ 70471 h 2468044"/>
                <a:gd name="connsiteX690" fmla="*/ 78853 w 1906136"/>
                <a:gd name="connsiteY690" fmla="*/ 83199 h 2468044"/>
                <a:gd name="connsiteX691" fmla="*/ 73576 w 1906136"/>
                <a:gd name="connsiteY691" fmla="*/ 95928 h 2468044"/>
                <a:gd name="connsiteX692" fmla="*/ 56812 w 1906136"/>
                <a:gd name="connsiteY692" fmla="*/ 105241 h 2468044"/>
                <a:gd name="connsiteX693" fmla="*/ 36012 w 1906136"/>
                <a:gd name="connsiteY693" fmla="*/ 107414 h 2468044"/>
                <a:gd name="connsiteX694" fmla="*/ 14281 w 1906136"/>
                <a:gd name="connsiteY694" fmla="*/ 105241 h 2468044"/>
                <a:gd name="connsiteX695" fmla="*/ 12107 w 1906136"/>
                <a:gd name="connsiteY695" fmla="*/ 110519 h 2468044"/>
                <a:gd name="connsiteX696" fmla="*/ 9934 w 1906136"/>
                <a:gd name="connsiteY696" fmla="*/ 116728 h 2468044"/>
                <a:gd name="connsiteX697" fmla="*/ 6830 w 1906136"/>
                <a:gd name="connsiteY697" fmla="*/ 122005 h 2468044"/>
                <a:gd name="connsiteX698" fmla="*/ 15212 w 1906136"/>
                <a:gd name="connsiteY698" fmla="*/ 138769 h 2468044"/>
                <a:gd name="connsiteX699" fmla="*/ 29803 w 1906136"/>
                <a:gd name="connsiteY699" fmla="*/ 149324 h 2468044"/>
                <a:gd name="connsiteX700" fmla="*/ 46567 w 1906136"/>
                <a:gd name="connsiteY700" fmla="*/ 159880 h 2468044"/>
                <a:gd name="connsiteX701" fmla="*/ 61158 w 1906136"/>
                <a:gd name="connsiteY701" fmla="*/ 171366 h 2468044"/>
                <a:gd name="connsiteX702" fmla="*/ 73576 w 1906136"/>
                <a:gd name="connsiteY702" fmla="*/ 185957 h 2468044"/>
                <a:gd name="connsiteX703" fmla="*/ 77611 w 1906136"/>
                <a:gd name="connsiteY703" fmla="*/ 191235 h 2468044"/>
                <a:gd name="connsiteX704" fmla="*/ 78543 w 1906136"/>
                <a:gd name="connsiteY704" fmla="*/ 196512 h 2468044"/>
                <a:gd name="connsiteX705" fmla="*/ 80716 w 1906136"/>
                <a:gd name="connsiteY705" fmla="*/ 202721 h 2468044"/>
                <a:gd name="connsiteX706" fmla="*/ 82889 w 1906136"/>
                <a:gd name="connsiteY706" fmla="*/ 207999 h 2468044"/>
                <a:gd name="connsiteX707" fmla="*/ 85993 w 1906136"/>
                <a:gd name="connsiteY707" fmla="*/ 213276 h 2468044"/>
                <a:gd name="connsiteX708" fmla="*/ 85993 w 1906136"/>
                <a:gd name="connsiteY708" fmla="*/ 220727 h 2468044"/>
                <a:gd name="connsiteX709" fmla="*/ 73576 w 1906136"/>
                <a:gd name="connsiteY709" fmla="*/ 226005 h 2468044"/>
                <a:gd name="connsiteX710" fmla="*/ 70471 w 1906136"/>
                <a:gd name="connsiteY710" fmla="*/ 220727 h 2468044"/>
                <a:gd name="connsiteX711" fmla="*/ 64262 w 1906136"/>
                <a:gd name="connsiteY711" fmla="*/ 215449 h 2468044"/>
                <a:gd name="connsiteX712" fmla="*/ 58985 w 1906136"/>
                <a:gd name="connsiteY712" fmla="*/ 211103 h 2468044"/>
                <a:gd name="connsiteX713" fmla="*/ 53707 w 1906136"/>
                <a:gd name="connsiteY713" fmla="*/ 205826 h 2468044"/>
                <a:gd name="connsiteX714" fmla="*/ 49671 w 1906136"/>
                <a:gd name="connsiteY714" fmla="*/ 205826 h 2468044"/>
                <a:gd name="connsiteX715" fmla="*/ 48740 w 1906136"/>
                <a:gd name="connsiteY715" fmla="*/ 205826 h 2468044"/>
                <a:gd name="connsiteX716" fmla="*/ 46567 w 1906136"/>
                <a:gd name="connsiteY716" fmla="*/ 207999 h 2468044"/>
                <a:gd name="connsiteX717" fmla="*/ 44394 w 1906136"/>
                <a:gd name="connsiteY717" fmla="*/ 207999 h 2468044"/>
                <a:gd name="connsiteX718" fmla="*/ 43462 w 1906136"/>
                <a:gd name="connsiteY718" fmla="*/ 210172 h 2468044"/>
                <a:gd name="connsiteX719" fmla="*/ 26698 w 1906136"/>
                <a:gd name="connsiteY719" fmla="*/ 210172 h 2468044"/>
                <a:gd name="connsiteX720" fmla="*/ 28871 w 1906136"/>
                <a:gd name="connsiteY720" fmla="*/ 213276 h 2468044"/>
                <a:gd name="connsiteX721" fmla="*/ 28871 w 1906136"/>
                <a:gd name="connsiteY721" fmla="*/ 215449 h 2468044"/>
                <a:gd name="connsiteX722" fmla="*/ 29803 w 1906136"/>
                <a:gd name="connsiteY722" fmla="*/ 217623 h 2468044"/>
                <a:gd name="connsiteX723" fmla="*/ 26698 w 1906136"/>
                <a:gd name="connsiteY723" fmla="*/ 220727 h 2468044"/>
                <a:gd name="connsiteX724" fmla="*/ 22663 w 1906136"/>
                <a:gd name="connsiteY724" fmla="*/ 225073 h 2468044"/>
                <a:gd name="connsiteX725" fmla="*/ 19558 w 1906136"/>
                <a:gd name="connsiteY725" fmla="*/ 225073 h 2468044"/>
                <a:gd name="connsiteX726" fmla="*/ 15522 w 1906136"/>
                <a:gd name="connsiteY726" fmla="*/ 226005 h 2468044"/>
                <a:gd name="connsiteX727" fmla="*/ 10245 w 1906136"/>
                <a:gd name="connsiteY727" fmla="*/ 228178 h 2468044"/>
                <a:gd name="connsiteX728" fmla="*/ 7140 w 1906136"/>
                <a:gd name="connsiteY728" fmla="*/ 230351 h 2468044"/>
                <a:gd name="connsiteX729" fmla="*/ 0 w 1906136"/>
                <a:gd name="connsiteY729" fmla="*/ 230351 h 2468044"/>
                <a:gd name="connsiteX730" fmla="*/ 3104 w 1906136"/>
                <a:gd name="connsiteY730" fmla="*/ 257670 h 2468044"/>
                <a:gd name="connsiteX731" fmla="*/ 17695 w 1906136"/>
                <a:gd name="connsiteY731" fmla="*/ 265121 h 2468044"/>
                <a:gd name="connsiteX732" fmla="*/ 36322 w 1906136"/>
                <a:gd name="connsiteY732" fmla="*/ 268225 h 2468044"/>
                <a:gd name="connsiteX733" fmla="*/ 51844 w 1906136"/>
                <a:gd name="connsiteY733" fmla="*/ 274434 h 2468044"/>
                <a:gd name="connsiteX734" fmla="*/ 63331 w 1906136"/>
                <a:gd name="connsiteY734" fmla="*/ 277539 h 2468044"/>
                <a:gd name="connsiteX735" fmla="*/ 68609 w 1906136"/>
                <a:gd name="connsiteY735" fmla="*/ 277539 h 2468044"/>
                <a:gd name="connsiteX736" fmla="*/ 71713 w 1906136"/>
                <a:gd name="connsiteY736" fmla="*/ 275365 h 2468044"/>
                <a:gd name="connsiteX737" fmla="*/ 75749 w 1906136"/>
                <a:gd name="connsiteY737" fmla="*/ 274434 h 2468044"/>
                <a:gd name="connsiteX738" fmla="*/ 77922 w 1906136"/>
                <a:gd name="connsiteY738" fmla="*/ 272261 h 2468044"/>
                <a:gd name="connsiteX739" fmla="*/ 78853 w 1906136"/>
                <a:gd name="connsiteY739" fmla="*/ 270088 h 2468044"/>
                <a:gd name="connsiteX740" fmla="*/ 82889 w 1906136"/>
                <a:gd name="connsiteY740" fmla="*/ 266983 h 2468044"/>
                <a:gd name="connsiteX741" fmla="*/ 97790 w 1906136"/>
                <a:gd name="connsiteY741" fmla="*/ 266983 h 2468044"/>
                <a:gd name="connsiteX742" fmla="*/ 95617 w 1906136"/>
                <a:gd name="connsiteY742" fmla="*/ 267915 h 2468044"/>
                <a:gd name="connsiteX743" fmla="*/ 95617 w 1906136"/>
                <a:gd name="connsiteY743" fmla="*/ 270088 h 2468044"/>
                <a:gd name="connsiteX744" fmla="*/ 95617 w 1906136"/>
                <a:gd name="connsiteY744" fmla="*/ 272261 h 2468044"/>
                <a:gd name="connsiteX745" fmla="*/ 93444 w 1906136"/>
                <a:gd name="connsiteY745" fmla="*/ 272261 h 2468044"/>
                <a:gd name="connsiteX746" fmla="*/ 91271 w 1906136"/>
                <a:gd name="connsiteY746" fmla="*/ 274434 h 2468044"/>
                <a:gd name="connsiteX747" fmla="*/ 91271 w 1906136"/>
                <a:gd name="connsiteY747" fmla="*/ 292440 h 2468044"/>
                <a:gd name="connsiteX748" fmla="*/ 85993 w 1906136"/>
                <a:gd name="connsiteY748" fmla="*/ 303926 h 2468044"/>
                <a:gd name="connsiteX749" fmla="*/ 78853 w 1906136"/>
                <a:gd name="connsiteY749" fmla="*/ 311377 h 2468044"/>
                <a:gd name="connsiteX750" fmla="*/ 68298 w 1906136"/>
                <a:gd name="connsiteY750" fmla="*/ 316655 h 2468044"/>
                <a:gd name="connsiteX751" fmla="*/ 56812 w 1906136"/>
                <a:gd name="connsiteY751" fmla="*/ 319759 h 2468044"/>
                <a:gd name="connsiteX752" fmla="*/ 44394 w 1906136"/>
                <a:gd name="connsiteY752" fmla="*/ 327210 h 2468044"/>
                <a:gd name="connsiteX753" fmla="*/ 37253 w 1906136"/>
                <a:gd name="connsiteY753" fmla="*/ 336523 h 2468044"/>
                <a:gd name="connsiteX754" fmla="*/ 31976 w 1906136"/>
                <a:gd name="connsiteY754" fmla="*/ 347078 h 2468044"/>
                <a:gd name="connsiteX755" fmla="*/ 26698 w 1906136"/>
                <a:gd name="connsiteY755" fmla="*/ 360738 h 2468044"/>
                <a:gd name="connsiteX756" fmla="*/ 20489 w 1906136"/>
                <a:gd name="connsiteY756" fmla="*/ 371293 h 2468044"/>
                <a:gd name="connsiteX757" fmla="*/ 31976 w 1906136"/>
                <a:gd name="connsiteY757" fmla="*/ 391162 h 2468044"/>
                <a:gd name="connsiteX758" fmla="*/ 46567 w 1906136"/>
                <a:gd name="connsiteY758" fmla="*/ 410099 h 2468044"/>
                <a:gd name="connsiteX759" fmla="*/ 64262 w 1906136"/>
                <a:gd name="connsiteY759" fmla="*/ 422827 h 2468044"/>
                <a:gd name="connsiteX760" fmla="*/ 66435 w 1906136"/>
                <a:gd name="connsiteY760" fmla="*/ 425000 h 2468044"/>
                <a:gd name="connsiteX761" fmla="*/ 69540 w 1906136"/>
                <a:gd name="connsiteY761" fmla="*/ 425000 h 2468044"/>
                <a:gd name="connsiteX762" fmla="*/ 71713 w 1906136"/>
                <a:gd name="connsiteY762" fmla="*/ 425000 h 2468044"/>
                <a:gd name="connsiteX763" fmla="*/ 73886 w 1906136"/>
                <a:gd name="connsiteY763" fmla="*/ 422827 h 2468044"/>
                <a:gd name="connsiteX764" fmla="*/ 76991 w 1906136"/>
                <a:gd name="connsiteY764" fmla="*/ 419723 h 2468044"/>
                <a:gd name="connsiteX765" fmla="*/ 81026 w 1906136"/>
                <a:gd name="connsiteY765" fmla="*/ 430278 h 2468044"/>
                <a:gd name="connsiteX766" fmla="*/ 86304 w 1906136"/>
                <a:gd name="connsiteY766" fmla="*/ 444869 h 2468044"/>
                <a:gd name="connsiteX767" fmla="*/ 88477 w 1906136"/>
                <a:gd name="connsiteY767" fmla="*/ 455424 h 2468044"/>
                <a:gd name="connsiteX768" fmla="*/ 93755 w 1906136"/>
                <a:gd name="connsiteY768" fmla="*/ 455424 h 2468044"/>
                <a:gd name="connsiteX769" fmla="*/ 97790 w 1906136"/>
                <a:gd name="connsiteY769" fmla="*/ 455734 h 2468044"/>
                <a:gd name="connsiteX770" fmla="*/ 98722 w 1906136"/>
                <a:gd name="connsiteY770" fmla="*/ 455734 h 2468044"/>
                <a:gd name="connsiteX771" fmla="*/ 100895 w 1906136"/>
                <a:gd name="connsiteY771" fmla="*/ 453561 h 2468044"/>
                <a:gd name="connsiteX772" fmla="*/ 103068 w 1906136"/>
                <a:gd name="connsiteY772" fmla="*/ 451388 h 2468044"/>
                <a:gd name="connsiteX773" fmla="*/ 105241 w 1906136"/>
                <a:gd name="connsiteY773" fmla="*/ 449215 h 2468044"/>
                <a:gd name="connsiteX774" fmla="*/ 108346 w 1906136"/>
                <a:gd name="connsiteY774" fmla="*/ 451388 h 2468044"/>
                <a:gd name="connsiteX775" fmla="*/ 110208 w 1906136"/>
                <a:gd name="connsiteY775" fmla="*/ 451388 h 2468044"/>
                <a:gd name="connsiteX776" fmla="*/ 112381 w 1906136"/>
                <a:gd name="connsiteY776" fmla="*/ 453561 h 2468044"/>
                <a:gd name="connsiteX777" fmla="*/ 112381 w 1906136"/>
                <a:gd name="connsiteY777" fmla="*/ 456666 h 2468044"/>
                <a:gd name="connsiteX778" fmla="*/ 112381 w 1906136"/>
                <a:gd name="connsiteY778" fmla="*/ 461012 h 2468044"/>
                <a:gd name="connsiteX779" fmla="*/ 124799 w 1906136"/>
                <a:gd name="connsiteY779" fmla="*/ 456666 h 2468044"/>
                <a:gd name="connsiteX780" fmla="*/ 134113 w 1906136"/>
                <a:gd name="connsiteY780" fmla="*/ 453561 h 2468044"/>
                <a:gd name="connsiteX781" fmla="*/ 147772 w 1906136"/>
                <a:gd name="connsiteY781" fmla="*/ 449215 h 2468044"/>
                <a:gd name="connsiteX782" fmla="*/ 144668 w 1906136"/>
                <a:gd name="connsiteY782" fmla="*/ 471257 h 2468044"/>
                <a:gd name="connsiteX783" fmla="*/ 135354 w 1906136"/>
                <a:gd name="connsiteY783" fmla="*/ 488021 h 2468044"/>
                <a:gd name="connsiteX784" fmla="*/ 122937 w 1906136"/>
                <a:gd name="connsiteY784" fmla="*/ 502612 h 2468044"/>
                <a:gd name="connsiteX785" fmla="*/ 106172 w 1906136"/>
                <a:gd name="connsiteY785" fmla="*/ 515340 h 2468044"/>
                <a:gd name="connsiteX786" fmla="*/ 88477 w 1906136"/>
                <a:gd name="connsiteY786" fmla="*/ 527137 h 2468044"/>
                <a:gd name="connsiteX787" fmla="*/ 69850 w 1906136"/>
                <a:gd name="connsiteY787" fmla="*/ 537692 h 2468044"/>
                <a:gd name="connsiteX788" fmla="*/ 54328 w 1906136"/>
                <a:gd name="connsiteY788" fmla="*/ 549179 h 2468044"/>
                <a:gd name="connsiteX789" fmla="*/ 41910 w 1906136"/>
                <a:gd name="connsiteY789" fmla="*/ 561907 h 2468044"/>
                <a:gd name="connsiteX790" fmla="*/ 37874 w 1906136"/>
                <a:gd name="connsiteY790" fmla="*/ 561907 h 2468044"/>
                <a:gd name="connsiteX791" fmla="*/ 37874 w 1906136"/>
                <a:gd name="connsiteY791" fmla="*/ 565011 h 2468044"/>
                <a:gd name="connsiteX792" fmla="*/ 48430 w 1906136"/>
                <a:gd name="connsiteY792" fmla="*/ 561907 h 2468044"/>
                <a:gd name="connsiteX793" fmla="*/ 65194 w 1906136"/>
                <a:gd name="connsiteY793" fmla="*/ 554456 h 2468044"/>
                <a:gd name="connsiteX794" fmla="*/ 86925 w 1906136"/>
                <a:gd name="connsiteY794" fmla="*/ 543901 h 2468044"/>
                <a:gd name="connsiteX795" fmla="*/ 108656 w 1906136"/>
                <a:gd name="connsiteY795" fmla="*/ 530241 h 2468044"/>
                <a:gd name="connsiteX796" fmla="*/ 130387 w 1906136"/>
                <a:gd name="connsiteY796" fmla="*/ 515650 h 2468044"/>
                <a:gd name="connsiteX797" fmla="*/ 152118 w 1906136"/>
                <a:gd name="connsiteY797" fmla="*/ 502922 h 2468044"/>
                <a:gd name="connsiteX798" fmla="*/ 169814 w 1906136"/>
                <a:gd name="connsiteY798" fmla="*/ 492367 h 2468044"/>
                <a:gd name="connsiteX799" fmla="*/ 184405 w 1906136"/>
                <a:gd name="connsiteY799" fmla="*/ 480881 h 2468044"/>
                <a:gd name="connsiteX800" fmla="*/ 191545 w 1906136"/>
                <a:gd name="connsiteY800" fmla="*/ 473430 h 2468044"/>
                <a:gd name="connsiteX801" fmla="*/ 203032 w 1906136"/>
                <a:gd name="connsiteY801" fmla="*/ 456666 h 2468044"/>
                <a:gd name="connsiteX802" fmla="*/ 210172 w 1906136"/>
                <a:gd name="connsiteY802" fmla="*/ 438660 h 2468044"/>
                <a:gd name="connsiteX803" fmla="*/ 215449 w 1906136"/>
                <a:gd name="connsiteY803" fmla="*/ 421896 h 2468044"/>
                <a:gd name="connsiteX804" fmla="*/ 222590 w 1906136"/>
                <a:gd name="connsiteY804" fmla="*/ 406063 h 2468044"/>
                <a:gd name="connsiteX805" fmla="*/ 234076 w 1906136"/>
                <a:gd name="connsiteY805" fmla="*/ 391472 h 2468044"/>
                <a:gd name="connsiteX806" fmla="*/ 247736 w 1906136"/>
                <a:gd name="connsiteY806" fmla="*/ 379986 h 2468044"/>
                <a:gd name="connsiteX807" fmla="*/ 247736 w 1906136"/>
                <a:gd name="connsiteY807" fmla="*/ 376881 h 2468044"/>
                <a:gd name="connsiteX808" fmla="*/ 257049 w 1906136"/>
                <a:gd name="connsiteY808" fmla="*/ 376881 h 2468044"/>
                <a:gd name="connsiteX809" fmla="*/ 247736 w 1906136"/>
                <a:gd name="connsiteY809" fmla="*/ 392714 h 2468044"/>
                <a:gd name="connsiteX810" fmla="*/ 237181 w 1906136"/>
                <a:gd name="connsiteY810" fmla="*/ 407305 h 2468044"/>
                <a:gd name="connsiteX811" fmla="*/ 230040 w 1906136"/>
                <a:gd name="connsiteY811" fmla="*/ 424069 h 2468044"/>
                <a:gd name="connsiteX812" fmla="*/ 224763 w 1906136"/>
                <a:gd name="connsiteY812" fmla="*/ 440833 h 2468044"/>
                <a:gd name="connsiteX813" fmla="*/ 246494 w 1906136"/>
                <a:gd name="connsiteY813" fmla="*/ 435555 h 2468044"/>
                <a:gd name="connsiteX814" fmla="*/ 262016 w 1906136"/>
                <a:gd name="connsiteY814" fmla="*/ 426242 h 2468044"/>
                <a:gd name="connsiteX815" fmla="*/ 280643 w 1906136"/>
                <a:gd name="connsiteY815" fmla="*/ 416929 h 2468044"/>
                <a:gd name="connsiteX816" fmla="*/ 280643 w 1906136"/>
                <a:gd name="connsiteY816" fmla="*/ 392714 h 2468044"/>
                <a:gd name="connsiteX817" fmla="*/ 297407 w 1906136"/>
                <a:gd name="connsiteY817" fmla="*/ 394887 h 2468044"/>
                <a:gd name="connsiteX818" fmla="*/ 307962 w 1906136"/>
                <a:gd name="connsiteY818" fmla="*/ 400165 h 2468044"/>
                <a:gd name="connsiteX819" fmla="*/ 317276 w 1906136"/>
                <a:gd name="connsiteY819" fmla="*/ 407615 h 2468044"/>
                <a:gd name="connsiteX820" fmla="*/ 327831 w 1906136"/>
                <a:gd name="connsiteY820" fmla="*/ 413824 h 2468044"/>
                <a:gd name="connsiteX821" fmla="*/ 361048 w 1906136"/>
                <a:gd name="connsiteY821" fmla="*/ 413824 h 2468044"/>
                <a:gd name="connsiteX822" fmla="*/ 376571 w 1906136"/>
                <a:gd name="connsiteY822" fmla="*/ 422206 h 2468044"/>
                <a:gd name="connsiteX823" fmla="*/ 393335 w 1906136"/>
                <a:gd name="connsiteY823" fmla="*/ 436797 h 2468044"/>
                <a:gd name="connsiteX824" fmla="*/ 407926 w 1906136"/>
                <a:gd name="connsiteY824" fmla="*/ 449526 h 2468044"/>
                <a:gd name="connsiteX825" fmla="*/ 427794 w 1906136"/>
                <a:gd name="connsiteY825" fmla="*/ 458839 h 2468044"/>
                <a:gd name="connsiteX826" fmla="*/ 451699 w 1906136"/>
                <a:gd name="connsiteY826" fmla="*/ 464117 h 2468044"/>
                <a:gd name="connsiteX827" fmla="*/ 471567 w 1906136"/>
                <a:gd name="connsiteY827" fmla="*/ 473430 h 2468044"/>
                <a:gd name="connsiteX828" fmla="*/ 486158 w 1906136"/>
                <a:gd name="connsiteY828" fmla="*/ 486158 h 2468044"/>
                <a:gd name="connsiteX829" fmla="*/ 498576 w 1906136"/>
                <a:gd name="connsiteY829" fmla="*/ 502922 h 2468044"/>
                <a:gd name="connsiteX830" fmla="*/ 507889 w 1906136"/>
                <a:gd name="connsiteY830" fmla="*/ 519686 h 2468044"/>
                <a:gd name="connsiteX831" fmla="*/ 519376 w 1906136"/>
                <a:gd name="connsiteY831" fmla="*/ 536450 h 2468044"/>
                <a:gd name="connsiteX832" fmla="*/ 531794 w 1906136"/>
                <a:gd name="connsiteY832" fmla="*/ 550110 h 2468044"/>
                <a:gd name="connsiteX833" fmla="*/ 527758 w 1906136"/>
                <a:gd name="connsiteY833" fmla="*/ 574325 h 2468044"/>
                <a:gd name="connsiteX834" fmla="*/ 539244 w 1906136"/>
                <a:gd name="connsiteY834" fmla="*/ 579602 h 2468044"/>
                <a:gd name="connsiteX835" fmla="*/ 546385 w 1906136"/>
                <a:gd name="connsiteY835" fmla="*/ 588916 h 2468044"/>
                <a:gd name="connsiteX836" fmla="*/ 551662 w 1906136"/>
                <a:gd name="connsiteY836" fmla="*/ 600402 h 2468044"/>
                <a:gd name="connsiteX837" fmla="*/ 554767 w 1906136"/>
                <a:gd name="connsiteY837" fmla="*/ 613131 h 2468044"/>
                <a:gd name="connsiteX838" fmla="*/ 560976 w 1906136"/>
                <a:gd name="connsiteY838" fmla="*/ 625859 h 2468044"/>
                <a:gd name="connsiteX839" fmla="*/ 568116 w 1906136"/>
                <a:gd name="connsiteY839" fmla="*/ 637345 h 2468044"/>
                <a:gd name="connsiteX840" fmla="*/ 576498 w 1906136"/>
                <a:gd name="connsiteY840" fmla="*/ 645727 h 2468044"/>
                <a:gd name="connsiteX841" fmla="*/ 591089 w 1906136"/>
                <a:gd name="connsiteY841" fmla="*/ 651005 h 2468044"/>
                <a:gd name="connsiteX842" fmla="*/ 587984 w 1906136"/>
                <a:gd name="connsiteY842" fmla="*/ 653178 h 2468044"/>
                <a:gd name="connsiteX843" fmla="*/ 583949 w 1906136"/>
                <a:gd name="connsiteY843" fmla="*/ 653178 h 2468044"/>
                <a:gd name="connsiteX844" fmla="*/ 580844 w 1906136"/>
                <a:gd name="connsiteY844" fmla="*/ 653178 h 2468044"/>
                <a:gd name="connsiteX845" fmla="*/ 576808 w 1906136"/>
                <a:gd name="connsiteY845" fmla="*/ 651005 h 2468044"/>
                <a:gd name="connsiteX846" fmla="*/ 568426 w 1906136"/>
                <a:gd name="connsiteY846" fmla="*/ 651005 h 2468044"/>
                <a:gd name="connsiteX847" fmla="*/ 576808 w 1906136"/>
                <a:gd name="connsiteY847" fmla="*/ 669942 h 2468044"/>
                <a:gd name="connsiteX848" fmla="*/ 588295 w 1906136"/>
                <a:gd name="connsiteY848" fmla="*/ 686706 h 2468044"/>
                <a:gd name="connsiteX849" fmla="*/ 600713 w 1906136"/>
                <a:gd name="connsiteY849" fmla="*/ 702539 h 2468044"/>
                <a:gd name="connsiteX850" fmla="*/ 604748 w 1906136"/>
                <a:gd name="connsiteY850" fmla="*/ 704712 h 2468044"/>
                <a:gd name="connsiteX851" fmla="*/ 605680 w 1906136"/>
                <a:gd name="connsiteY851" fmla="*/ 704712 h 2468044"/>
                <a:gd name="connsiteX852" fmla="*/ 605680 w 1906136"/>
                <a:gd name="connsiteY852" fmla="*/ 706885 h 2468044"/>
                <a:gd name="connsiteX853" fmla="*/ 607853 w 1906136"/>
                <a:gd name="connsiteY853" fmla="*/ 706885 h 2468044"/>
                <a:gd name="connsiteX854" fmla="*/ 613130 w 1906136"/>
                <a:gd name="connsiteY854" fmla="*/ 706885 h 2468044"/>
                <a:gd name="connsiteX855" fmla="*/ 619339 w 1906136"/>
                <a:gd name="connsiteY855" fmla="*/ 706885 h 2468044"/>
                <a:gd name="connsiteX856" fmla="*/ 620271 w 1906136"/>
                <a:gd name="connsiteY856" fmla="*/ 704712 h 2468044"/>
                <a:gd name="connsiteX857" fmla="*/ 624306 w 1906136"/>
                <a:gd name="connsiteY857" fmla="*/ 702539 h 2468044"/>
                <a:gd name="connsiteX858" fmla="*/ 626480 w 1906136"/>
                <a:gd name="connsiteY858" fmla="*/ 701608 h 2468044"/>
                <a:gd name="connsiteX859" fmla="*/ 626480 w 1906136"/>
                <a:gd name="connsiteY859" fmla="*/ 699434 h 2468044"/>
                <a:gd name="connsiteX860" fmla="*/ 627411 w 1906136"/>
                <a:gd name="connsiteY860" fmla="*/ 699434 h 2468044"/>
                <a:gd name="connsiteX861" fmla="*/ 627411 w 1906136"/>
                <a:gd name="connsiteY861" fmla="*/ 695088 h 2468044"/>
                <a:gd name="connsiteX862" fmla="*/ 622133 w 1906136"/>
                <a:gd name="connsiteY862" fmla="*/ 687638 h 2468044"/>
                <a:gd name="connsiteX863" fmla="*/ 614993 w 1906136"/>
                <a:gd name="connsiteY863" fmla="*/ 682360 h 2468044"/>
                <a:gd name="connsiteX864" fmla="*/ 607853 w 1906136"/>
                <a:gd name="connsiteY864" fmla="*/ 677082 h 2468044"/>
                <a:gd name="connsiteX865" fmla="*/ 600713 w 1906136"/>
                <a:gd name="connsiteY865" fmla="*/ 671805 h 2468044"/>
                <a:gd name="connsiteX866" fmla="*/ 600713 w 1906136"/>
                <a:gd name="connsiteY866" fmla="*/ 662491 h 2468044"/>
                <a:gd name="connsiteX867" fmla="*/ 617477 w 1906136"/>
                <a:gd name="connsiteY867" fmla="*/ 673047 h 2468044"/>
                <a:gd name="connsiteX868" fmla="*/ 632068 w 1906136"/>
                <a:gd name="connsiteY868" fmla="*/ 687638 h 2468044"/>
                <a:gd name="connsiteX869" fmla="*/ 644485 w 1906136"/>
                <a:gd name="connsiteY869" fmla="*/ 702228 h 2468044"/>
                <a:gd name="connsiteX870" fmla="*/ 644485 w 1906136"/>
                <a:gd name="connsiteY870" fmla="*/ 723339 h 2468044"/>
                <a:gd name="connsiteX871" fmla="*/ 642312 w 1906136"/>
                <a:gd name="connsiteY871" fmla="*/ 718992 h 2468044"/>
                <a:gd name="connsiteX872" fmla="*/ 639208 w 1906136"/>
                <a:gd name="connsiteY872" fmla="*/ 715888 h 2468044"/>
                <a:gd name="connsiteX873" fmla="*/ 637035 w 1906136"/>
                <a:gd name="connsiteY873" fmla="*/ 711542 h 2468044"/>
                <a:gd name="connsiteX874" fmla="*/ 633930 w 1906136"/>
                <a:gd name="connsiteY874" fmla="*/ 709369 h 2468044"/>
                <a:gd name="connsiteX875" fmla="*/ 629894 w 1906136"/>
                <a:gd name="connsiteY875" fmla="*/ 709369 h 2468044"/>
                <a:gd name="connsiteX876" fmla="*/ 626790 w 1906136"/>
                <a:gd name="connsiteY876" fmla="*/ 709369 h 2468044"/>
                <a:gd name="connsiteX877" fmla="*/ 622754 w 1906136"/>
                <a:gd name="connsiteY877" fmla="*/ 709369 h 2468044"/>
                <a:gd name="connsiteX878" fmla="*/ 617477 w 1906136"/>
                <a:gd name="connsiteY878" fmla="*/ 711542 h 2468044"/>
                <a:gd name="connsiteX879" fmla="*/ 615304 w 1906136"/>
                <a:gd name="connsiteY879" fmla="*/ 723028 h 2468044"/>
                <a:gd name="connsiteX880" fmla="*/ 613130 w 1906136"/>
                <a:gd name="connsiteY880" fmla="*/ 741034 h 2468044"/>
                <a:gd name="connsiteX881" fmla="*/ 613130 w 1906136"/>
                <a:gd name="connsiteY881" fmla="*/ 763076 h 2468044"/>
                <a:gd name="connsiteX882" fmla="*/ 613130 w 1906136"/>
                <a:gd name="connsiteY882" fmla="*/ 787291 h 2468044"/>
                <a:gd name="connsiteX883" fmla="*/ 613130 w 1906136"/>
                <a:gd name="connsiteY883" fmla="*/ 807159 h 2468044"/>
                <a:gd name="connsiteX884" fmla="*/ 612199 w 1906136"/>
                <a:gd name="connsiteY884" fmla="*/ 821750 h 2468044"/>
                <a:gd name="connsiteX885" fmla="*/ 612199 w 1906136"/>
                <a:gd name="connsiteY885" fmla="*/ 829201 h 2468044"/>
                <a:gd name="connsiteX886" fmla="*/ 613130 w 1906136"/>
                <a:gd name="connsiteY886" fmla="*/ 859624 h 2468044"/>
                <a:gd name="connsiteX887" fmla="*/ 617166 w 1906136"/>
                <a:gd name="connsiteY887" fmla="*/ 881666 h 2468044"/>
                <a:gd name="connsiteX888" fmla="*/ 622444 w 1906136"/>
                <a:gd name="connsiteY888" fmla="*/ 898430 h 2468044"/>
                <a:gd name="connsiteX889" fmla="*/ 629584 w 1906136"/>
                <a:gd name="connsiteY889" fmla="*/ 911158 h 2468044"/>
                <a:gd name="connsiteX890" fmla="*/ 641071 w 1906136"/>
                <a:gd name="connsiteY890" fmla="*/ 922645 h 2468044"/>
                <a:gd name="connsiteX891" fmla="*/ 651626 w 1906136"/>
                <a:gd name="connsiteY891" fmla="*/ 935373 h 2468044"/>
                <a:gd name="connsiteX892" fmla="*/ 664043 w 1906136"/>
                <a:gd name="connsiteY892" fmla="*/ 953379 h 2468044"/>
                <a:gd name="connsiteX893" fmla="*/ 669321 w 1906136"/>
                <a:gd name="connsiteY893" fmla="*/ 964866 h 2468044"/>
                <a:gd name="connsiteX894" fmla="*/ 673357 w 1906136"/>
                <a:gd name="connsiteY894" fmla="*/ 975421 h 2468044"/>
                <a:gd name="connsiteX895" fmla="*/ 680497 w 1906136"/>
                <a:gd name="connsiteY895" fmla="*/ 984734 h 2468044"/>
                <a:gd name="connsiteX896" fmla="*/ 691052 w 1906136"/>
                <a:gd name="connsiteY896" fmla="*/ 992185 h 2468044"/>
                <a:gd name="connsiteX897" fmla="*/ 704712 w 1906136"/>
                <a:gd name="connsiteY897" fmla="*/ 997462 h 2468044"/>
                <a:gd name="connsiteX898" fmla="*/ 715267 w 1906136"/>
                <a:gd name="connsiteY898" fmla="*/ 1003671 h 2468044"/>
                <a:gd name="connsiteX899" fmla="*/ 724580 w 1906136"/>
                <a:gd name="connsiteY899" fmla="*/ 1014226 h 2468044"/>
                <a:gd name="connsiteX900" fmla="*/ 731721 w 1906136"/>
                <a:gd name="connsiteY900" fmla="*/ 1026955 h 2468044"/>
                <a:gd name="connsiteX901" fmla="*/ 734825 w 1906136"/>
                <a:gd name="connsiteY901" fmla="*/ 1041546 h 2468044"/>
                <a:gd name="connsiteX902" fmla="*/ 741034 w 1906136"/>
                <a:gd name="connsiteY902" fmla="*/ 1054274 h 2468044"/>
                <a:gd name="connsiteX903" fmla="*/ 747243 w 1906136"/>
                <a:gd name="connsiteY903" fmla="*/ 1065761 h 2468044"/>
                <a:gd name="connsiteX904" fmla="*/ 760903 w 1906136"/>
                <a:gd name="connsiteY904" fmla="*/ 1075074 h 2468044"/>
                <a:gd name="connsiteX905" fmla="*/ 758729 w 1906136"/>
                <a:gd name="connsiteY905" fmla="*/ 1076005 h 2468044"/>
                <a:gd name="connsiteX906" fmla="*/ 758729 w 1906136"/>
                <a:gd name="connsiteY906" fmla="*/ 1078178 h 2468044"/>
                <a:gd name="connsiteX907" fmla="*/ 758729 w 1906136"/>
                <a:gd name="connsiteY907" fmla="*/ 1080351 h 2468044"/>
                <a:gd name="connsiteX908" fmla="*/ 756556 w 1906136"/>
                <a:gd name="connsiteY908" fmla="*/ 1080351 h 2468044"/>
                <a:gd name="connsiteX909" fmla="*/ 754383 w 1906136"/>
                <a:gd name="connsiteY909" fmla="*/ 1080351 h 2468044"/>
                <a:gd name="connsiteX910" fmla="*/ 751279 w 1906136"/>
                <a:gd name="connsiteY910" fmla="*/ 1082525 h 2468044"/>
                <a:gd name="connsiteX911" fmla="*/ 760592 w 1906136"/>
                <a:gd name="connsiteY911" fmla="*/ 1095253 h 2468044"/>
                <a:gd name="connsiteX912" fmla="*/ 771147 w 1906136"/>
                <a:gd name="connsiteY912" fmla="*/ 1102704 h 2468044"/>
                <a:gd name="connsiteX913" fmla="*/ 782634 w 1906136"/>
                <a:gd name="connsiteY913" fmla="*/ 1110154 h 2468044"/>
                <a:gd name="connsiteX914" fmla="*/ 791016 w 1906136"/>
                <a:gd name="connsiteY914" fmla="*/ 1119468 h 2468044"/>
                <a:gd name="connsiteX915" fmla="*/ 797225 w 1906136"/>
                <a:gd name="connsiteY915" fmla="*/ 1130023 h 2468044"/>
                <a:gd name="connsiteX916" fmla="*/ 800329 w 1906136"/>
                <a:gd name="connsiteY916" fmla="*/ 1142751 h 2468044"/>
                <a:gd name="connsiteX917" fmla="*/ 804365 w 1906136"/>
                <a:gd name="connsiteY917" fmla="*/ 1155479 h 2468044"/>
                <a:gd name="connsiteX918" fmla="*/ 809643 w 1906136"/>
                <a:gd name="connsiteY918" fmla="*/ 1155479 h 2468044"/>
                <a:gd name="connsiteX919" fmla="*/ 811816 w 1906136"/>
                <a:gd name="connsiteY919" fmla="*/ 1155479 h 2468044"/>
                <a:gd name="connsiteX920" fmla="*/ 812747 w 1906136"/>
                <a:gd name="connsiteY920" fmla="*/ 1155479 h 2468044"/>
                <a:gd name="connsiteX921" fmla="*/ 814920 w 1906136"/>
                <a:gd name="connsiteY921" fmla="*/ 1155479 h 2468044"/>
                <a:gd name="connsiteX922" fmla="*/ 817093 w 1906136"/>
                <a:gd name="connsiteY922" fmla="*/ 1155479 h 2468044"/>
                <a:gd name="connsiteX923" fmla="*/ 820198 w 1906136"/>
                <a:gd name="connsiteY923" fmla="*/ 1155479 h 2468044"/>
                <a:gd name="connsiteX924" fmla="*/ 822371 w 1906136"/>
                <a:gd name="connsiteY924" fmla="*/ 1159826 h 2468044"/>
                <a:gd name="connsiteX925" fmla="*/ 822371 w 1906136"/>
                <a:gd name="connsiteY925" fmla="*/ 1162930 h 2468044"/>
                <a:gd name="connsiteX926" fmla="*/ 824544 w 1906136"/>
                <a:gd name="connsiteY926" fmla="*/ 1169139 h 2468044"/>
                <a:gd name="connsiteX927" fmla="*/ 824544 w 1906136"/>
                <a:gd name="connsiteY927" fmla="*/ 1176590 h 2468044"/>
                <a:gd name="connsiteX928" fmla="*/ 827648 w 1906136"/>
                <a:gd name="connsiteY928" fmla="*/ 1174417 h 2468044"/>
                <a:gd name="connsiteX929" fmla="*/ 827648 w 1906136"/>
                <a:gd name="connsiteY929" fmla="*/ 1172243 h 2468044"/>
                <a:gd name="connsiteX930" fmla="*/ 829822 w 1906136"/>
                <a:gd name="connsiteY930" fmla="*/ 1170070 h 2468044"/>
                <a:gd name="connsiteX931" fmla="*/ 831995 w 1906136"/>
                <a:gd name="connsiteY931" fmla="*/ 1166966 h 2468044"/>
                <a:gd name="connsiteX932" fmla="*/ 831995 w 1906136"/>
                <a:gd name="connsiteY932" fmla="*/ 1159515 h 2468044"/>
                <a:gd name="connsiteX933" fmla="*/ 827959 w 1906136"/>
                <a:gd name="connsiteY933" fmla="*/ 1148960 h 2468044"/>
                <a:gd name="connsiteX934" fmla="*/ 819577 w 1906136"/>
                <a:gd name="connsiteY934" fmla="*/ 1132196 h 2468044"/>
                <a:gd name="connsiteX935" fmla="*/ 808090 w 1906136"/>
                <a:gd name="connsiteY935" fmla="*/ 1113259 h 2468044"/>
                <a:gd name="connsiteX936" fmla="*/ 797535 w 1906136"/>
                <a:gd name="connsiteY936" fmla="*/ 1095253 h 2468044"/>
                <a:gd name="connsiteX937" fmla="*/ 783876 w 1906136"/>
                <a:gd name="connsiteY937" fmla="*/ 1076316 h 2468044"/>
                <a:gd name="connsiteX938" fmla="*/ 773320 w 1906136"/>
                <a:gd name="connsiteY938" fmla="*/ 1061725 h 2468044"/>
                <a:gd name="connsiteX939" fmla="*/ 761834 w 1906136"/>
                <a:gd name="connsiteY939" fmla="*/ 1048996 h 2468044"/>
                <a:gd name="connsiteX940" fmla="*/ 756556 w 1906136"/>
                <a:gd name="connsiteY940" fmla="*/ 1041546 h 2468044"/>
                <a:gd name="connsiteX941" fmla="*/ 756556 w 1906136"/>
                <a:gd name="connsiteY941" fmla="*/ 1021677 h 2468044"/>
                <a:gd name="connsiteX942" fmla="*/ 760592 w 1906136"/>
                <a:gd name="connsiteY942" fmla="*/ 1023850 h 2468044"/>
                <a:gd name="connsiteX943" fmla="*/ 763697 w 1906136"/>
                <a:gd name="connsiteY943" fmla="*/ 1026955 h 2468044"/>
                <a:gd name="connsiteX944" fmla="*/ 767732 w 1906136"/>
                <a:gd name="connsiteY944" fmla="*/ 1031301 h 2468044"/>
                <a:gd name="connsiteX945" fmla="*/ 776114 w 1906136"/>
                <a:gd name="connsiteY945" fmla="*/ 1036578 h 2468044"/>
                <a:gd name="connsiteX946" fmla="*/ 782323 w 1906136"/>
                <a:gd name="connsiteY946" fmla="*/ 1048065 h 2468044"/>
                <a:gd name="connsiteX947" fmla="*/ 785428 w 1906136"/>
                <a:gd name="connsiteY947" fmla="*/ 1058620 h 2468044"/>
                <a:gd name="connsiteX948" fmla="*/ 789464 w 1906136"/>
                <a:gd name="connsiteY948" fmla="*/ 1069175 h 2468044"/>
                <a:gd name="connsiteX949" fmla="*/ 796604 w 1906136"/>
                <a:gd name="connsiteY949" fmla="*/ 1078489 h 2468044"/>
                <a:gd name="connsiteX950" fmla="*/ 797535 w 1906136"/>
                <a:gd name="connsiteY950" fmla="*/ 1080662 h 2468044"/>
                <a:gd name="connsiteX951" fmla="*/ 803744 w 1906136"/>
                <a:gd name="connsiteY951" fmla="*/ 1082835 h 2468044"/>
                <a:gd name="connsiteX952" fmla="*/ 806849 w 1906136"/>
                <a:gd name="connsiteY952" fmla="*/ 1082835 h 2468044"/>
                <a:gd name="connsiteX953" fmla="*/ 812126 w 1906136"/>
                <a:gd name="connsiteY953" fmla="*/ 1083766 h 2468044"/>
                <a:gd name="connsiteX954" fmla="*/ 816162 w 1906136"/>
                <a:gd name="connsiteY954" fmla="*/ 1085939 h 2468044"/>
                <a:gd name="connsiteX955" fmla="*/ 833857 w 1906136"/>
                <a:gd name="connsiteY955" fmla="*/ 1112327 h 2468044"/>
                <a:gd name="connsiteX956" fmla="*/ 852484 w 1906136"/>
                <a:gd name="connsiteY956" fmla="*/ 1137473 h 2468044"/>
                <a:gd name="connsiteX957" fmla="*/ 870179 w 1906136"/>
                <a:gd name="connsiteY957" fmla="*/ 1161688 h 2468044"/>
                <a:gd name="connsiteX958" fmla="*/ 890048 w 1906136"/>
                <a:gd name="connsiteY958" fmla="*/ 1183730 h 2468044"/>
                <a:gd name="connsiteX959" fmla="*/ 882908 w 1906136"/>
                <a:gd name="connsiteY959" fmla="*/ 1206703 h 2468044"/>
                <a:gd name="connsiteX960" fmla="*/ 886944 w 1906136"/>
                <a:gd name="connsiteY960" fmla="*/ 1211049 h 2468044"/>
                <a:gd name="connsiteX961" fmla="*/ 894084 w 1906136"/>
                <a:gd name="connsiteY961" fmla="*/ 1218500 h 2468044"/>
                <a:gd name="connsiteX962" fmla="*/ 901224 w 1906136"/>
                <a:gd name="connsiteY962" fmla="*/ 1227813 h 2468044"/>
                <a:gd name="connsiteX963" fmla="*/ 910537 w 1906136"/>
                <a:gd name="connsiteY963" fmla="*/ 1235264 h 2468044"/>
                <a:gd name="connsiteX964" fmla="*/ 915815 w 1906136"/>
                <a:gd name="connsiteY964" fmla="*/ 1242715 h 2468044"/>
                <a:gd name="connsiteX965" fmla="*/ 918919 w 1906136"/>
                <a:gd name="connsiteY965" fmla="*/ 1243646 h 2468044"/>
                <a:gd name="connsiteX966" fmla="*/ 939719 w 1906136"/>
                <a:gd name="connsiteY966" fmla="*/ 1240541 h 2468044"/>
                <a:gd name="connsiteX967" fmla="*/ 940651 w 1906136"/>
                <a:gd name="connsiteY967" fmla="*/ 1242715 h 2468044"/>
                <a:gd name="connsiteX968" fmla="*/ 944686 w 1906136"/>
                <a:gd name="connsiteY968" fmla="*/ 1245819 h 2468044"/>
                <a:gd name="connsiteX969" fmla="*/ 947791 w 1906136"/>
                <a:gd name="connsiteY969" fmla="*/ 1250165 h 2468044"/>
                <a:gd name="connsiteX970" fmla="*/ 951827 w 1906136"/>
                <a:gd name="connsiteY970" fmla="*/ 1253270 h 2468044"/>
                <a:gd name="connsiteX971" fmla="*/ 954931 w 1906136"/>
                <a:gd name="connsiteY971" fmla="*/ 1256374 h 2468044"/>
                <a:gd name="connsiteX972" fmla="*/ 978835 w 1906136"/>
                <a:gd name="connsiteY972" fmla="*/ 1260720 h 2468044"/>
                <a:gd name="connsiteX973" fmla="*/ 981940 w 1906136"/>
                <a:gd name="connsiteY973" fmla="*/ 1262894 h 2468044"/>
                <a:gd name="connsiteX974" fmla="*/ 985976 w 1906136"/>
                <a:gd name="connsiteY974" fmla="*/ 1265998 h 2468044"/>
                <a:gd name="connsiteX975" fmla="*/ 991253 w 1906136"/>
                <a:gd name="connsiteY975" fmla="*/ 1271276 h 2468044"/>
                <a:gd name="connsiteX976" fmla="*/ 995289 w 1906136"/>
                <a:gd name="connsiteY976" fmla="*/ 1275622 h 2468044"/>
                <a:gd name="connsiteX977" fmla="*/ 998394 w 1906136"/>
                <a:gd name="connsiteY977" fmla="*/ 1278726 h 2468044"/>
                <a:gd name="connsiteX978" fmla="*/ 1002429 w 1906136"/>
                <a:gd name="connsiteY978" fmla="*/ 1280899 h 2468044"/>
                <a:gd name="connsiteX979" fmla="*/ 1010811 w 1906136"/>
                <a:gd name="connsiteY979" fmla="*/ 1283073 h 2468044"/>
                <a:gd name="connsiteX980" fmla="*/ 1017952 w 1906136"/>
                <a:gd name="connsiteY980" fmla="*/ 1278726 h 2468044"/>
                <a:gd name="connsiteX981" fmla="*/ 1024161 w 1906136"/>
                <a:gd name="connsiteY981" fmla="*/ 1275622 h 2468044"/>
                <a:gd name="connsiteX982" fmla="*/ 1031301 w 1906136"/>
                <a:gd name="connsiteY982" fmla="*/ 1271276 h 2468044"/>
                <a:gd name="connsiteX983" fmla="*/ 1041856 w 1906136"/>
                <a:gd name="connsiteY983" fmla="*/ 1271276 h 2468044"/>
                <a:gd name="connsiteX984" fmla="*/ 1058620 w 1906136"/>
                <a:gd name="connsiteY984" fmla="*/ 1278726 h 2468044"/>
                <a:gd name="connsiteX985" fmla="*/ 1069175 w 1906136"/>
                <a:gd name="connsiteY985" fmla="*/ 1288040 h 2468044"/>
                <a:gd name="connsiteX986" fmla="*/ 1081593 w 1906136"/>
                <a:gd name="connsiteY986" fmla="*/ 1297353 h 2468044"/>
                <a:gd name="connsiteX987" fmla="*/ 1102393 w 1906136"/>
                <a:gd name="connsiteY987" fmla="*/ 1304804 h 2468044"/>
                <a:gd name="connsiteX988" fmla="*/ 1117915 w 1906136"/>
                <a:gd name="connsiteY988" fmla="*/ 1310081 h 2468044"/>
                <a:gd name="connsiteX989" fmla="*/ 1132506 w 1906136"/>
                <a:gd name="connsiteY989" fmla="*/ 1314428 h 2468044"/>
                <a:gd name="connsiteX990" fmla="*/ 1141820 w 1906136"/>
                <a:gd name="connsiteY990" fmla="*/ 1317532 h 2468044"/>
                <a:gd name="connsiteX991" fmla="*/ 1151133 w 1906136"/>
                <a:gd name="connsiteY991" fmla="*/ 1326845 h 2468044"/>
                <a:gd name="connsiteX992" fmla="*/ 1159515 w 1906136"/>
                <a:gd name="connsiteY992" fmla="*/ 1339574 h 2468044"/>
                <a:gd name="connsiteX993" fmla="*/ 1168828 w 1906136"/>
                <a:gd name="connsiteY993" fmla="*/ 1361615 h 2468044"/>
                <a:gd name="connsiteX994" fmla="*/ 1180315 w 1906136"/>
                <a:gd name="connsiteY994" fmla="*/ 1364720 h 2468044"/>
                <a:gd name="connsiteX995" fmla="*/ 1195837 w 1906136"/>
                <a:gd name="connsiteY995" fmla="*/ 1372171 h 2468044"/>
                <a:gd name="connsiteX996" fmla="*/ 1212601 w 1906136"/>
                <a:gd name="connsiteY996" fmla="*/ 1381484 h 2468044"/>
                <a:gd name="connsiteX997" fmla="*/ 1229365 w 1906136"/>
                <a:gd name="connsiteY997" fmla="*/ 1390797 h 2468044"/>
                <a:gd name="connsiteX998" fmla="*/ 1238679 w 1906136"/>
                <a:gd name="connsiteY998" fmla="*/ 1398248 h 2468044"/>
                <a:gd name="connsiteX999" fmla="*/ 1241783 w 1906136"/>
                <a:gd name="connsiteY999" fmla="*/ 1396075 h 2468044"/>
                <a:gd name="connsiteX1000" fmla="*/ 1243956 w 1906136"/>
                <a:gd name="connsiteY1000" fmla="*/ 1396075 h 2468044"/>
                <a:gd name="connsiteX1001" fmla="*/ 1244888 w 1906136"/>
                <a:gd name="connsiteY1001" fmla="*/ 1396075 h 2468044"/>
                <a:gd name="connsiteX1002" fmla="*/ 1247061 w 1906136"/>
                <a:gd name="connsiteY1002" fmla="*/ 1393902 h 2468044"/>
                <a:gd name="connsiteX1003" fmla="*/ 1249234 w 1906136"/>
                <a:gd name="connsiteY1003" fmla="*/ 1393902 h 2468044"/>
                <a:gd name="connsiteX1004" fmla="*/ 1251407 w 1906136"/>
                <a:gd name="connsiteY1004" fmla="*/ 1390797 h 2468044"/>
                <a:gd name="connsiteX1005" fmla="*/ 1251407 w 1906136"/>
                <a:gd name="connsiteY1005" fmla="*/ 1388624 h 2468044"/>
                <a:gd name="connsiteX1006" fmla="*/ 1251407 w 1906136"/>
                <a:gd name="connsiteY1006" fmla="*/ 1385520 h 2468044"/>
                <a:gd name="connsiteX1007" fmla="*/ 1249234 w 1906136"/>
                <a:gd name="connsiteY1007" fmla="*/ 1381173 h 2468044"/>
                <a:gd name="connsiteX1008" fmla="*/ 1252338 w 1906136"/>
                <a:gd name="connsiteY1008" fmla="*/ 1379000 h 2468044"/>
                <a:gd name="connsiteX1009" fmla="*/ 1254511 w 1906136"/>
                <a:gd name="connsiteY1009" fmla="*/ 1378069 h 2468044"/>
                <a:gd name="connsiteX1010" fmla="*/ 1256684 w 1906136"/>
                <a:gd name="connsiteY1010" fmla="*/ 1375896 h 2468044"/>
                <a:gd name="connsiteX1011" fmla="*/ 1258858 w 1906136"/>
                <a:gd name="connsiteY1011" fmla="*/ 1373723 h 2468044"/>
                <a:gd name="connsiteX1012" fmla="*/ 1265998 w 1906136"/>
                <a:gd name="connsiteY1012" fmla="*/ 1373723 h 2468044"/>
                <a:gd name="connsiteX1013" fmla="*/ 1273138 w 1906136"/>
                <a:gd name="connsiteY1013" fmla="*/ 1385209 h 2468044"/>
                <a:gd name="connsiteX1014" fmla="*/ 1280278 w 1906136"/>
                <a:gd name="connsiteY1014" fmla="*/ 1395764 h 2468044"/>
                <a:gd name="connsiteX1015" fmla="*/ 1285556 w 1906136"/>
                <a:gd name="connsiteY1015" fmla="*/ 1405078 h 2468044"/>
                <a:gd name="connsiteX1016" fmla="*/ 1287729 w 1906136"/>
                <a:gd name="connsiteY1016" fmla="*/ 1419669 h 2468044"/>
                <a:gd name="connsiteX1017" fmla="*/ 1287729 w 1906136"/>
                <a:gd name="connsiteY1017" fmla="*/ 1434260 h 2468044"/>
                <a:gd name="connsiteX1018" fmla="*/ 1288660 w 1906136"/>
                <a:gd name="connsiteY1018" fmla="*/ 1444815 h 2468044"/>
                <a:gd name="connsiteX1019" fmla="*/ 1276243 w 1906136"/>
                <a:gd name="connsiteY1019" fmla="*/ 1459406 h 2468044"/>
                <a:gd name="connsiteX1020" fmla="*/ 1261652 w 1906136"/>
                <a:gd name="connsiteY1020" fmla="*/ 1472134 h 2468044"/>
                <a:gd name="connsiteX1021" fmla="*/ 1249234 w 1906136"/>
                <a:gd name="connsiteY1021" fmla="*/ 1485794 h 2468044"/>
                <a:gd name="connsiteX1022" fmla="*/ 1242094 w 1906136"/>
                <a:gd name="connsiteY1022" fmla="*/ 1501626 h 2468044"/>
                <a:gd name="connsiteX1023" fmla="*/ 1236816 w 1906136"/>
                <a:gd name="connsiteY1023" fmla="*/ 1518390 h 2468044"/>
                <a:gd name="connsiteX1024" fmla="*/ 1229676 w 1906136"/>
                <a:gd name="connsiteY1024" fmla="*/ 1535155 h 2468044"/>
                <a:gd name="connsiteX1025" fmla="*/ 1234953 w 1906136"/>
                <a:gd name="connsiteY1025" fmla="*/ 1537328 h 2468044"/>
                <a:gd name="connsiteX1026" fmla="*/ 1240231 w 1906136"/>
                <a:gd name="connsiteY1026" fmla="*/ 1537328 h 2468044"/>
                <a:gd name="connsiteX1027" fmla="*/ 1245508 w 1906136"/>
                <a:gd name="connsiteY1027" fmla="*/ 1538259 h 2468044"/>
                <a:gd name="connsiteX1028" fmla="*/ 1254822 w 1906136"/>
                <a:gd name="connsiteY1028" fmla="*/ 1538259 h 2468044"/>
                <a:gd name="connsiteX1029" fmla="*/ 1254822 w 1906136"/>
                <a:gd name="connsiteY1029" fmla="*/ 1542605 h 2468044"/>
                <a:gd name="connsiteX1030" fmla="*/ 1245508 w 1906136"/>
                <a:gd name="connsiteY1030" fmla="*/ 1547883 h 2468044"/>
                <a:gd name="connsiteX1031" fmla="*/ 1239300 w 1906136"/>
                <a:gd name="connsiteY1031" fmla="*/ 1553160 h 2468044"/>
                <a:gd name="connsiteX1032" fmla="*/ 1229986 w 1906136"/>
                <a:gd name="connsiteY1032" fmla="*/ 1558438 h 2468044"/>
                <a:gd name="connsiteX1033" fmla="*/ 1229986 w 1906136"/>
                <a:gd name="connsiteY1033" fmla="*/ 1565889 h 2468044"/>
                <a:gd name="connsiteX1034" fmla="*/ 1229986 w 1906136"/>
                <a:gd name="connsiteY1034" fmla="*/ 1573339 h 2468044"/>
                <a:gd name="connsiteX1035" fmla="*/ 1229986 w 1906136"/>
                <a:gd name="connsiteY1035" fmla="*/ 1579548 h 2468044"/>
                <a:gd name="connsiteX1036" fmla="*/ 1225950 w 1906136"/>
                <a:gd name="connsiteY1036" fmla="*/ 1586999 h 2468044"/>
                <a:gd name="connsiteX1037" fmla="*/ 1229986 w 1906136"/>
                <a:gd name="connsiteY1037" fmla="*/ 1590104 h 2468044"/>
                <a:gd name="connsiteX1038" fmla="*/ 1233091 w 1906136"/>
                <a:gd name="connsiteY1038" fmla="*/ 1594450 h 2468044"/>
                <a:gd name="connsiteX1039" fmla="*/ 1237126 w 1906136"/>
                <a:gd name="connsiteY1039" fmla="*/ 1595381 h 2468044"/>
                <a:gd name="connsiteX1040" fmla="*/ 1242404 w 1906136"/>
                <a:gd name="connsiteY1040" fmla="*/ 1595381 h 2468044"/>
                <a:gd name="connsiteX1041" fmla="*/ 1245508 w 1906136"/>
                <a:gd name="connsiteY1041" fmla="*/ 1599727 h 2468044"/>
                <a:gd name="connsiteX1042" fmla="*/ 1256995 w 1906136"/>
                <a:gd name="connsiteY1042" fmla="*/ 1610283 h 2468044"/>
                <a:gd name="connsiteX1043" fmla="*/ 1264135 w 1906136"/>
                <a:gd name="connsiteY1043" fmla="*/ 1624873 h 2468044"/>
                <a:gd name="connsiteX1044" fmla="*/ 1269413 w 1906136"/>
                <a:gd name="connsiteY1044" fmla="*/ 1643811 h 2468044"/>
                <a:gd name="connsiteX1045" fmla="*/ 1274690 w 1906136"/>
                <a:gd name="connsiteY1045" fmla="*/ 1659643 h 2468044"/>
                <a:gd name="connsiteX1046" fmla="*/ 1281831 w 1906136"/>
                <a:gd name="connsiteY1046" fmla="*/ 1676407 h 2468044"/>
                <a:gd name="connsiteX1047" fmla="*/ 1302630 w 1906136"/>
                <a:gd name="connsiteY1047" fmla="*/ 1705900 h 2468044"/>
                <a:gd name="connsiteX1048" fmla="*/ 1327777 w 1906136"/>
                <a:gd name="connsiteY1048" fmla="*/ 1733219 h 2468044"/>
                <a:gd name="connsiteX1049" fmla="*/ 1359132 w 1906136"/>
                <a:gd name="connsiteY1049" fmla="*/ 1754329 h 2468044"/>
                <a:gd name="connsiteX1050" fmla="*/ 1395454 w 1906136"/>
                <a:gd name="connsiteY1050" fmla="*/ 1767989 h 2468044"/>
                <a:gd name="connsiteX1051" fmla="*/ 1391418 w 1906136"/>
                <a:gd name="connsiteY1051" fmla="*/ 1797481 h 2468044"/>
                <a:gd name="connsiteX1052" fmla="*/ 1389245 w 1906136"/>
                <a:gd name="connsiteY1052" fmla="*/ 1829147 h 2468044"/>
                <a:gd name="connsiteX1053" fmla="*/ 1388314 w 1906136"/>
                <a:gd name="connsiteY1053" fmla="*/ 1861744 h 2468044"/>
                <a:gd name="connsiteX1054" fmla="*/ 1382105 w 1906136"/>
                <a:gd name="connsiteY1054" fmla="*/ 1893409 h 2468044"/>
                <a:gd name="connsiteX1055" fmla="*/ 1371549 w 1906136"/>
                <a:gd name="connsiteY1055" fmla="*/ 1941839 h 2468044"/>
                <a:gd name="connsiteX1056" fmla="*/ 1362236 w 1906136"/>
                <a:gd name="connsiteY1056" fmla="*/ 1991199 h 2468044"/>
                <a:gd name="connsiteX1057" fmla="*/ 1351681 w 1906136"/>
                <a:gd name="connsiteY1057" fmla="*/ 2036214 h 2468044"/>
                <a:gd name="connsiteX1058" fmla="*/ 1339263 w 1906136"/>
                <a:gd name="connsiteY1058" fmla="*/ 2080297 h 2468044"/>
                <a:gd name="connsiteX1059" fmla="*/ 1337090 w 1906136"/>
                <a:gd name="connsiteY1059" fmla="*/ 2091784 h 2468044"/>
                <a:gd name="connsiteX1060" fmla="*/ 1340194 w 1906136"/>
                <a:gd name="connsiteY1060" fmla="*/ 2104512 h 2468044"/>
                <a:gd name="connsiteX1061" fmla="*/ 1342368 w 1906136"/>
                <a:gd name="connsiteY1061" fmla="*/ 2111963 h 2468044"/>
                <a:gd name="connsiteX1062" fmla="*/ 1329950 w 1906136"/>
                <a:gd name="connsiteY1062" fmla="*/ 2188643 h 2468044"/>
                <a:gd name="connsiteX1063" fmla="*/ 1329950 w 1906136"/>
                <a:gd name="connsiteY1063" fmla="*/ 2192989 h 2468044"/>
                <a:gd name="connsiteX1064" fmla="*/ 1337090 w 1906136"/>
                <a:gd name="connsiteY1064" fmla="*/ 2190816 h 2468044"/>
                <a:gd name="connsiteX1065" fmla="*/ 1340194 w 1906136"/>
                <a:gd name="connsiteY1065" fmla="*/ 2186470 h 2468044"/>
                <a:gd name="connsiteX1066" fmla="*/ 1342368 w 1906136"/>
                <a:gd name="connsiteY1066" fmla="*/ 2183365 h 2468044"/>
                <a:gd name="connsiteX1067" fmla="*/ 1345472 w 1906136"/>
                <a:gd name="connsiteY1067" fmla="*/ 2179019 h 2468044"/>
                <a:gd name="connsiteX1068" fmla="*/ 1349508 w 1906136"/>
                <a:gd name="connsiteY1068" fmla="*/ 2175915 h 2468044"/>
                <a:gd name="connsiteX1069" fmla="*/ 1349508 w 1906136"/>
                <a:gd name="connsiteY1069" fmla="*/ 2179019 h 2468044"/>
                <a:gd name="connsiteX1070" fmla="*/ 1354785 w 1906136"/>
                <a:gd name="connsiteY1070" fmla="*/ 2179019 h 2468044"/>
                <a:gd name="connsiteX1071" fmla="*/ 1345472 w 1906136"/>
                <a:gd name="connsiteY1071" fmla="*/ 2215652 h 2468044"/>
                <a:gd name="connsiteX1072" fmla="*/ 1334917 w 1906136"/>
                <a:gd name="connsiteY1072" fmla="*/ 2215652 h 2468044"/>
                <a:gd name="connsiteX1073" fmla="*/ 1327777 w 1906136"/>
                <a:gd name="connsiteY1073" fmla="*/ 2234589 h 2468044"/>
                <a:gd name="connsiteX1074" fmla="*/ 1320636 w 1906136"/>
                <a:gd name="connsiteY1074" fmla="*/ 2256631 h 2468044"/>
                <a:gd name="connsiteX1075" fmla="*/ 1315359 w 1906136"/>
                <a:gd name="connsiteY1075" fmla="*/ 2279604 h 2468044"/>
                <a:gd name="connsiteX1076" fmla="*/ 1313186 w 1906136"/>
                <a:gd name="connsiteY1076" fmla="*/ 2305992 h 2468044"/>
                <a:gd name="connsiteX1077" fmla="*/ 1311012 w 1906136"/>
                <a:gd name="connsiteY1077" fmla="*/ 2333311 h 2468044"/>
                <a:gd name="connsiteX1078" fmla="*/ 1315048 w 1906136"/>
                <a:gd name="connsiteY1078" fmla="*/ 2357525 h 2468044"/>
                <a:gd name="connsiteX1079" fmla="*/ 1322189 w 1906136"/>
                <a:gd name="connsiteY1079" fmla="*/ 2380499 h 2468044"/>
                <a:gd name="connsiteX1080" fmla="*/ 1332744 w 1906136"/>
                <a:gd name="connsiteY1080" fmla="*/ 2401609 h 2468044"/>
                <a:gd name="connsiteX1081" fmla="*/ 1349508 w 1906136"/>
                <a:gd name="connsiteY1081" fmla="*/ 2416200 h 2468044"/>
                <a:gd name="connsiteX1082" fmla="*/ 1369376 w 1906136"/>
                <a:gd name="connsiteY1082" fmla="*/ 2426755 h 2468044"/>
                <a:gd name="connsiteX1083" fmla="*/ 1369376 w 1906136"/>
                <a:gd name="connsiteY1083" fmla="*/ 2434206 h 2468044"/>
                <a:gd name="connsiteX1084" fmla="*/ 1354785 w 1906136"/>
                <a:gd name="connsiteY1084" fmla="*/ 2424892 h 2468044"/>
                <a:gd name="connsiteX1085" fmla="*/ 1342368 w 1906136"/>
                <a:gd name="connsiteY1085" fmla="*/ 2414337 h 2468044"/>
                <a:gd name="connsiteX1086" fmla="*/ 1329950 w 1906136"/>
                <a:gd name="connsiteY1086" fmla="*/ 2401609 h 2468044"/>
                <a:gd name="connsiteX1087" fmla="*/ 1325914 w 1906136"/>
                <a:gd name="connsiteY1087" fmla="*/ 2401609 h 2468044"/>
                <a:gd name="connsiteX1088" fmla="*/ 1332123 w 1906136"/>
                <a:gd name="connsiteY1088" fmla="*/ 2416200 h 2468044"/>
                <a:gd name="connsiteX1089" fmla="*/ 1342678 w 1906136"/>
                <a:gd name="connsiteY1089" fmla="*/ 2430791 h 2468044"/>
                <a:gd name="connsiteX1090" fmla="*/ 1357269 w 1906136"/>
                <a:gd name="connsiteY1090" fmla="*/ 2445382 h 2468044"/>
                <a:gd name="connsiteX1091" fmla="*/ 1374033 w 1906136"/>
                <a:gd name="connsiteY1091" fmla="*/ 2458110 h 2468044"/>
                <a:gd name="connsiteX1092" fmla="*/ 1389555 w 1906136"/>
                <a:gd name="connsiteY1092" fmla="*/ 2466492 h 2468044"/>
                <a:gd name="connsiteX1093" fmla="*/ 1406319 w 1906136"/>
                <a:gd name="connsiteY1093" fmla="*/ 2470838 h 2468044"/>
                <a:gd name="connsiteX1094" fmla="*/ 1423083 w 1906136"/>
                <a:gd name="connsiteY1094" fmla="*/ 2466492 h 2468044"/>
                <a:gd name="connsiteX1095" fmla="*/ 1426188 w 1906136"/>
                <a:gd name="connsiteY1095" fmla="*/ 2465561 h 2468044"/>
                <a:gd name="connsiteX1096" fmla="*/ 1428361 w 1906136"/>
                <a:gd name="connsiteY1096" fmla="*/ 2463388 h 2468044"/>
                <a:gd name="connsiteX1097" fmla="*/ 1430534 w 1906136"/>
                <a:gd name="connsiteY1097" fmla="*/ 2463388 h 2468044"/>
                <a:gd name="connsiteX1098" fmla="*/ 1430534 w 1906136"/>
                <a:gd name="connsiteY1098" fmla="*/ 2461214 h 2468044"/>
                <a:gd name="connsiteX1099" fmla="*/ 1432707 w 1906136"/>
                <a:gd name="connsiteY1099" fmla="*/ 2460283 h 2468044"/>
                <a:gd name="connsiteX1100" fmla="*/ 1435812 w 1906136"/>
                <a:gd name="connsiteY1100" fmla="*/ 2458110 h 2468044"/>
                <a:gd name="connsiteX1101" fmla="*/ 1432707 w 1906136"/>
                <a:gd name="connsiteY1101" fmla="*/ 2453764 h 2468044"/>
                <a:gd name="connsiteX1102" fmla="*/ 1432707 w 1906136"/>
                <a:gd name="connsiteY1102" fmla="*/ 2452832 h 2468044"/>
                <a:gd name="connsiteX1103" fmla="*/ 1432707 w 1906136"/>
                <a:gd name="connsiteY1103" fmla="*/ 2452832 h 2468044"/>
                <a:gd name="connsiteX1104" fmla="*/ 1432707 w 1906136"/>
                <a:gd name="connsiteY1104" fmla="*/ 2450659 h 2468044"/>
                <a:gd name="connsiteX1105" fmla="*/ 1428671 w 1906136"/>
                <a:gd name="connsiteY1105" fmla="*/ 2450659 h 2468044"/>
                <a:gd name="connsiteX1106" fmla="*/ 1427740 w 1906136"/>
                <a:gd name="connsiteY1106" fmla="*/ 2450659 h 2468044"/>
                <a:gd name="connsiteX1107" fmla="*/ 1421531 w 1906136"/>
                <a:gd name="connsiteY1107" fmla="*/ 2450659 h 2468044"/>
                <a:gd name="connsiteX1108" fmla="*/ 1420600 w 1906136"/>
                <a:gd name="connsiteY1108" fmla="*/ 2439173 h 2468044"/>
                <a:gd name="connsiteX1109" fmla="*/ 1418427 w 1906136"/>
                <a:gd name="connsiteY1109" fmla="*/ 2426444 h 2468044"/>
                <a:gd name="connsiteX1110" fmla="*/ 1416254 w 1906136"/>
                <a:gd name="connsiteY1110" fmla="*/ 2415889 h 2468044"/>
                <a:gd name="connsiteX1111" fmla="*/ 1413149 w 1906136"/>
                <a:gd name="connsiteY1111" fmla="*/ 2406576 h 2468044"/>
                <a:gd name="connsiteX1112" fmla="*/ 1410976 w 1906136"/>
                <a:gd name="connsiteY1112" fmla="*/ 2404403 h 2468044"/>
                <a:gd name="connsiteX1113" fmla="*/ 1410976 w 1906136"/>
                <a:gd name="connsiteY1113" fmla="*/ 2402230 h 2468044"/>
                <a:gd name="connsiteX1114" fmla="*/ 1408803 w 1906136"/>
                <a:gd name="connsiteY1114" fmla="*/ 2402230 h 2468044"/>
                <a:gd name="connsiteX1115" fmla="*/ 1405698 w 1906136"/>
                <a:gd name="connsiteY1115" fmla="*/ 2401298 h 2468044"/>
                <a:gd name="connsiteX1116" fmla="*/ 1396385 w 1906136"/>
                <a:gd name="connsiteY1116" fmla="*/ 2414027 h 2468044"/>
                <a:gd name="connsiteX1117" fmla="*/ 1384899 w 1906136"/>
                <a:gd name="connsiteY1117" fmla="*/ 2426755 h 2468044"/>
                <a:gd name="connsiteX1118" fmla="*/ 1384899 w 1906136"/>
                <a:gd name="connsiteY1118" fmla="*/ 2431101 h 2468044"/>
                <a:gd name="connsiteX1119" fmla="*/ 1381794 w 1906136"/>
                <a:gd name="connsiteY1119" fmla="*/ 2431101 h 2468044"/>
                <a:gd name="connsiteX1120" fmla="*/ 1381794 w 1906136"/>
                <a:gd name="connsiteY1120" fmla="*/ 2424892 h 2468044"/>
                <a:gd name="connsiteX1121" fmla="*/ 1381794 w 1906136"/>
                <a:gd name="connsiteY1121" fmla="*/ 2421788 h 2468044"/>
                <a:gd name="connsiteX1122" fmla="*/ 1383967 w 1906136"/>
                <a:gd name="connsiteY1122" fmla="*/ 2417442 h 2468044"/>
                <a:gd name="connsiteX1123" fmla="*/ 1384899 w 1906136"/>
                <a:gd name="connsiteY1123" fmla="*/ 2414337 h 2468044"/>
                <a:gd name="connsiteX1124" fmla="*/ 1394212 w 1906136"/>
                <a:gd name="connsiteY1124" fmla="*/ 2402851 h 2468044"/>
                <a:gd name="connsiteX1125" fmla="*/ 1406630 w 1906136"/>
                <a:gd name="connsiteY1125" fmla="*/ 2392295 h 2468044"/>
                <a:gd name="connsiteX1126" fmla="*/ 1420289 w 1906136"/>
                <a:gd name="connsiteY1126" fmla="*/ 2384845 h 2468044"/>
                <a:gd name="connsiteX1127" fmla="*/ 1428671 w 1906136"/>
                <a:gd name="connsiteY1127" fmla="*/ 2382672 h 2468044"/>
                <a:gd name="connsiteX1128" fmla="*/ 1427740 w 1906136"/>
                <a:gd name="connsiteY1128" fmla="*/ 2373358 h 2468044"/>
                <a:gd name="connsiteX1129" fmla="*/ 1423704 w 1906136"/>
                <a:gd name="connsiteY1129" fmla="*/ 2368081 h 2468044"/>
                <a:gd name="connsiteX1130" fmla="*/ 1418427 w 1906136"/>
                <a:gd name="connsiteY1130" fmla="*/ 2362803 h 2468044"/>
                <a:gd name="connsiteX1131" fmla="*/ 1413149 w 1906136"/>
                <a:gd name="connsiteY1131" fmla="*/ 2357525 h 2468044"/>
                <a:gd name="connsiteX1132" fmla="*/ 1418427 w 1906136"/>
                <a:gd name="connsiteY1132" fmla="*/ 2340761 h 2468044"/>
                <a:gd name="connsiteX1133" fmla="*/ 1427740 w 1906136"/>
                <a:gd name="connsiteY1133" fmla="*/ 2322756 h 2468044"/>
                <a:gd name="connsiteX1134" fmla="*/ 1440158 w 1906136"/>
                <a:gd name="connsiteY1134" fmla="*/ 2303818 h 2468044"/>
                <a:gd name="connsiteX1135" fmla="*/ 1454749 w 1906136"/>
                <a:gd name="connsiteY1135" fmla="*/ 2289227 h 2468044"/>
                <a:gd name="connsiteX1136" fmla="*/ 1469340 w 1906136"/>
                <a:gd name="connsiteY1136" fmla="*/ 2281777 h 2468044"/>
                <a:gd name="connsiteX1137" fmla="*/ 1472444 w 1906136"/>
                <a:gd name="connsiteY1137" fmla="*/ 2269048 h 2468044"/>
                <a:gd name="connsiteX1138" fmla="*/ 1467167 w 1906136"/>
                <a:gd name="connsiteY1138" fmla="*/ 2264702 h 2468044"/>
                <a:gd name="connsiteX1139" fmla="*/ 1461889 w 1906136"/>
                <a:gd name="connsiteY1139" fmla="*/ 2261598 h 2468044"/>
                <a:gd name="connsiteX1140" fmla="*/ 1455680 w 1906136"/>
                <a:gd name="connsiteY1140" fmla="*/ 2258493 h 2468044"/>
                <a:gd name="connsiteX1141" fmla="*/ 1452576 w 1906136"/>
                <a:gd name="connsiteY1141" fmla="*/ 2252284 h 2468044"/>
                <a:gd name="connsiteX1142" fmla="*/ 1448540 w 1906136"/>
                <a:gd name="connsiteY1142" fmla="*/ 2244834 h 2468044"/>
                <a:gd name="connsiteX1143" fmla="*/ 1448540 w 1906136"/>
                <a:gd name="connsiteY1143" fmla="*/ 2243902 h 2468044"/>
                <a:gd name="connsiteX1144" fmla="*/ 1447609 w 1906136"/>
                <a:gd name="connsiteY1144" fmla="*/ 2241729 h 2468044"/>
                <a:gd name="connsiteX1145" fmla="*/ 1448540 w 1906136"/>
                <a:gd name="connsiteY1145" fmla="*/ 2239556 h 2468044"/>
                <a:gd name="connsiteX1146" fmla="*/ 1448540 w 1906136"/>
                <a:gd name="connsiteY1146" fmla="*/ 2237383 h 2468044"/>
                <a:gd name="connsiteX1147" fmla="*/ 1448540 w 1906136"/>
                <a:gd name="connsiteY1147" fmla="*/ 2234279 h 2468044"/>
                <a:gd name="connsiteX1148" fmla="*/ 1448540 w 1906136"/>
                <a:gd name="connsiteY1148" fmla="*/ 2229001 h 2468044"/>
                <a:gd name="connsiteX1149" fmla="*/ 1454749 w 1906136"/>
                <a:gd name="connsiteY1149" fmla="*/ 2229001 h 2468044"/>
                <a:gd name="connsiteX1150" fmla="*/ 1460026 w 1906136"/>
                <a:gd name="connsiteY1150" fmla="*/ 2226828 h 2468044"/>
                <a:gd name="connsiteX1151" fmla="*/ 1462200 w 1906136"/>
                <a:gd name="connsiteY1151" fmla="*/ 2226828 h 2468044"/>
                <a:gd name="connsiteX1152" fmla="*/ 1465304 w 1906136"/>
                <a:gd name="connsiteY1152" fmla="*/ 2224655 h 2468044"/>
                <a:gd name="connsiteX1153" fmla="*/ 1469340 w 1906136"/>
                <a:gd name="connsiteY1153" fmla="*/ 2214100 h 2468044"/>
                <a:gd name="connsiteX1154" fmla="*/ 1472444 w 1906136"/>
                <a:gd name="connsiteY1154" fmla="*/ 2202613 h 2468044"/>
                <a:gd name="connsiteX1155" fmla="*/ 1477722 w 1906136"/>
                <a:gd name="connsiteY1155" fmla="*/ 2192058 h 2468044"/>
                <a:gd name="connsiteX1156" fmla="*/ 1479895 w 1906136"/>
                <a:gd name="connsiteY1156" fmla="*/ 2185849 h 2468044"/>
                <a:gd name="connsiteX1157" fmla="*/ 1483931 w 1906136"/>
                <a:gd name="connsiteY1157" fmla="*/ 2184918 h 2468044"/>
                <a:gd name="connsiteX1158" fmla="*/ 1489208 w 1906136"/>
                <a:gd name="connsiteY1158" fmla="*/ 2182745 h 2468044"/>
                <a:gd name="connsiteX1159" fmla="*/ 1494486 w 1906136"/>
                <a:gd name="connsiteY1159" fmla="*/ 2180571 h 2468044"/>
                <a:gd name="connsiteX1160" fmla="*/ 1501626 w 1906136"/>
                <a:gd name="connsiteY1160" fmla="*/ 2178398 h 2468044"/>
                <a:gd name="connsiteX1161" fmla="*/ 1498522 w 1906136"/>
                <a:gd name="connsiteY1161" fmla="*/ 2173121 h 2468044"/>
                <a:gd name="connsiteX1162" fmla="*/ 1496349 w 1906136"/>
                <a:gd name="connsiteY1162" fmla="*/ 2170016 h 2468044"/>
                <a:gd name="connsiteX1163" fmla="*/ 1492313 w 1906136"/>
                <a:gd name="connsiteY1163" fmla="*/ 2165670 h 2468044"/>
                <a:gd name="connsiteX1164" fmla="*/ 1489208 w 1906136"/>
                <a:gd name="connsiteY1164" fmla="*/ 2163497 h 2468044"/>
                <a:gd name="connsiteX1165" fmla="*/ 1485173 w 1906136"/>
                <a:gd name="connsiteY1165" fmla="*/ 2162566 h 2468044"/>
                <a:gd name="connsiteX1166" fmla="*/ 1479895 w 1906136"/>
                <a:gd name="connsiteY1166" fmla="*/ 2158219 h 2468044"/>
                <a:gd name="connsiteX1167" fmla="*/ 1472755 w 1906136"/>
                <a:gd name="connsiteY1167" fmla="*/ 2155115 h 2468044"/>
                <a:gd name="connsiteX1168" fmla="*/ 1472755 w 1906136"/>
                <a:gd name="connsiteY1168" fmla="*/ 2147664 h 2468044"/>
                <a:gd name="connsiteX1169" fmla="*/ 1487346 w 1906136"/>
                <a:gd name="connsiteY1169" fmla="*/ 2145491 h 2468044"/>
                <a:gd name="connsiteX1170" fmla="*/ 1501937 w 1906136"/>
                <a:gd name="connsiteY1170" fmla="*/ 2145491 h 2468044"/>
                <a:gd name="connsiteX1171" fmla="*/ 1513423 w 1906136"/>
                <a:gd name="connsiteY1171" fmla="*/ 2143318 h 2468044"/>
                <a:gd name="connsiteX1172" fmla="*/ 1521805 w 1906136"/>
                <a:gd name="connsiteY1172" fmla="*/ 2143318 h 2468044"/>
                <a:gd name="connsiteX1173" fmla="*/ 1520874 w 1906136"/>
                <a:gd name="connsiteY1173" fmla="*/ 2135867 h 2468044"/>
                <a:gd name="connsiteX1174" fmla="*/ 1520874 w 1906136"/>
                <a:gd name="connsiteY1174" fmla="*/ 2132763 h 2468044"/>
                <a:gd name="connsiteX1175" fmla="*/ 1520874 w 1906136"/>
                <a:gd name="connsiteY1175" fmla="*/ 2129037 h 2468044"/>
                <a:gd name="connsiteX1176" fmla="*/ 1520874 w 1906136"/>
                <a:gd name="connsiteY1176" fmla="*/ 2128106 h 2468044"/>
                <a:gd name="connsiteX1177" fmla="*/ 1521805 w 1906136"/>
                <a:gd name="connsiteY1177" fmla="*/ 2123760 h 2468044"/>
                <a:gd name="connsiteX1178" fmla="*/ 1521805 w 1906136"/>
                <a:gd name="connsiteY1178" fmla="*/ 2116309 h 2468044"/>
                <a:gd name="connsiteX1179" fmla="*/ 1521805 w 1906136"/>
                <a:gd name="connsiteY1179" fmla="*/ 2108858 h 2468044"/>
                <a:gd name="connsiteX1180" fmla="*/ 1523978 w 1906136"/>
                <a:gd name="connsiteY1180" fmla="*/ 2103581 h 2468044"/>
                <a:gd name="connsiteX1181" fmla="*/ 1526151 w 1906136"/>
                <a:gd name="connsiteY1181" fmla="*/ 2099235 h 2468044"/>
                <a:gd name="connsiteX1182" fmla="*/ 1553160 w 1906136"/>
                <a:gd name="connsiteY1182" fmla="*/ 2091784 h 2468044"/>
                <a:gd name="connsiteX1183" fmla="*/ 1585447 w 1906136"/>
                <a:gd name="connsiteY1183" fmla="*/ 2090853 h 2468044"/>
                <a:gd name="connsiteX1184" fmla="*/ 1587620 w 1906136"/>
                <a:gd name="connsiteY1184" fmla="*/ 2076262 h 2468044"/>
                <a:gd name="connsiteX1185" fmla="*/ 1589793 w 1906136"/>
                <a:gd name="connsiteY1185" fmla="*/ 2062602 h 2468044"/>
                <a:gd name="connsiteX1186" fmla="*/ 1587620 w 1906136"/>
                <a:gd name="connsiteY1186" fmla="*/ 2052047 h 2468044"/>
                <a:gd name="connsiteX1187" fmla="*/ 1582342 w 1906136"/>
                <a:gd name="connsiteY1187" fmla="*/ 2041492 h 2468044"/>
                <a:gd name="connsiteX1188" fmla="*/ 1569924 w 1906136"/>
                <a:gd name="connsiteY1188" fmla="*/ 2034041 h 2468044"/>
                <a:gd name="connsiteX1189" fmla="*/ 1569924 w 1906136"/>
                <a:gd name="connsiteY1189" fmla="*/ 2026590 h 2468044"/>
                <a:gd name="connsiteX1190" fmla="*/ 1592897 w 1906136"/>
                <a:gd name="connsiteY1190" fmla="*/ 2031868 h 2468044"/>
                <a:gd name="connsiteX1191" fmla="*/ 1618975 w 1906136"/>
                <a:gd name="connsiteY1191" fmla="*/ 2037145 h 2468044"/>
                <a:gd name="connsiteX1192" fmla="*/ 1631393 w 1906136"/>
                <a:gd name="connsiteY1192" fmla="*/ 2022554 h 2468044"/>
                <a:gd name="connsiteX1193" fmla="*/ 1642879 w 1906136"/>
                <a:gd name="connsiteY1193" fmla="*/ 2009826 h 2468044"/>
                <a:gd name="connsiteX1194" fmla="*/ 1653434 w 1906136"/>
                <a:gd name="connsiteY1194" fmla="*/ 1995235 h 2468044"/>
                <a:gd name="connsiteX1195" fmla="*/ 1662747 w 1906136"/>
                <a:gd name="connsiteY1195" fmla="*/ 1973194 h 2468044"/>
                <a:gd name="connsiteX1196" fmla="*/ 1663679 w 1906136"/>
                <a:gd name="connsiteY1196" fmla="*/ 1973194 h 2468044"/>
                <a:gd name="connsiteX1197" fmla="*/ 1665852 w 1906136"/>
                <a:gd name="connsiteY1197" fmla="*/ 1971020 h 2468044"/>
                <a:gd name="connsiteX1198" fmla="*/ 1668025 w 1906136"/>
                <a:gd name="connsiteY1198" fmla="*/ 1971020 h 2468044"/>
                <a:gd name="connsiteX1199" fmla="*/ 1670198 w 1906136"/>
                <a:gd name="connsiteY1199" fmla="*/ 1968847 h 2468044"/>
                <a:gd name="connsiteX1200" fmla="*/ 1671130 w 1906136"/>
                <a:gd name="connsiteY1200" fmla="*/ 1973194 h 2468044"/>
                <a:gd name="connsiteX1201" fmla="*/ 1673303 w 1906136"/>
                <a:gd name="connsiteY1201" fmla="*/ 1978471 h 2468044"/>
                <a:gd name="connsiteX1202" fmla="*/ 1673303 w 1906136"/>
                <a:gd name="connsiteY1202" fmla="*/ 1982817 h 2468044"/>
                <a:gd name="connsiteX1203" fmla="*/ 1673303 w 1906136"/>
                <a:gd name="connsiteY1203" fmla="*/ 1990268 h 2468044"/>
                <a:gd name="connsiteX1204" fmla="*/ 1678580 w 1906136"/>
                <a:gd name="connsiteY1204" fmla="*/ 1990268 h 2468044"/>
                <a:gd name="connsiteX1205" fmla="*/ 1685721 w 1906136"/>
                <a:gd name="connsiteY1205" fmla="*/ 1969158 h 2468044"/>
                <a:gd name="connsiteX1206" fmla="*/ 1692861 w 1906136"/>
                <a:gd name="connsiteY1206" fmla="*/ 1953325 h 2468044"/>
                <a:gd name="connsiteX1207" fmla="*/ 1700001 w 1906136"/>
                <a:gd name="connsiteY1207" fmla="*/ 1936561 h 2468044"/>
                <a:gd name="connsiteX1208" fmla="*/ 1704037 w 1906136"/>
                <a:gd name="connsiteY1208" fmla="*/ 1916692 h 2468044"/>
                <a:gd name="connsiteX1209" fmla="*/ 1706210 w 1906136"/>
                <a:gd name="connsiteY1209" fmla="*/ 1892478 h 2468044"/>
                <a:gd name="connsiteX1210" fmla="*/ 1718628 w 1906136"/>
                <a:gd name="connsiteY1210" fmla="*/ 1892478 h 2468044"/>
                <a:gd name="connsiteX1211" fmla="*/ 1716455 w 1906136"/>
                <a:gd name="connsiteY1211" fmla="*/ 1887200 h 2468044"/>
                <a:gd name="connsiteX1212" fmla="*/ 1714282 w 1906136"/>
                <a:gd name="connsiteY1212" fmla="*/ 1881923 h 2468044"/>
                <a:gd name="connsiteX1213" fmla="*/ 1714282 w 1906136"/>
                <a:gd name="connsiteY1213" fmla="*/ 1877576 h 2468044"/>
                <a:gd name="connsiteX1214" fmla="*/ 1714282 w 1906136"/>
                <a:gd name="connsiteY1214" fmla="*/ 1874472 h 2468044"/>
                <a:gd name="connsiteX1215" fmla="*/ 1718317 w 1906136"/>
                <a:gd name="connsiteY1215" fmla="*/ 1868263 h 2468044"/>
                <a:gd name="connsiteX1216" fmla="*/ 1727631 w 1906136"/>
                <a:gd name="connsiteY1216" fmla="*/ 1857708 h 2468044"/>
                <a:gd name="connsiteX1217" fmla="*/ 1742222 w 1906136"/>
                <a:gd name="connsiteY1217" fmla="*/ 1852430 h 2468044"/>
                <a:gd name="connsiteX1218" fmla="*/ 1757744 w 1906136"/>
                <a:gd name="connsiteY1218" fmla="*/ 1848084 h 2468044"/>
                <a:gd name="connsiteX1219" fmla="*/ 1774508 w 1906136"/>
                <a:gd name="connsiteY1219" fmla="*/ 1847153 h 2468044"/>
                <a:gd name="connsiteX1220" fmla="*/ 1791272 w 1906136"/>
                <a:gd name="connsiteY1220" fmla="*/ 1844979 h 2468044"/>
                <a:gd name="connsiteX1221" fmla="*/ 1801827 w 1906136"/>
                <a:gd name="connsiteY1221" fmla="*/ 1840633 h 2468044"/>
                <a:gd name="connsiteX1222" fmla="*/ 1807105 w 1906136"/>
                <a:gd name="connsiteY1222" fmla="*/ 1833183 h 2468044"/>
                <a:gd name="connsiteX1223" fmla="*/ 1816418 w 1906136"/>
                <a:gd name="connsiteY1223" fmla="*/ 1820454 h 2468044"/>
                <a:gd name="connsiteX1224" fmla="*/ 1825732 w 1906136"/>
                <a:gd name="connsiteY1224" fmla="*/ 1803690 h 2468044"/>
                <a:gd name="connsiteX1225" fmla="*/ 1835045 w 1906136"/>
                <a:gd name="connsiteY1225" fmla="*/ 1787857 h 2468044"/>
                <a:gd name="connsiteX1226" fmla="*/ 1842185 w 1906136"/>
                <a:gd name="connsiteY1226" fmla="*/ 1773267 h 2468044"/>
                <a:gd name="connsiteX1227" fmla="*/ 1845290 w 1906136"/>
                <a:gd name="connsiteY1227" fmla="*/ 1763953 h 2468044"/>
                <a:gd name="connsiteX1228" fmla="*/ 1847463 w 1906136"/>
                <a:gd name="connsiteY1228" fmla="*/ 1749362 h 2468044"/>
                <a:gd name="connsiteX1229" fmla="*/ 1843427 w 1906136"/>
                <a:gd name="connsiteY1229" fmla="*/ 1732598 h 2468044"/>
                <a:gd name="connsiteX1230" fmla="*/ 1842496 w 1906136"/>
                <a:gd name="connsiteY1230" fmla="*/ 1718007 h 2468044"/>
                <a:gd name="connsiteX1231" fmla="*/ 1842496 w 1906136"/>
                <a:gd name="connsiteY1231" fmla="*/ 1707452 h 2468044"/>
                <a:gd name="connsiteX1232" fmla="*/ 1850878 w 1906136"/>
                <a:gd name="connsiteY1232" fmla="*/ 1690688 h 2468044"/>
                <a:gd name="connsiteX1233" fmla="*/ 1863296 w 1906136"/>
                <a:gd name="connsiteY1233" fmla="*/ 1668646 h 2468044"/>
                <a:gd name="connsiteX1234" fmla="*/ 1877887 w 1906136"/>
                <a:gd name="connsiteY1234" fmla="*/ 1646605 h 2468044"/>
                <a:gd name="connsiteX1235" fmla="*/ 1892477 w 1906136"/>
                <a:gd name="connsiteY1235" fmla="*/ 1626736 h 2468044"/>
                <a:gd name="connsiteX1236" fmla="*/ 1906137 w 1906136"/>
                <a:gd name="connsiteY1236" fmla="*/ 1609972 h 2468044"/>
                <a:gd name="connsiteX1237" fmla="*/ 1903964 w 1906136"/>
                <a:gd name="connsiteY1237" fmla="*/ 1601590 h 2468044"/>
                <a:gd name="connsiteX1238" fmla="*/ 1901480 w 1906136"/>
                <a:gd name="connsiteY1238" fmla="*/ 1594450 h 2468044"/>
                <a:gd name="connsiteX1239" fmla="*/ 1340815 w 1906136"/>
                <a:gd name="connsiteY1239" fmla="*/ 768043 h 2468044"/>
                <a:gd name="connsiteX1240" fmla="*/ 1342988 w 1906136"/>
                <a:gd name="connsiteY1240" fmla="*/ 765870 h 2468044"/>
                <a:gd name="connsiteX1241" fmla="*/ 1345162 w 1906136"/>
                <a:gd name="connsiteY1241" fmla="*/ 763697 h 2468044"/>
                <a:gd name="connsiteX1242" fmla="*/ 1348266 w 1906136"/>
                <a:gd name="connsiteY1242" fmla="*/ 760592 h 2468044"/>
                <a:gd name="connsiteX1243" fmla="*/ 1350439 w 1906136"/>
                <a:gd name="connsiteY1243" fmla="*/ 756246 h 2468044"/>
                <a:gd name="connsiteX1244" fmla="*/ 1353544 w 1906136"/>
                <a:gd name="connsiteY1244" fmla="*/ 756246 h 2468044"/>
                <a:gd name="connsiteX1245" fmla="*/ 1352612 w 1906136"/>
                <a:gd name="connsiteY1245" fmla="*/ 760592 h 2468044"/>
                <a:gd name="connsiteX1246" fmla="*/ 1350439 w 1906136"/>
                <a:gd name="connsiteY1246" fmla="*/ 762765 h 2468044"/>
                <a:gd name="connsiteX1247" fmla="*/ 1348266 w 1906136"/>
                <a:gd name="connsiteY1247" fmla="*/ 765870 h 2468044"/>
                <a:gd name="connsiteX1248" fmla="*/ 1348266 w 1906136"/>
                <a:gd name="connsiteY1248" fmla="*/ 768043 h 2468044"/>
                <a:gd name="connsiteX1249" fmla="*/ 1347335 w 1906136"/>
                <a:gd name="connsiteY1249" fmla="*/ 773320 h 2468044"/>
                <a:gd name="connsiteX1250" fmla="*/ 1343299 w 1906136"/>
                <a:gd name="connsiteY1250" fmla="*/ 771147 h 2468044"/>
                <a:gd name="connsiteX1251" fmla="*/ 1341126 w 1906136"/>
                <a:gd name="connsiteY1251" fmla="*/ 770216 h 2468044"/>
                <a:gd name="connsiteX1252" fmla="*/ 1341126 w 1906136"/>
                <a:gd name="connsiteY1252" fmla="*/ 768043 h 2468044"/>
                <a:gd name="connsiteX1253" fmla="*/ 1108602 w 1906136"/>
                <a:gd name="connsiteY1253" fmla="*/ 713094 h 2468044"/>
                <a:gd name="connsiteX1254" fmla="*/ 1117915 w 1906136"/>
                <a:gd name="connsiteY1254" fmla="*/ 701608 h 2468044"/>
                <a:gd name="connsiteX1255" fmla="*/ 1126297 w 1906136"/>
                <a:gd name="connsiteY1255" fmla="*/ 688879 h 2468044"/>
                <a:gd name="connsiteX1256" fmla="*/ 1144924 w 1906136"/>
                <a:gd name="connsiteY1256" fmla="*/ 691052 h 2468044"/>
                <a:gd name="connsiteX1257" fmla="*/ 1159515 w 1906136"/>
                <a:gd name="connsiteY1257" fmla="*/ 698503 h 2468044"/>
                <a:gd name="connsiteX1258" fmla="*/ 1167897 w 1906136"/>
                <a:gd name="connsiteY1258" fmla="*/ 705954 h 2468044"/>
                <a:gd name="connsiteX1259" fmla="*/ 1175037 w 1906136"/>
                <a:gd name="connsiteY1259" fmla="*/ 716509 h 2468044"/>
                <a:gd name="connsiteX1260" fmla="*/ 1181246 w 1906136"/>
                <a:gd name="connsiteY1260" fmla="*/ 727995 h 2468044"/>
                <a:gd name="connsiteX1261" fmla="*/ 1189628 w 1906136"/>
                <a:gd name="connsiteY1261" fmla="*/ 736377 h 2468044"/>
                <a:gd name="connsiteX1262" fmla="*/ 1203288 w 1906136"/>
                <a:gd name="connsiteY1262" fmla="*/ 746001 h 2468044"/>
                <a:gd name="connsiteX1263" fmla="*/ 1211670 w 1906136"/>
                <a:gd name="connsiteY1263" fmla="*/ 749106 h 2468044"/>
                <a:gd name="connsiteX1264" fmla="*/ 1218810 w 1906136"/>
                <a:gd name="connsiteY1264" fmla="*/ 749106 h 2468044"/>
                <a:gd name="connsiteX1265" fmla="*/ 1228124 w 1906136"/>
                <a:gd name="connsiteY1265" fmla="*/ 751279 h 2468044"/>
                <a:gd name="connsiteX1266" fmla="*/ 1237437 w 1906136"/>
                <a:gd name="connsiteY1266" fmla="*/ 756556 h 2468044"/>
                <a:gd name="connsiteX1267" fmla="*/ 1237437 w 1906136"/>
                <a:gd name="connsiteY1267" fmla="*/ 766180 h 2468044"/>
                <a:gd name="connsiteX1268" fmla="*/ 1235264 w 1906136"/>
                <a:gd name="connsiteY1268" fmla="*/ 771458 h 2468044"/>
                <a:gd name="connsiteX1269" fmla="*/ 1235264 w 1906136"/>
                <a:gd name="connsiteY1269" fmla="*/ 775804 h 2468044"/>
                <a:gd name="connsiteX1270" fmla="*/ 1233091 w 1906136"/>
                <a:gd name="connsiteY1270" fmla="*/ 777977 h 2468044"/>
                <a:gd name="connsiteX1271" fmla="*/ 1232159 w 1906136"/>
                <a:gd name="connsiteY1271" fmla="*/ 778909 h 2468044"/>
                <a:gd name="connsiteX1272" fmla="*/ 1229986 w 1906136"/>
                <a:gd name="connsiteY1272" fmla="*/ 778909 h 2468044"/>
                <a:gd name="connsiteX1273" fmla="*/ 1227813 w 1906136"/>
                <a:gd name="connsiteY1273" fmla="*/ 778909 h 2468044"/>
                <a:gd name="connsiteX1274" fmla="*/ 1225640 w 1906136"/>
                <a:gd name="connsiteY1274" fmla="*/ 781082 h 2468044"/>
                <a:gd name="connsiteX1275" fmla="*/ 1224709 w 1906136"/>
                <a:gd name="connsiteY1275" fmla="*/ 783255 h 2468044"/>
                <a:gd name="connsiteX1276" fmla="*/ 1222535 w 1906136"/>
                <a:gd name="connsiteY1276" fmla="*/ 785428 h 2468044"/>
                <a:gd name="connsiteX1277" fmla="*/ 1218500 w 1906136"/>
                <a:gd name="connsiteY1277" fmla="*/ 795983 h 2468044"/>
                <a:gd name="connsiteX1278" fmla="*/ 1220673 w 1906136"/>
                <a:gd name="connsiteY1278" fmla="*/ 805607 h 2468044"/>
                <a:gd name="connsiteX1279" fmla="*/ 1222846 w 1906136"/>
                <a:gd name="connsiteY1279" fmla="*/ 810884 h 2468044"/>
                <a:gd name="connsiteX1280" fmla="*/ 1222846 w 1906136"/>
                <a:gd name="connsiteY1280" fmla="*/ 818335 h 2468044"/>
                <a:gd name="connsiteX1281" fmla="*/ 1217568 w 1906136"/>
                <a:gd name="connsiteY1281" fmla="*/ 827959 h 2468044"/>
                <a:gd name="connsiteX1282" fmla="*/ 1218500 w 1906136"/>
                <a:gd name="connsiteY1282" fmla="*/ 831063 h 2468044"/>
                <a:gd name="connsiteX1283" fmla="*/ 1218500 w 1906136"/>
                <a:gd name="connsiteY1283" fmla="*/ 833237 h 2468044"/>
                <a:gd name="connsiteX1284" fmla="*/ 1218500 w 1906136"/>
                <a:gd name="connsiteY1284" fmla="*/ 835410 h 2468044"/>
                <a:gd name="connsiteX1285" fmla="*/ 1220673 w 1906136"/>
                <a:gd name="connsiteY1285" fmla="*/ 837583 h 2468044"/>
                <a:gd name="connsiteX1286" fmla="*/ 1222846 w 1906136"/>
                <a:gd name="connsiteY1286" fmla="*/ 838514 h 2468044"/>
                <a:gd name="connsiteX1287" fmla="*/ 1225950 w 1906136"/>
                <a:gd name="connsiteY1287" fmla="*/ 837583 h 2468044"/>
                <a:gd name="connsiteX1288" fmla="*/ 1237437 w 1906136"/>
                <a:gd name="connsiteY1288" fmla="*/ 833237 h 2468044"/>
                <a:gd name="connsiteX1289" fmla="*/ 1252959 w 1906136"/>
                <a:gd name="connsiteY1289" fmla="*/ 825786 h 2468044"/>
                <a:gd name="connsiteX1290" fmla="*/ 1269723 w 1906136"/>
                <a:gd name="connsiteY1290" fmla="*/ 815231 h 2468044"/>
                <a:gd name="connsiteX1291" fmla="*/ 1288350 w 1906136"/>
                <a:gd name="connsiteY1291" fmla="*/ 805607 h 2468044"/>
                <a:gd name="connsiteX1292" fmla="*/ 1302941 w 1906136"/>
                <a:gd name="connsiteY1292" fmla="*/ 794120 h 2468044"/>
                <a:gd name="connsiteX1293" fmla="*/ 1315359 w 1906136"/>
                <a:gd name="connsiteY1293" fmla="*/ 786670 h 2468044"/>
                <a:gd name="connsiteX1294" fmla="*/ 1322499 w 1906136"/>
                <a:gd name="connsiteY1294" fmla="*/ 781392 h 2468044"/>
                <a:gd name="connsiteX1295" fmla="*/ 1325603 w 1906136"/>
                <a:gd name="connsiteY1295" fmla="*/ 783565 h 2468044"/>
                <a:gd name="connsiteX1296" fmla="*/ 1327777 w 1906136"/>
                <a:gd name="connsiteY1296" fmla="*/ 783565 h 2468044"/>
                <a:gd name="connsiteX1297" fmla="*/ 1329950 w 1906136"/>
                <a:gd name="connsiteY1297" fmla="*/ 783565 h 2468044"/>
                <a:gd name="connsiteX1298" fmla="*/ 1332123 w 1906136"/>
                <a:gd name="connsiteY1298" fmla="*/ 785738 h 2468044"/>
                <a:gd name="connsiteX1299" fmla="*/ 1332123 w 1906136"/>
                <a:gd name="connsiteY1299" fmla="*/ 786670 h 2468044"/>
                <a:gd name="connsiteX1300" fmla="*/ 1333054 w 1906136"/>
                <a:gd name="connsiteY1300" fmla="*/ 791016 h 2468044"/>
                <a:gd name="connsiteX1301" fmla="*/ 1337090 w 1906136"/>
                <a:gd name="connsiteY1301" fmla="*/ 791016 h 2468044"/>
                <a:gd name="connsiteX1302" fmla="*/ 1329950 w 1906136"/>
                <a:gd name="connsiteY1302" fmla="*/ 801571 h 2468044"/>
                <a:gd name="connsiteX1303" fmla="*/ 1313186 w 1906136"/>
                <a:gd name="connsiteY1303" fmla="*/ 811195 h 2468044"/>
                <a:gd name="connsiteX1304" fmla="*/ 1295490 w 1906136"/>
                <a:gd name="connsiteY1304" fmla="*/ 818646 h 2468044"/>
                <a:gd name="connsiteX1305" fmla="*/ 1276863 w 1906136"/>
                <a:gd name="connsiteY1305" fmla="*/ 826096 h 2468044"/>
                <a:gd name="connsiteX1306" fmla="*/ 1259168 w 1906136"/>
                <a:gd name="connsiteY1306" fmla="*/ 835720 h 2468044"/>
                <a:gd name="connsiteX1307" fmla="*/ 1242404 w 1906136"/>
                <a:gd name="connsiteY1307" fmla="*/ 845344 h 2468044"/>
                <a:gd name="connsiteX1308" fmla="*/ 1233091 w 1906136"/>
                <a:gd name="connsiteY1308" fmla="*/ 859004 h 2468044"/>
                <a:gd name="connsiteX1309" fmla="*/ 1210118 w 1906136"/>
                <a:gd name="connsiteY1309" fmla="*/ 855899 h 2468044"/>
                <a:gd name="connsiteX1310" fmla="*/ 1207945 w 1906136"/>
                <a:gd name="connsiteY1310" fmla="*/ 831684 h 2468044"/>
                <a:gd name="connsiteX1311" fmla="*/ 1207945 w 1906136"/>
                <a:gd name="connsiteY1311" fmla="*/ 809332 h 2468044"/>
                <a:gd name="connsiteX1312" fmla="*/ 1207945 w 1906136"/>
                <a:gd name="connsiteY1312" fmla="*/ 791326 h 2468044"/>
                <a:gd name="connsiteX1313" fmla="*/ 1205771 w 1906136"/>
                <a:gd name="connsiteY1313" fmla="*/ 771147 h 2468044"/>
                <a:gd name="connsiteX1314" fmla="*/ 1193354 w 1906136"/>
                <a:gd name="connsiteY1314" fmla="*/ 771147 h 2468044"/>
                <a:gd name="connsiteX1315" fmla="*/ 1191180 w 1906136"/>
                <a:gd name="connsiteY1315" fmla="*/ 778598 h 2468044"/>
                <a:gd name="connsiteX1316" fmla="*/ 1185903 w 1906136"/>
                <a:gd name="connsiteY1316" fmla="*/ 789153 h 2468044"/>
                <a:gd name="connsiteX1317" fmla="*/ 1180625 w 1906136"/>
                <a:gd name="connsiteY1317" fmla="*/ 801882 h 2468044"/>
                <a:gd name="connsiteX1318" fmla="*/ 1174416 w 1906136"/>
                <a:gd name="connsiteY1318" fmla="*/ 816783 h 2468044"/>
                <a:gd name="connsiteX1319" fmla="*/ 1169139 w 1906136"/>
                <a:gd name="connsiteY1319" fmla="*/ 828269 h 2468044"/>
                <a:gd name="connsiteX1320" fmla="*/ 1166034 w 1906136"/>
                <a:gd name="connsiteY1320" fmla="*/ 835720 h 2468044"/>
                <a:gd name="connsiteX1321" fmla="*/ 1166034 w 1906136"/>
                <a:gd name="connsiteY1321" fmla="*/ 838825 h 2468044"/>
                <a:gd name="connsiteX1322" fmla="*/ 1159825 w 1906136"/>
                <a:gd name="connsiteY1322" fmla="*/ 837893 h 2468044"/>
                <a:gd name="connsiteX1323" fmla="*/ 1158894 w 1906136"/>
                <a:gd name="connsiteY1323" fmla="*/ 835720 h 2468044"/>
                <a:gd name="connsiteX1324" fmla="*/ 1156721 w 1906136"/>
                <a:gd name="connsiteY1324" fmla="*/ 833547 h 2468044"/>
                <a:gd name="connsiteX1325" fmla="*/ 1154548 w 1906136"/>
                <a:gd name="connsiteY1325" fmla="*/ 831374 h 2468044"/>
                <a:gd name="connsiteX1326" fmla="*/ 1154548 w 1906136"/>
                <a:gd name="connsiteY1326" fmla="*/ 828269 h 2468044"/>
                <a:gd name="connsiteX1327" fmla="*/ 1153306 w 1906136"/>
                <a:gd name="connsiteY1327" fmla="*/ 822061 h 2468044"/>
                <a:gd name="connsiteX1328" fmla="*/ 1153306 w 1906136"/>
                <a:gd name="connsiteY1328" fmla="*/ 812747 h 2468044"/>
                <a:gd name="connsiteX1329" fmla="*/ 1159515 w 1906136"/>
                <a:gd name="connsiteY1329" fmla="*/ 797846 h 2468044"/>
                <a:gd name="connsiteX1330" fmla="*/ 1166655 w 1906136"/>
                <a:gd name="connsiteY1330" fmla="*/ 780771 h 2468044"/>
                <a:gd name="connsiteX1331" fmla="*/ 1175037 w 1906136"/>
                <a:gd name="connsiteY1331" fmla="*/ 768043 h 2468044"/>
                <a:gd name="connsiteX1332" fmla="*/ 1182177 w 1906136"/>
                <a:gd name="connsiteY1332" fmla="*/ 756556 h 2468044"/>
                <a:gd name="connsiteX1333" fmla="*/ 1175037 w 1906136"/>
                <a:gd name="connsiteY1333" fmla="*/ 748174 h 2468044"/>
                <a:gd name="connsiteX1334" fmla="*/ 1167897 w 1906136"/>
                <a:gd name="connsiteY1334" fmla="*/ 743828 h 2468044"/>
                <a:gd name="connsiteX1335" fmla="*/ 1160757 w 1906136"/>
                <a:gd name="connsiteY1335" fmla="*/ 740724 h 2468044"/>
                <a:gd name="connsiteX1336" fmla="*/ 1152375 w 1906136"/>
                <a:gd name="connsiteY1336" fmla="*/ 736377 h 2468044"/>
                <a:gd name="connsiteX1337" fmla="*/ 1147097 w 1906136"/>
                <a:gd name="connsiteY1337" fmla="*/ 723649 h 2468044"/>
                <a:gd name="connsiteX1338" fmla="*/ 1137784 w 1906136"/>
                <a:gd name="connsiteY1338" fmla="*/ 723649 h 2468044"/>
                <a:gd name="connsiteX1339" fmla="*/ 1137784 w 1906136"/>
                <a:gd name="connsiteY1339" fmla="*/ 728927 h 2468044"/>
                <a:gd name="connsiteX1340" fmla="*/ 1135611 w 1906136"/>
                <a:gd name="connsiteY1340" fmla="*/ 733273 h 2468044"/>
                <a:gd name="connsiteX1341" fmla="*/ 1135611 w 1906136"/>
                <a:gd name="connsiteY1341" fmla="*/ 738551 h 2468044"/>
                <a:gd name="connsiteX1342" fmla="*/ 1133438 w 1906136"/>
                <a:gd name="connsiteY1342" fmla="*/ 746001 h 2468044"/>
                <a:gd name="connsiteX1343" fmla="*/ 1126297 w 1906136"/>
                <a:gd name="connsiteY1343" fmla="*/ 736377 h 2468044"/>
                <a:gd name="connsiteX1344" fmla="*/ 1121020 w 1906136"/>
                <a:gd name="connsiteY1344" fmla="*/ 731100 h 2468044"/>
                <a:gd name="connsiteX1345" fmla="*/ 1113879 w 1906136"/>
                <a:gd name="connsiteY1345" fmla="*/ 727995 h 2468044"/>
                <a:gd name="connsiteX1346" fmla="*/ 1103324 w 1906136"/>
                <a:gd name="connsiteY1346" fmla="*/ 728927 h 2468044"/>
                <a:gd name="connsiteX1347" fmla="*/ 1108602 w 1906136"/>
                <a:gd name="connsiteY1347" fmla="*/ 713094 h 2468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</a:cxnLst>
              <a:rect l="l" t="t" r="r" b="b"/>
              <a:pathLst>
                <a:path w="1906136" h="2468044">
                  <a:moveTo>
                    <a:pt x="1901480" y="1594450"/>
                  </a:moveTo>
                  <a:lnTo>
                    <a:pt x="1898376" y="1588241"/>
                  </a:lnTo>
                  <a:lnTo>
                    <a:pt x="1892167" y="1582963"/>
                  </a:lnTo>
                  <a:lnTo>
                    <a:pt x="1886889" y="1575513"/>
                  </a:lnTo>
                  <a:lnTo>
                    <a:pt x="1879749" y="1577686"/>
                  </a:lnTo>
                  <a:lnTo>
                    <a:pt x="1870436" y="1577686"/>
                  </a:lnTo>
                  <a:lnTo>
                    <a:pt x="1862054" y="1575513"/>
                  </a:lnTo>
                  <a:lnTo>
                    <a:pt x="1855845" y="1568062"/>
                  </a:lnTo>
                  <a:lnTo>
                    <a:pt x="1854913" y="1558748"/>
                  </a:lnTo>
                  <a:lnTo>
                    <a:pt x="1850878" y="1548193"/>
                  </a:lnTo>
                  <a:lnTo>
                    <a:pt x="1845600" y="1542916"/>
                  </a:lnTo>
                  <a:lnTo>
                    <a:pt x="1789410" y="1538569"/>
                  </a:lnTo>
                  <a:lnTo>
                    <a:pt x="1785374" y="1537638"/>
                  </a:lnTo>
                  <a:lnTo>
                    <a:pt x="1782269" y="1535465"/>
                  </a:lnTo>
                  <a:lnTo>
                    <a:pt x="1778233" y="1533292"/>
                  </a:lnTo>
                  <a:lnTo>
                    <a:pt x="1777302" y="1533292"/>
                  </a:lnTo>
                  <a:lnTo>
                    <a:pt x="1771093" y="1531119"/>
                  </a:lnTo>
                  <a:lnTo>
                    <a:pt x="1767989" y="1533292"/>
                  </a:lnTo>
                  <a:lnTo>
                    <a:pt x="1762711" y="1535465"/>
                  </a:lnTo>
                  <a:lnTo>
                    <a:pt x="1758675" y="1522737"/>
                  </a:lnTo>
                  <a:lnTo>
                    <a:pt x="1736944" y="1515286"/>
                  </a:lnTo>
                  <a:lnTo>
                    <a:pt x="1713971" y="1515286"/>
                  </a:lnTo>
                  <a:lnTo>
                    <a:pt x="1717075" y="1509077"/>
                  </a:lnTo>
                  <a:lnTo>
                    <a:pt x="1721111" y="1505973"/>
                  </a:lnTo>
                  <a:lnTo>
                    <a:pt x="1724216" y="1500695"/>
                  </a:lnTo>
                  <a:lnTo>
                    <a:pt x="1728252" y="1496349"/>
                  </a:lnTo>
                  <a:lnTo>
                    <a:pt x="1729183" y="1488898"/>
                  </a:lnTo>
                  <a:lnTo>
                    <a:pt x="1704037" y="1476170"/>
                  </a:lnTo>
                  <a:lnTo>
                    <a:pt x="1682306" y="1459406"/>
                  </a:lnTo>
                  <a:lnTo>
                    <a:pt x="1662437" y="1439537"/>
                  </a:lnTo>
                  <a:lnTo>
                    <a:pt x="1645673" y="1417496"/>
                  </a:lnTo>
                  <a:lnTo>
                    <a:pt x="1621769" y="1415322"/>
                  </a:lnTo>
                  <a:lnTo>
                    <a:pt x="1604073" y="1414391"/>
                  </a:lnTo>
                  <a:lnTo>
                    <a:pt x="1582342" y="1412218"/>
                  </a:lnTo>
                  <a:lnTo>
                    <a:pt x="1578306" y="1400732"/>
                  </a:lnTo>
                  <a:lnTo>
                    <a:pt x="1571166" y="1393281"/>
                  </a:lnTo>
                  <a:lnTo>
                    <a:pt x="1562784" y="1392350"/>
                  </a:lnTo>
                  <a:lnTo>
                    <a:pt x="1549124" y="1388003"/>
                  </a:lnTo>
                  <a:lnTo>
                    <a:pt x="1549124" y="1377448"/>
                  </a:lnTo>
                  <a:lnTo>
                    <a:pt x="1536707" y="1371239"/>
                  </a:lnTo>
                  <a:lnTo>
                    <a:pt x="1529566" y="1365962"/>
                  </a:lnTo>
                  <a:lnTo>
                    <a:pt x="1522426" y="1360684"/>
                  </a:lnTo>
                  <a:lnTo>
                    <a:pt x="1510008" y="1356338"/>
                  </a:lnTo>
                  <a:lnTo>
                    <a:pt x="1512181" y="1353233"/>
                  </a:lnTo>
                  <a:lnTo>
                    <a:pt x="1512181" y="1351060"/>
                  </a:lnTo>
                  <a:lnTo>
                    <a:pt x="1514354" y="1350129"/>
                  </a:lnTo>
                  <a:lnTo>
                    <a:pt x="1514354" y="1347956"/>
                  </a:lnTo>
                  <a:lnTo>
                    <a:pt x="1514354" y="1343609"/>
                  </a:lnTo>
                  <a:lnTo>
                    <a:pt x="1488277" y="1345783"/>
                  </a:lnTo>
                  <a:lnTo>
                    <a:pt x="1463131" y="1347956"/>
                  </a:lnTo>
                  <a:lnTo>
                    <a:pt x="1441400" y="1345783"/>
                  </a:lnTo>
                  <a:lnTo>
                    <a:pt x="1419668" y="1338332"/>
                  </a:lnTo>
                  <a:lnTo>
                    <a:pt x="1402904" y="1323741"/>
                  </a:lnTo>
                  <a:lnTo>
                    <a:pt x="1399800" y="1325914"/>
                  </a:lnTo>
                  <a:lnTo>
                    <a:pt x="1395764" y="1328087"/>
                  </a:lnTo>
                  <a:lnTo>
                    <a:pt x="1393591" y="1329019"/>
                  </a:lnTo>
                  <a:lnTo>
                    <a:pt x="1392660" y="1331192"/>
                  </a:lnTo>
                  <a:lnTo>
                    <a:pt x="1390487" y="1333365"/>
                  </a:lnTo>
                  <a:lnTo>
                    <a:pt x="1386451" y="1336469"/>
                  </a:lnTo>
                  <a:lnTo>
                    <a:pt x="1386451" y="1340815"/>
                  </a:lnTo>
                  <a:lnTo>
                    <a:pt x="1383346" y="1338642"/>
                  </a:lnTo>
                  <a:lnTo>
                    <a:pt x="1381173" y="1336469"/>
                  </a:lnTo>
                  <a:lnTo>
                    <a:pt x="1379000" y="1336469"/>
                  </a:lnTo>
                  <a:lnTo>
                    <a:pt x="1379000" y="1335538"/>
                  </a:lnTo>
                  <a:lnTo>
                    <a:pt x="1381173" y="1335538"/>
                  </a:lnTo>
                  <a:lnTo>
                    <a:pt x="1381173" y="1331192"/>
                  </a:lnTo>
                  <a:lnTo>
                    <a:pt x="1383346" y="1328087"/>
                  </a:lnTo>
                  <a:lnTo>
                    <a:pt x="1378069" y="1328087"/>
                  </a:lnTo>
                  <a:lnTo>
                    <a:pt x="1374033" y="1325914"/>
                  </a:lnTo>
                  <a:lnTo>
                    <a:pt x="1371860" y="1325914"/>
                  </a:lnTo>
                  <a:lnTo>
                    <a:pt x="1368755" y="1325914"/>
                  </a:lnTo>
                  <a:lnTo>
                    <a:pt x="1366582" y="1325914"/>
                  </a:lnTo>
                  <a:lnTo>
                    <a:pt x="1363478" y="1328087"/>
                  </a:lnTo>
                  <a:lnTo>
                    <a:pt x="1343609" y="1331192"/>
                  </a:lnTo>
                  <a:lnTo>
                    <a:pt x="1329950" y="1338642"/>
                  </a:lnTo>
                  <a:lnTo>
                    <a:pt x="1319395" y="1347956"/>
                  </a:lnTo>
                  <a:lnTo>
                    <a:pt x="1310081" y="1358511"/>
                  </a:lnTo>
                  <a:lnTo>
                    <a:pt x="1302941" y="1373102"/>
                  </a:lnTo>
                  <a:lnTo>
                    <a:pt x="1296111" y="1371550"/>
                  </a:lnTo>
                  <a:lnTo>
                    <a:pt x="1290833" y="1370618"/>
                  </a:lnTo>
                  <a:lnTo>
                    <a:pt x="1288660" y="1370618"/>
                  </a:lnTo>
                  <a:lnTo>
                    <a:pt x="1286798" y="1368445"/>
                  </a:lnTo>
                  <a:lnTo>
                    <a:pt x="1283693" y="1364099"/>
                  </a:lnTo>
                  <a:lnTo>
                    <a:pt x="1281520" y="1360994"/>
                  </a:lnTo>
                  <a:lnTo>
                    <a:pt x="1264756" y="1360994"/>
                  </a:lnTo>
                  <a:lnTo>
                    <a:pt x="1255443" y="1364099"/>
                  </a:lnTo>
                  <a:lnTo>
                    <a:pt x="1248302" y="1373412"/>
                  </a:lnTo>
                  <a:lnTo>
                    <a:pt x="1234643" y="1370308"/>
                  </a:lnTo>
                  <a:lnTo>
                    <a:pt x="1223156" y="1364099"/>
                  </a:lnTo>
                  <a:lnTo>
                    <a:pt x="1216016" y="1356648"/>
                  </a:lnTo>
                  <a:lnTo>
                    <a:pt x="1210739" y="1350439"/>
                  </a:lnTo>
                  <a:lnTo>
                    <a:pt x="1201425" y="1341126"/>
                  </a:lnTo>
                  <a:lnTo>
                    <a:pt x="1201425" y="1326535"/>
                  </a:lnTo>
                  <a:lnTo>
                    <a:pt x="1205461" y="1311944"/>
                  </a:lnTo>
                  <a:lnTo>
                    <a:pt x="1208565" y="1300457"/>
                  </a:lnTo>
                  <a:lnTo>
                    <a:pt x="1206392" y="1284625"/>
                  </a:lnTo>
                  <a:lnTo>
                    <a:pt x="1199252" y="1273138"/>
                  </a:lnTo>
                  <a:lnTo>
                    <a:pt x="1190870" y="1267861"/>
                  </a:lnTo>
                  <a:lnTo>
                    <a:pt x="1177210" y="1265688"/>
                  </a:lnTo>
                  <a:lnTo>
                    <a:pt x="1162619" y="1265688"/>
                  </a:lnTo>
                  <a:lnTo>
                    <a:pt x="1147097" y="1267861"/>
                  </a:lnTo>
                  <a:lnTo>
                    <a:pt x="1128470" y="1267861"/>
                  </a:lnTo>
                  <a:lnTo>
                    <a:pt x="1134679" y="1255132"/>
                  </a:lnTo>
                  <a:lnTo>
                    <a:pt x="1139957" y="1238368"/>
                  </a:lnTo>
                  <a:lnTo>
                    <a:pt x="1145234" y="1220362"/>
                  </a:lnTo>
                  <a:lnTo>
                    <a:pt x="1150512" y="1206703"/>
                  </a:lnTo>
                  <a:lnTo>
                    <a:pt x="1157652" y="1199252"/>
                  </a:lnTo>
                  <a:lnTo>
                    <a:pt x="1157652" y="1183420"/>
                  </a:lnTo>
                  <a:lnTo>
                    <a:pt x="1152375" y="1184351"/>
                  </a:lnTo>
                  <a:lnTo>
                    <a:pt x="1148339" y="1184351"/>
                  </a:lnTo>
                  <a:lnTo>
                    <a:pt x="1147097" y="1184351"/>
                  </a:lnTo>
                  <a:lnTo>
                    <a:pt x="1147097" y="1186524"/>
                  </a:lnTo>
                  <a:lnTo>
                    <a:pt x="1144924" y="1186524"/>
                  </a:lnTo>
                  <a:lnTo>
                    <a:pt x="1144924" y="1184351"/>
                  </a:lnTo>
                  <a:lnTo>
                    <a:pt x="1142751" y="1183420"/>
                  </a:lnTo>
                  <a:lnTo>
                    <a:pt x="1141820" y="1179073"/>
                  </a:lnTo>
                  <a:lnTo>
                    <a:pt x="1125055" y="1181246"/>
                  </a:lnTo>
                  <a:lnTo>
                    <a:pt x="1113569" y="1186524"/>
                  </a:lnTo>
                  <a:lnTo>
                    <a:pt x="1105187" y="1195837"/>
                  </a:lnTo>
                  <a:lnTo>
                    <a:pt x="1103014" y="1198942"/>
                  </a:lnTo>
                  <a:lnTo>
                    <a:pt x="1100841" y="1205151"/>
                  </a:lnTo>
                  <a:lnTo>
                    <a:pt x="1098668" y="1210428"/>
                  </a:lnTo>
                  <a:lnTo>
                    <a:pt x="1097736" y="1215706"/>
                  </a:lnTo>
                  <a:lnTo>
                    <a:pt x="1093700" y="1220052"/>
                  </a:lnTo>
                  <a:lnTo>
                    <a:pt x="1093700" y="1220983"/>
                  </a:lnTo>
                  <a:lnTo>
                    <a:pt x="1091527" y="1220983"/>
                  </a:lnTo>
                  <a:lnTo>
                    <a:pt x="1090596" y="1220983"/>
                  </a:lnTo>
                  <a:lnTo>
                    <a:pt x="1086560" y="1220983"/>
                  </a:lnTo>
                  <a:lnTo>
                    <a:pt x="1084387" y="1220983"/>
                  </a:lnTo>
                  <a:lnTo>
                    <a:pt x="1081283" y="1223157"/>
                  </a:lnTo>
                  <a:lnTo>
                    <a:pt x="1066692" y="1230607"/>
                  </a:lnTo>
                  <a:lnTo>
                    <a:pt x="1057378" y="1234953"/>
                  </a:lnTo>
                  <a:lnTo>
                    <a:pt x="1052101" y="1232780"/>
                  </a:lnTo>
                  <a:lnTo>
                    <a:pt x="1048065" y="1230607"/>
                  </a:lnTo>
                  <a:lnTo>
                    <a:pt x="1044960" y="1227503"/>
                  </a:lnTo>
                  <a:lnTo>
                    <a:pt x="1037820" y="1225330"/>
                  </a:lnTo>
                  <a:lnTo>
                    <a:pt x="1025402" y="1223157"/>
                  </a:lnTo>
                  <a:lnTo>
                    <a:pt x="1013916" y="1201115"/>
                  </a:lnTo>
                  <a:lnTo>
                    <a:pt x="1006776" y="1183109"/>
                  </a:lnTo>
                  <a:lnTo>
                    <a:pt x="1005844" y="1164172"/>
                  </a:lnTo>
                  <a:lnTo>
                    <a:pt x="1005844" y="1146166"/>
                  </a:lnTo>
                  <a:lnTo>
                    <a:pt x="1012985" y="1121951"/>
                  </a:lnTo>
                  <a:lnTo>
                    <a:pt x="1016089" y="1111396"/>
                  </a:lnTo>
                  <a:lnTo>
                    <a:pt x="1016089" y="1102083"/>
                  </a:lnTo>
                  <a:lnTo>
                    <a:pt x="1013916" y="1094632"/>
                  </a:lnTo>
                  <a:lnTo>
                    <a:pt x="1017952" y="1085319"/>
                  </a:lnTo>
                  <a:lnTo>
                    <a:pt x="1025092" y="1074764"/>
                  </a:lnTo>
                  <a:lnTo>
                    <a:pt x="1035647" y="1067313"/>
                  </a:lnTo>
                  <a:lnTo>
                    <a:pt x="1048065" y="1061104"/>
                  </a:lnTo>
                  <a:lnTo>
                    <a:pt x="1059551" y="1057999"/>
                  </a:lnTo>
                  <a:lnTo>
                    <a:pt x="1076316" y="1055826"/>
                  </a:lnTo>
                  <a:lnTo>
                    <a:pt x="1091838" y="1055826"/>
                  </a:lnTo>
                  <a:lnTo>
                    <a:pt x="1108602" y="1060173"/>
                  </a:lnTo>
                  <a:lnTo>
                    <a:pt x="1121020" y="1065450"/>
                  </a:lnTo>
                  <a:lnTo>
                    <a:pt x="1137784" y="1065450"/>
                  </a:lnTo>
                  <a:lnTo>
                    <a:pt x="1134679" y="1060173"/>
                  </a:lnTo>
                  <a:lnTo>
                    <a:pt x="1132506" y="1055826"/>
                  </a:lnTo>
                  <a:lnTo>
                    <a:pt x="1130333" y="1052722"/>
                  </a:lnTo>
                  <a:lnTo>
                    <a:pt x="1127229" y="1047444"/>
                  </a:lnTo>
                  <a:lnTo>
                    <a:pt x="1125055" y="1041235"/>
                  </a:lnTo>
                  <a:lnTo>
                    <a:pt x="1128160" y="1041235"/>
                  </a:lnTo>
                  <a:lnTo>
                    <a:pt x="1128160" y="1038131"/>
                  </a:lnTo>
                  <a:lnTo>
                    <a:pt x="1149891" y="1041235"/>
                  </a:lnTo>
                  <a:lnTo>
                    <a:pt x="1168518" y="1048686"/>
                  </a:lnTo>
                  <a:lnTo>
                    <a:pt x="1184040" y="1056137"/>
                  </a:lnTo>
                  <a:lnTo>
                    <a:pt x="1197700" y="1058310"/>
                  </a:lnTo>
                  <a:lnTo>
                    <a:pt x="1208255" y="1067623"/>
                  </a:lnTo>
                  <a:lnTo>
                    <a:pt x="1219741" y="1083456"/>
                  </a:lnTo>
                  <a:lnTo>
                    <a:pt x="1230297" y="1105498"/>
                  </a:lnTo>
                  <a:lnTo>
                    <a:pt x="1239610" y="1126608"/>
                  </a:lnTo>
                  <a:lnTo>
                    <a:pt x="1244888" y="1142441"/>
                  </a:lnTo>
                  <a:lnTo>
                    <a:pt x="1257305" y="1146787"/>
                  </a:lnTo>
                  <a:lnTo>
                    <a:pt x="1257305" y="1142441"/>
                  </a:lnTo>
                  <a:lnTo>
                    <a:pt x="1261341" y="1142441"/>
                  </a:lnTo>
                  <a:lnTo>
                    <a:pt x="1257305" y="1124435"/>
                  </a:lnTo>
                  <a:lnTo>
                    <a:pt x="1250165" y="1104566"/>
                  </a:lnTo>
                  <a:lnTo>
                    <a:pt x="1243025" y="1083456"/>
                  </a:lnTo>
                  <a:lnTo>
                    <a:pt x="1237747" y="1063587"/>
                  </a:lnTo>
                  <a:lnTo>
                    <a:pt x="1235574" y="1045581"/>
                  </a:lnTo>
                  <a:lnTo>
                    <a:pt x="1241783" y="1030991"/>
                  </a:lnTo>
                  <a:lnTo>
                    <a:pt x="1247061" y="1012053"/>
                  </a:lnTo>
                  <a:lnTo>
                    <a:pt x="1257616" y="997462"/>
                  </a:lnTo>
                  <a:lnTo>
                    <a:pt x="1274380" y="986907"/>
                  </a:lnTo>
                  <a:lnTo>
                    <a:pt x="1291144" y="975421"/>
                  </a:lnTo>
                  <a:lnTo>
                    <a:pt x="1306666" y="967039"/>
                  </a:lnTo>
                  <a:lnTo>
                    <a:pt x="1321257" y="957725"/>
                  </a:lnTo>
                  <a:lnTo>
                    <a:pt x="1321257" y="952448"/>
                  </a:lnTo>
                  <a:lnTo>
                    <a:pt x="1318153" y="940961"/>
                  </a:lnTo>
                  <a:lnTo>
                    <a:pt x="1314117" y="928233"/>
                  </a:lnTo>
                  <a:lnTo>
                    <a:pt x="1311012" y="917678"/>
                  </a:lnTo>
                  <a:lnTo>
                    <a:pt x="1308839" y="913332"/>
                  </a:lnTo>
                  <a:lnTo>
                    <a:pt x="1308839" y="904018"/>
                  </a:lnTo>
                  <a:lnTo>
                    <a:pt x="1314117" y="908364"/>
                  </a:lnTo>
                  <a:lnTo>
                    <a:pt x="1316290" y="910538"/>
                  </a:lnTo>
                  <a:lnTo>
                    <a:pt x="1320326" y="911469"/>
                  </a:lnTo>
                  <a:lnTo>
                    <a:pt x="1321257" y="913642"/>
                  </a:lnTo>
                  <a:lnTo>
                    <a:pt x="1325293" y="917988"/>
                  </a:lnTo>
                  <a:lnTo>
                    <a:pt x="1337711" y="886633"/>
                  </a:lnTo>
                  <a:lnTo>
                    <a:pt x="1348266" y="857141"/>
                  </a:lnTo>
                  <a:lnTo>
                    <a:pt x="1362857" y="854968"/>
                  </a:lnTo>
                  <a:lnTo>
                    <a:pt x="1376517" y="852795"/>
                  </a:lnTo>
                  <a:lnTo>
                    <a:pt x="1391108" y="849690"/>
                  </a:lnTo>
                  <a:lnTo>
                    <a:pt x="1401663" y="840377"/>
                  </a:lnTo>
                  <a:lnTo>
                    <a:pt x="1408803" y="840377"/>
                  </a:lnTo>
                  <a:lnTo>
                    <a:pt x="1405698" y="837272"/>
                  </a:lnTo>
                  <a:lnTo>
                    <a:pt x="1398558" y="835099"/>
                  </a:lnTo>
                  <a:lnTo>
                    <a:pt x="1392349" y="832926"/>
                  </a:lnTo>
                  <a:lnTo>
                    <a:pt x="1398558" y="814920"/>
                  </a:lnTo>
                  <a:lnTo>
                    <a:pt x="1406940" y="802192"/>
                  </a:lnTo>
                  <a:lnTo>
                    <a:pt x="1420600" y="792879"/>
                  </a:lnTo>
                  <a:lnTo>
                    <a:pt x="1435191" y="785428"/>
                  </a:lnTo>
                  <a:lnTo>
                    <a:pt x="1448850" y="780150"/>
                  </a:lnTo>
                  <a:lnTo>
                    <a:pt x="1465615" y="772700"/>
                  </a:lnTo>
                  <a:lnTo>
                    <a:pt x="1478032" y="763386"/>
                  </a:lnTo>
                  <a:lnTo>
                    <a:pt x="1478032" y="761213"/>
                  </a:lnTo>
                  <a:lnTo>
                    <a:pt x="1478032" y="759040"/>
                  </a:lnTo>
                  <a:lnTo>
                    <a:pt x="1480205" y="759040"/>
                  </a:lnTo>
                  <a:lnTo>
                    <a:pt x="1482379" y="759040"/>
                  </a:lnTo>
                  <a:lnTo>
                    <a:pt x="1482379" y="763386"/>
                  </a:lnTo>
                  <a:lnTo>
                    <a:pt x="1489519" y="766491"/>
                  </a:lnTo>
                  <a:lnTo>
                    <a:pt x="1482379" y="775804"/>
                  </a:lnTo>
                  <a:lnTo>
                    <a:pt x="1475238" y="781082"/>
                  </a:lnTo>
                  <a:lnTo>
                    <a:pt x="1465925" y="787291"/>
                  </a:lnTo>
                  <a:lnTo>
                    <a:pt x="1465925" y="803123"/>
                  </a:lnTo>
                  <a:lnTo>
                    <a:pt x="1484552" y="795673"/>
                  </a:lnTo>
                  <a:lnTo>
                    <a:pt x="1499143" y="785117"/>
                  </a:lnTo>
                  <a:lnTo>
                    <a:pt x="1509698" y="772389"/>
                  </a:lnTo>
                  <a:lnTo>
                    <a:pt x="1511871" y="770216"/>
                  </a:lnTo>
                  <a:lnTo>
                    <a:pt x="1511871" y="768043"/>
                  </a:lnTo>
                  <a:lnTo>
                    <a:pt x="1514044" y="768043"/>
                  </a:lnTo>
                  <a:lnTo>
                    <a:pt x="1514044" y="765870"/>
                  </a:lnTo>
                  <a:lnTo>
                    <a:pt x="1514044" y="762765"/>
                  </a:lnTo>
                  <a:lnTo>
                    <a:pt x="1504731" y="751279"/>
                  </a:lnTo>
                  <a:lnTo>
                    <a:pt x="1497590" y="740724"/>
                  </a:lnTo>
                  <a:lnTo>
                    <a:pt x="1488277" y="730169"/>
                  </a:lnTo>
                  <a:lnTo>
                    <a:pt x="1473686" y="722718"/>
                  </a:lnTo>
                  <a:lnTo>
                    <a:pt x="1475859" y="711231"/>
                  </a:lnTo>
                  <a:lnTo>
                    <a:pt x="1478032" y="703781"/>
                  </a:lnTo>
                  <a:lnTo>
                    <a:pt x="1481137" y="696330"/>
                  </a:lnTo>
                  <a:lnTo>
                    <a:pt x="1486414" y="687017"/>
                  </a:lnTo>
                  <a:lnTo>
                    <a:pt x="1483310" y="683912"/>
                  </a:lnTo>
                  <a:lnTo>
                    <a:pt x="1479274" y="681739"/>
                  </a:lnTo>
                  <a:lnTo>
                    <a:pt x="1476170" y="679566"/>
                  </a:lnTo>
                  <a:lnTo>
                    <a:pt x="1473996" y="678635"/>
                  </a:lnTo>
                  <a:lnTo>
                    <a:pt x="1471823" y="674288"/>
                  </a:lnTo>
                  <a:lnTo>
                    <a:pt x="1470892" y="671184"/>
                  </a:lnTo>
                  <a:lnTo>
                    <a:pt x="1446988" y="676461"/>
                  </a:lnTo>
                  <a:lnTo>
                    <a:pt x="1425257" y="685775"/>
                  </a:lnTo>
                  <a:lnTo>
                    <a:pt x="1407561" y="698503"/>
                  </a:lnTo>
                  <a:lnTo>
                    <a:pt x="1403525" y="698503"/>
                  </a:lnTo>
                  <a:lnTo>
                    <a:pt x="1418116" y="681739"/>
                  </a:lnTo>
                  <a:lnTo>
                    <a:pt x="1437985" y="672426"/>
                  </a:lnTo>
                  <a:lnTo>
                    <a:pt x="1459716" y="664975"/>
                  </a:lnTo>
                  <a:lnTo>
                    <a:pt x="1485793" y="661870"/>
                  </a:lnTo>
                  <a:lnTo>
                    <a:pt x="1510940" y="657524"/>
                  </a:lnTo>
                  <a:lnTo>
                    <a:pt x="1537017" y="654420"/>
                  </a:lnTo>
                  <a:lnTo>
                    <a:pt x="1562163" y="649142"/>
                  </a:lnTo>
                  <a:lnTo>
                    <a:pt x="1583894" y="639829"/>
                  </a:lnTo>
                  <a:lnTo>
                    <a:pt x="1603763" y="625238"/>
                  </a:lnTo>
                  <a:lnTo>
                    <a:pt x="1603763" y="622133"/>
                  </a:lnTo>
                  <a:lnTo>
                    <a:pt x="1603763" y="619960"/>
                  </a:lnTo>
                  <a:lnTo>
                    <a:pt x="1603763" y="615614"/>
                  </a:lnTo>
                  <a:lnTo>
                    <a:pt x="1601590" y="614683"/>
                  </a:lnTo>
                  <a:lnTo>
                    <a:pt x="1601590" y="610336"/>
                  </a:lnTo>
                  <a:lnTo>
                    <a:pt x="1601590" y="607232"/>
                  </a:lnTo>
                  <a:lnTo>
                    <a:pt x="1603763" y="601023"/>
                  </a:lnTo>
                  <a:lnTo>
                    <a:pt x="1601590" y="595746"/>
                  </a:lnTo>
                  <a:lnTo>
                    <a:pt x="1601590" y="590468"/>
                  </a:lnTo>
                  <a:lnTo>
                    <a:pt x="1600658" y="586122"/>
                  </a:lnTo>
                  <a:lnTo>
                    <a:pt x="1600658" y="580844"/>
                  </a:lnTo>
                  <a:lnTo>
                    <a:pt x="1581721" y="580844"/>
                  </a:lnTo>
                  <a:lnTo>
                    <a:pt x="1579548" y="566253"/>
                  </a:lnTo>
                  <a:lnTo>
                    <a:pt x="1572408" y="556940"/>
                  </a:lnTo>
                  <a:lnTo>
                    <a:pt x="1565268" y="549489"/>
                  </a:lnTo>
                  <a:lnTo>
                    <a:pt x="1552850" y="546385"/>
                  </a:lnTo>
                  <a:lnTo>
                    <a:pt x="1543536" y="556940"/>
                  </a:lnTo>
                  <a:lnTo>
                    <a:pt x="1532981" y="566253"/>
                  </a:lnTo>
                  <a:lnTo>
                    <a:pt x="1521495" y="577740"/>
                  </a:lnTo>
                  <a:lnTo>
                    <a:pt x="1518390" y="577740"/>
                  </a:lnTo>
                  <a:lnTo>
                    <a:pt x="1530808" y="558803"/>
                  </a:lnTo>
                  <a:lnTo>
                    <a:pt x="1542295" y="536761"/>
                  </a:lnTo>
                  <a:lnTo>
                    <a:pt x="1528635" y="526206"/>
                  </a:lnTo>
                  <a:lnTo>
                    <a:pt x="1525531" y="516892"/>
                  </a:lnTo>
                  <a:lnTo>
                    <a:pt x="1527704" y="506337"/>
                  </a:lnTo>
                  <a:lnTo>
                    <a:pt x="1527704" y="494851"/>
                  </a:lnTo>
                  <a:lnTo>
                    <a:pt x="1521495" y="480260"/>
                  </a:lnTo>
                  <a:lnTo>
                    <a:pt x="1520563" y="478087"/>
                  </a:lnTo>
                  <a:lnTo>
                    <a:pt x="1516528" y="478087"/>
                  </a:lnTo>
                  <a:lnTo>
                    <a:pt x="1514354" y="478087"/>
                  </a:lnTo>
                  <a:lnTo>
                    <a:pt x="1511250" y="478087"/>
                  </a:lnTo>
                  <a:lnTo>
                    <a:pt x="1507214" y="478087"/>
                  </a:lnTo>
                  <a:lnTo>
                    <a:pt x="1506283" y="477155"/>
                  </a:lnTo>
                  <a:lnTo>
                    <a:pt x="1504110" y="472809"/>
                  </a:lnTo>
                  <a:lnTo>
                    <a:pt x="1501937" y="469705"/>
                  </a:lnTo>
                  <a:lnTo>
                    <a:pt x="1504110" y="465358"/>
                  </a:lnTo>
                  <a:lnTo>
                    <a:pt x="1504110" y="462254"/>
                  </a:lnTo>
                  <a:lnTo>
                    <a:pt x="1506283" y="460081"/>
                  </a:lnTo>
                  <a:lnTo>
                    <a:pt x="1506283" y="455734"/>
                  </a:lnTo>
                  <a:lnTo>
                    <a:pt x="1506283" y="452630"/>
                  </a:lnTo>
                  <a:lnTo>
                    <a:pt x="1500074" y="443317"/>
                  </a:lnTo>
                  <a:lnTo>
                    <a:pt x="1492934" y="435866"/>
                  </a:lnTo>
                  <a:lnTo>
                    <a:pt x="1485793" y="428415"/>
                  </a:lnTo>
                  <a:lnTo>
                    <a:pt x="1480516" y="420964"/>
                  </a:lnTo>
                  <a:lnTo>
                    <a:pt x="1478343" y="408236"/>
                  </a:lnTo>
                  <a:lnTo>
                    <a:pt x="1463752" y="419723"/>
                  </a:lnTo>
                  <a:lnTo>
                    <a:pt x="1455370" y="434314"/>
                  </a:lnTo>
                  <a:lnTo>
                    <a:pt x="1443883" y="447973"/>
                  </a:lnTo>
                  <a:lnTo>
                    <a:pt x="1429292" y="459460"/>
                  </a:lnTo>
                  <a:lnTo>
                    <a:pt x="1428361" y="455114"/>
                  </a:lnTo>
                  <a:lnTo>
                    <a:pt x="1422152" y="454182"/>
                  </a:lnTo>
                  <a:lnTo>
                    <a:pt x="1419048" y="449836"/>
                  </a:lnTo>
                  <a:lnTo>
                    <a:pt x="1415012" y="447663"/>
                  </a:lnTo>
                  <a:lnTo>
                    <a:pt x="1411907" y="444558"/>
                  </a:lnTo>
                  <a:lnTo>
                    <a:pt x="1409734" y="442385"/>
                  </a:lnTo>
                  <a:lnTo>
                    <a:pt x="1406630" y="431830"/>
                  </a:lnTo>
                  <a:lnTo>
                    <a:pt x="1404457" y="417239"/>
                  </a:lnTo>
                  <a:lnTo>
                    <a:pt x="1400421" y="400475"/>
                  </a:lnTo>
                  <a:lnTo>
                    <a:pt x="1399490" y="391162"/>
                  </a:lnTo>
                  <a:lnTo>
                    <a:pt x="1395454" y="388057"/>
                  </a:lnTo>
                  <a:lnTo>
                    <a:pt x="1390176" y="385884"/>
                  </a:lnTo>
                  <a:lnTo>
                    <a:pt x="1384899" y="383711"/>
                  </a:lnTo>
                  <a:lnTo>
                    <a:pt x="1378690" y="383711"/>
                  </a:lnTo>
                  <a:lnTo>
                    <a:pt x="1375585" y="382780"/>
                  </a:lnTo>
                  <a:lnTo>
                    <a:pt x="1370308" y="378433"/>
                  </a:lnTo>
                  <a:lnTo>
                    <a:pt x="1364099" y="369120"/>
                  </a:lnTo>
                  <a:lnTo>
                    <a:pt x="1358821" y="356392"/>
                  </a:lnTo>
                  <a:lnTo>
                    <a:pt x="1353544" y="347078"/>
                  </a:lnTo>
                  <a:lnTo>
                    <a:pt x="1329639" y="351425"/>
                  </a:lnTo>
                  <a:lnTo>
                    <a:pt x="1307908" y="351425"/>
                  </a:lnTo>
                  <a:lnTo>
                    <a:pt x="1282762" y="347078"/>
                  </a:lnTo>
                  <a:lnTo>
                    <a:pt x="1282762" y="351425"/>
                  </a:lnTo>
                  <a:lnTo>
                    <a:pt x="1278726" y="351425"/>
                  </a:lnTo>
                  <a:lnTo>
                    <a:pt x="1280899" y="369431"/>
                  </a:lnTo>
                  <a:lnTo>
                    <a:pt x="1286177" y="388368"/>
                  </a:lnTo>
                  <a:lnTo>
                    <a:pt x="1290213" y="405132"/>
                  </a:lnTo>
                  <a:lnTo>
                    <a:pt x="1293317" y="420964"/>
                  </a:lnTo>
                  <a:lnTo>
                    <a:pt x="1290213" y="435555"/>
                  </a:lnTo>
                  <a:lnTo>
                    <a:pt x="1283072" y="448284"/>
                  </a:lnTo>
                  <a:lnTo>
                    <a:pt x="1285246" y="454493"/>
                  </a:lnTo>
                  <a:lnTo>
                    <a:pt x="1288350" y="457597"/>
                  </a:lnTo>
                  <a:lnTo>
                    <a:pt x="1292386" y="459770"/>
                  </a:lnTo>
                  <a:lnTo>
                    <a:pt x="1295490" y="461943"/>
                  </a:lnTo>
                  <a:lnTo>
                    <a:pt x="1302630" y="465048"/>
                  </a:lnTo>
                  <a:lnTo>
                    <a:pt x="1302630" y="481812"/>
                  </a:lnTo>
                  <a:lnTo>
                    <a:pt x="1304804" y="498576"/>
                  </a:lnTo>
                  <a:lnTo>
                    <a:pt x="1302630" y="509131"/>
                  </a:lnTo>
                  <a:lnTo>
                    <a:pt x="1297353" y="528068"/>
                  </a:lnTo>
                  <a:lnTo>
                    <a:pt x="1288040" y="542659"/>
                  </a:lnTo>
                  <a:lnTo>
                    <a:pt x="1273449" y="553214"/>
                  </a:lnTo>
                  <a:lnTo>
                    <a:pt x="1258858" y="560665"/>
                  </a:lnTo>
                  <a:lnTo>
                    <a:pt x="1264135" y="577429"/>
                  </a:lnTo>
                  <a:lnTo>
                    <a:pt x="1268171" y="595435"/>
                  </a:lnTo>
                  <a:lnTo>
                    <a:pt x="1270344" y="610026"/>
                  </a:lnTo>
                  <a:lnTo>
                    <a:pt x="1270344" y="621513"/>
                  </a:lnTo>
                  <a:lnTo>
                    <a:pt x="1268171" y="624617"/>
                  </a:lnTo>
                  <a:lnTo>
                    <a:pt x="1268171" y="626790"/>
                  </a:lnTo>
                  <a:lnTo>
                    <a:pt x="1268171" y="628963"/>
                  </a:lnTo>
                  <a:lnTo>
                    <a:pt x="1265998" y="628963"/>
                  </a:lnTo>
                  <a:lnTo>
                    <a:pt x="1262893" y="629895"/>
                  </a:lnTo>
                  <a:lnTo>
                    <a:pt x="1260720" y="629895"/>
                  </a:lnTo>
                  <a:lnTo>
                    <a:pt x="1258547" y="632068"/>
                  </a:lnTo>
                  <a:lnTo>
                    <a:pt x="1256374" y="632068"/>
                  </a:lnTo>
                  <a:lnTo>
                    <a:pt x="1253270" y="634241"/>
                  </a:lnTo>
                  <a:lnTo>
                    <a:pt x="1242714" y="617477"/>
                  </a:lnTo>
                  <a:lnTo>
                    <a:pt x="1233401" y="604748"/>
                  </a:lnTo>
                  <a:lnTo>
                    <a:pt x="1229365" y="593262"/>
                  </a:lnTo>
                  <a:lnTo>
                    <a:pt x="1228434" y="582707"/>
                  </a:lnTo>
                  <a:lnTo>
                    <a:pt x="1226261" y="571220"/>
                  </a:lnTo>
                  <a:lnTo>
                    <a:pt x="1222225" y="556629"/>
                  </a:lnTo>
                  <a:lnTo>
                    <a:pt x="1219121" y="536761"/>
                  </a:lnTo>
                  <a:lnTo>
                    <a:pt x="1189939" y="529310"/>
                  </a:lnTo>
                  <a:lnTo>
                    <a:pt x="1185903" y="529310"/>
                  </a:lnTo>
                  <a:lnTo>
                    <a:pt x="1184972" y="531483"/>
                  </a:lnTo>
                  <a:lnTo>
                    <a:pt x="1180936" y="533656"/>
                  </a:lnTo>
                  <a:lnTo>
                    <a:pt x="1178763" y="535829"/>
                  </a:lnTo>
                  <a:lnTo>
                    <a:pt x="1175658" y="535829"/>
                  </a:lnTo>
                  <a:lnTo>
                    <a:pt x="1171622" y="536761"/>
                  </a:lnTo>
                  <a:lnTo>
                    <a:pt x="1168518" y="535829"/>
                  </a:lnTo>
                  <a:lnTo>
                    <a:pt x="1163240" y="533656"/>
                  </a:lnTo>
                  <a:lnTo>
                    <a:pt x="1150202" y="527137"/>
                  </a:lnTo>
                  <a:lnTo>
                    <a:pt x="1139646" y="515650"/>
                  </a:lnTo>
                  <a:lnTo>
                    <a:pt x="1127229" y="502922"/>
                  </a:lnTo>
                  <a:lnTo>
                    <a:pt x="1113569" y="493609"/>
                  </a:lnTo>
                  <a:lnTo>
                    <a:pt x="1101151" y="488331"/>
                  </a:lnTo>
                  <a:lnTo>
                    <a:pt x="1088733" y="490504"/>
                  </a:lnTo>
                  <a:lnTo>
                    <a:pt x="1083456" y="488331"/>
                  </a:lnTo>
                  <a:lnTo>
                    <a:pt x="1077247" y="488331"/>
                  </a:lnTo>
                  <a:lnTo>
                    <a:pt x="1076316" y="486158"/>
                  </a:lnTo>
                  <a:lnTo>
                    <a:pt x="1076316" y="485227"/>
                  </a:lnTo>
                  <a:lnTo>
                    <a:pt x="1076316" y="483054"/>
                  </a:lnTo>
                  <a:lnTo>
                    <a:pt x="1076316" y="480881"/>
                  </a:lnTo>
                  <a:lnTo>
                    <a:pt x="1076316" y="477776"/>
                  </a:lnTo>
                  <a:lnTo>
                    <a:pt x="1076316" y="473430"/>
                  </a:lnTo>
                  <a:lnTo>
                    <a:pt x="1072280" y="470325"/>
                  </a:lnTo>
                  <a:lnTo>
                    <a:pt x="1072280" y="461012"/>
                  </a:lnTo>
                  <a:lnTo>
                    <a:pt x="1052411" y="461012"/>
                  </a:lnTo>
                  <a:lnTo>
                    <a:pt x="1052411" y="441143"/>
                  </a:lnTo>
                  <a:lnTo>
                    <a:pt x="1048375" y="421275"/>
                  </a:lnTo>
                  <a:lnTo>
                    <a:pt x="1042166" y="406684"/>
                  </a:lnTo>
                  <a:lnTo>
                    <a:pt x="1042166" y="382469"/>
                  </a:lnTo>
                  <a:lnTo>
                    <a:pt x="1048375" y="365705"/>
                  </a:lnTo>
                  <a:lnTo>
                    <a:pt x="1057689" y="355150"/>
                  </a:lnTo>
                  <a:lnTo>
                    <a:pt x="1072280" y="345837"/>
                  </a:lnTo>
                  <a:lnTo>
                    <a:pt x="1089044" y="340559"/>
                  </a:lnTo>
                  <a:lnTo>
                    <a:pt x="1089044" y="335282"/>
                  </a:lnTo>
                  <a:lnTo>
                    <a:pt x="1086871" y="329073"/>
                  </a:lnTo>
                  <a:lnTo>
                    <a:pt x="1086871" y="325968"/>
                  </a:lnTo>
                  <a:lnTo>
                    <a:pt x="1084698" y="323795"/>
                  </a:lnTo>
                  <a:lnTo>
                    <a:pt x="1083766" y="320691"/>
                  </a:lnTo>
                  <a:lnTo>
                    <a:pt x="1081593" y="316344"/>
                  </a:lnTo>
                  <a:lnTo>
                    <a:pt x="1072280" y="316344"/>
                  </a:lnTo>
                  <a:lnTo>
                    <a:pt x="1072280" y="313240"/>
                  </a:lnTo>
                  <a:lnTo>
                    <a:pt x="1079420" y="314171"/>
                  </a:lnTo>
                  <a:lnTo>
                    <a:pt x="1083456" y="316344"/>
                  </a:lnTo>
                  <a:lnTo>
                    <a:pt x="1088733" y="318517"/>
                  </a:lnTo>
                  <a:lnTo>
                    <a:pt x="1094011" y="320691"/>
                  </a:lnTo>
                  <a:lnTo>
                    <a:pt x="1101151" y="320691"/>
                  </a:lnTo>
                  <a:lnTo>
                    <a:pt x="1105187" y="307031"/>
                  </a:lnTo>
                  <a:lnTo>
                    <a:pt x="1108291" y="298649"/>
                  </a:lnTo>
                  <a:lnTo>
                    <a:pt x="1115432" y="291198"/>
                  </a:lnTo>
                  <a:lnTo>
                    <a:pt x="1124745" y="283748"/>
                  </a:lnTo>
                  <a:lnTo>
                    <a:pt x="1126918" y="279401"/>
                  </a:lnTo>
                  <a:lnTo>
                    <a:pt x="1130023" y="276297"/>
                  </a:lnTo>
                  <a:lnTo>
                    <a:pt x="1132196" y="271951"/>
                  </a:lnTo>
                  <a:lnTo>
                    <a:pt x="1132196" y="266673"/>
                  </a:lnTo>
                  <a:lnTo>
                    <a:pt x="1130023" y="261395"/>
                  </a:lnTo>
                  <a:lnTo>
                    <a:pt x="1127849" y="259222"/>
                  </a:lnTo>
                  <a:lnTo>
                    <a:pt x="1126918" y="257049"/>
                  </a:lnTo>
                  <a:lnTo>
                    <a:pt x="1124745" y="254876"/>
                  </a:lnTo>
                  <a:lnTo>
                    <a:pt x="1120709" y="251772"/>
                  </a:lnTo>
                  <a:lnTo>
                    <a:pt x="1117605" y="251772"/>
                  </a:lnTo>
                  <a:lnTo>
                    <a:pt x="1117605" y="247736"/>
                  </a:lnTo>
                  <a:lnTo>
                    <a:pt x="1135300" y="252082"/>
                  </a:lnTo>
                  <a:lnTo>
                    <a:pt x="1147718" y="259533"/>
                  </a:lnTo>
                  <a:lnTo>
                    <a:pt x="1157031" y="259533"/>
                  </a:lnTo>
                  <a:lnTo>
                    <a:pt x="1159205" y="241527"/>
                  </a:lnTo>
                  <a:lnTo>
                    <a:pt x="1161378" y="230040"/>
                  </a:lnTo>
                  <a:lnTo>
                    <a:pt x="1157342" y="219485"/>
                  </a:lnTo>
                  <a:lnTo>
                    <a:pt x="1157342" y="215139"/>
                  </a:lnTo>
                  <a:lnTo>
                    <a:pt x="1208255" y="212034"/>
                  </a:lnTo>
                  <a:lnTo>
                    <a:pt x="1208255" y="205826"/>
                  </a:lnTo>
                  <a:lnTo>
                    <a:pt x="1206082" y="202721"/>
                  </a:lnTo>
                  <a:lnTo>
                    <a:pt x="1206082" y="200548"/>
                  </a:lnTo>
                  <a:lnTo>
                    <a:pt x="1205151" y="198375"/>
                  </a:lnTo>
                  <a:lnTo>
                    <a:pt x="1202977" y="197444"/>
                  </a:lnTo>
                  <a:lnTo>
                    <a:pt x="1200804" y="195270"/>
                  </a:lnTo>
                  <a:lnTo>
                    <a:pt x="1200804" y="190924"/>
                  </a:lnTo>
                  <a:lnTo>
                    <a:pt x="1206082" y="193097"/>
                  </a:lnTo>
                  <a:lnTo>
                    <a:pt x="1210118" y="195270"/>
                  </a:lnTo>
                  <a:lnTo>
                    <a:pt x="1213222" y="197444"/>
                  </a:lnTo>
                  <a:lnTo>
                    <a:pt x="1217258" y="198375"/>
                  </a:lnTo>
                  <a:lnTo>
                    <a:pt x="1224398" y="198375"/>
                  </a:lnTo>
                  <a:lnTo>
                    <a:pt x="1226571" y="187820"/>
                  </a:lnTo>
                  <a:lnTo>
                    <a:pt x="1229676" y="173229"/>
                  </a:lnTo>
                  <a:lnTo>
                    <a:pt x="1233711" y="154292"/>
                  </a:lnTo>
                  <a:lnTo>
                    <a:pt x="1234643" y="138459"/>
                  </a:lnTo>
                  <a:lnTo>
                    <a:pt x="1236816" y="125731"/>
                  </a:lnTo>
                  <a:lnTo>
                    <a:pt x="1236816" y="118280"/>
                  </a:lnTo>
                  <a:lnTo>
                    <a:pt x="1236816" y="103689"/>
                  </a:lnTo>
                  <a:lnTo>
                    <a:pt x="1229676" y="97480"/>
                  </a:lnTo>
                  <a:lnTo>
                    <a:pt x="1220362" y="99653"/>
                  </a:lnTo>
                  <a:lnTo>
                    <a:pt x="1211980" y="103999"/>
                  </a:lnTo>
                  <a:lnTo>
                    <a:pt x="1204840" y="103999"/>
                  </a:lnTo>
                  <a:lnTo>
                    <a:pt x="1202667" y="99653"/>
                  </a:lnTo>
                  <a:lnTo>
                    <a:pt x="1198631" y="97480"/>
                  </a:lnTo>
                  <a:lnTo>
                    <a:pt x="1197700" y="94376"/>
                  </a:lnTo>
                  <a:lnTo>
                    <a:pt x="1193664" y="90029"/>
                  </a:lnTo>
                  <a:lnTo>
                    <a:pt x="1191491" y="86925"/>
                  </a:lnTo>
                  <a:lnTo>
                    <a:pt x="1188386" y="84752"/>
                  </a:lnTo>
                  <a:lnTo>
                    <a:pt x="1184351" y="82579"/>
                  </a:lnTo>
                  <a:lnTo>
                    <a:pt x="1181246" y="82579"/>
                  </a:lnTo>
                  <a:lnTo>
                    <a:pt x="1177210" y="86925"/>
                  </a:lnTo>
                  <a:lnTo>
                    <a:pt x="1166655" y="96238"/>
                  </a:lnTo>
                  <a:lnTo>
                    <a:pt x="1162619" y="108966"/>
                  </a:lnTo>
                  <a:lnTo>
                    <a:pt x="1162619" y="121695"/>
                  </a:lnTo>
                  <a:lnTo>
                    <a:pt x="1164793" y="134423"/>
                  </a:lnTo>
                  <a:lnTo>
                    <a:pt x="1164793" y="147151"/>
                  </a:lnTo>
                  <a:lnTo>
                    <a:pt x="1157652" y="163915"/>
                  </a:lnTo>
                  <a:lnTo>
                    <a:pt x="1148339" y="178506"/>
                  </a:lnTo>
                  <a:lnTo>
                    <a:pt x="1143061" y="176333"/>
                  </a:lnTo>
                  <a:lnTo>
                    <a:pt x="1139957" y="175402"/>
                  </a:lnTo>
                  <a:lnTo>
                    <a:pt x="1137784" y="173229"/>
                  </a:lnTo>
                  <a:lnTo>
                    <a:pt x="1135611" y="171056"/>
                  </a:lnTo>
                  <a:lnTo>
                    <a:pt x="1132506" y="167951"/>
                  </a:lnTo>
                  <a:lnTo>
                    <a:pt x="1134679" y="161742"/>
                  </a:lnTo>
                  <a:lnTo>
                    <a:pt x="1134679" y="153360"/>
                  </a:lnTo>
                  <a:lnTo>
                    <a:pt x="1135611" y="140632"/>
                  </a:lnTo>
                  <a:lnTo>
                    <a:pt x="1137784" y="126041"/>
                  </a:lnTo>
                  <a:lnTo>
                    <a:pt x="1137784" y="114244"/>
                  </a:lnTo>
                  <a:lnTo>
                    <a:pt x="1128470" y="118590"/>
                  </a:lnTo>
                  <a:lnTo>
                    <a:pt x="1123193" y="123868"/>
                  </a:lnTo>
                  <a:lnTo>
                    <a:pt x="1117915" y="129145"/>
                  </a:lnTo>
                  <a:lnTo>
                    <a:pt x="1112638" y="134423"/>
                  </a:lnTo>
                  <a:lnTo>
                    <a:pt x="1101151" y="134423"/>
                  </a:lnTo>
                  <a:lnTo>
                    <a:pt x="1098047" y="119832"/>
                  </a:lnTo>
                  <a:lnTo>
                    <a:pt x="1098047" y="103999"/>
                  </a:lnTo>
                  <a:lnTo>
                    <a:pt x="1071969" y="103999"/>
                  </a:lnTo>
                  <a:lnTo>
                    <a:pt x="1076005" y="96549"/>
                  </a:lnTo>
                  <a:lnTo>
                    <a:pt x="1076936" y="90340"/>
                  </a:lnTo>
                  <a:lnTo>
                    <a:pt x="1079110" y="85062"/>
                  </a:lnTo>
                  <a:lnTo>
                    <a:pt x="1083145" y="81958"/>
                  </a:lnTo>
                  <a:lnTo>
                    <a:pt x="1088423" y="77611"/>
                  </a:lnTo>
                  <a:lnTo>
                    <a:pt x="1088423" y="70161"/>
                  </a:lnTo>
                  <a:lnTo>
                    <a:pt x="1088423" y="62710"/>
                  </a:lnTo>
                  <a:lnTo>
                    <a:pt x="1086250" y="59606"/>
                  </a:lnTo>
                  <a:lnTo>
                    <a:pt x="1083145" y="55259"/>
                  </a:lnTo>
                  <a:lnTo>
                    <a:pt x="1079110" y="52155"/>
                  </a:lnTo>
                  <a:lnTo>
                    <a:pt x="1071969" y="49982"/>
                  </a:lnTo>
                  <a:lnTo>
                    <a:pt x="1074142" y="42531"/>
                  </a:lnTo>
                  <a:lnTo>
                    <a:pt x="1076316" y="39427"/>
                  </a:lnTo>
                  <a:lnTo>
                    <a:pt x="1077247" y="35080"/>
                  </a:lnTo>
                  <a:lnTo>
                    <a:pt x="1079420" y="29803"/>
                  </a:lnTo>
                  <a:lnTo>
                    <a:pt x="1081593" y="25457"/>
                  </a:lnTo>
                  <a:lnTo>
                    <a:pt x="1079420" y="22352"/>
                  </a:lnTo>
                  <a:lnTo>
                    <a:pt x="1076316" y="18006"/>
                  </a:lnTo>
                  <a:lnTo>
                    <a:pt x="1074142" y="17075"/>
                  </a:lnTo>
                  <a:lnTo>
                    <a:pt x="1071969" y="14901"/>
                  </a:lnTo>
                  <a:lnTo>
                    <a:pt x="1069796" y="12728"/>
                  </a:lnTo>
                  <a:lnTo>
                    <a:pt x="1069796" y="7451"/>
                  </a:lnTo>
                  <a:lnTo>
                    <a:pt x="1068865" y="0"/>
                  </a:lnTo>
                  <a:lnTo>
                    <a:pt x="1057378" y="2173"/>
                  </a:lnTo>
                  <a:lnTo>
                    <a:pt x="1046823" y="5278"/>
                  </a:lnTo>
                  <a:lnTo>
                    <a:pt x="1037510" y="9624"/>
                  </a:lnTo>
                  <a:lnTo>
                    <a:pt x="1025092" y="29492"/>
                  </a:lnTo>
                  <a:lnTo>
                    <a:pt x="1021056" y="47498"/>
                  </a:lnTo>
                  <a:lnTo>
                    <a:pt x="1023229" y="66435"/>
                  </a:lnTo>
                  <a:lnTo>
                    <a:pt x="1032543" y="82268"/>
                  </a:lnTo>
                  <a:lnTo>
                    <a:pt x="1044960" y="96859"/>
                  </a:lnTo>
                  <a:lnTo>
                    <a:pt x="1047134" y="104310"/>
                  </a:lnTo>
                  <a:lnTo>
                    <a:pt x="1044960" y="118901"/>
                  </a:lnTo>
                  <a:lnTo>
                    <a:pt x="1044960" y="135665"/>
                  </a:lnTo>
                  <a:lnTo>
                    <a:pt x="1044960" y="150256"/>
                  </a:lnTo>
                  <a:lnTo>
                    <a:pt x="1032543" y="150256"/>
                  </a:lnTo>
                  <a:lnTo>
                    <a:pt x="1032543" y="153360"/>
                  </a:lnTo>
                  <a:lnTo>
                    <a:pt x="1030369" y="159569"/>
                  </a:lnTo>
                  <a:lnTo>
                    <a:pt x="1030369" y="162674"/>
                  </a:lnTo>
                  <a:lnTo>
                    <a:pt x="1028196" y="170124"/>
                  </a:lnTo>
                  <a:lnTo>
                    <a:pt x="1019814" y="153360"/>
                  </a:lnTo>
                  <a:lnTo>
                    <a:pt x="1012674" y="137528"/>
                  </a:lnTo>
                  <a:lnTo>
                    <a:pt x="988770" y="137528"/>
                  </a:lnTo>
                  <a:lnTo>
                    <a:pt x="988770" y="150256"/>
                  </a:lnTo>
                  <a:lnTo>
                    <a:pt x="986597" y="152429"/>
                  </a:lnTo>
                  <a:lnTo>
                    <a:pt x="984424" y="153360"/>
                  </a:lnTo>
                  <a:lnTo>
                    <a:pt x="983492" y="155533"/>
                  </a:lnTo>
                  <a:lnTo>
                    <a:pt x="981319" y="157706"/>
                  </a:lnTo>
                  <a:lnTo>
                    <a:pt x="962692" y="157706"/>
                  </a:lnTo>
                  <a:lnTo>
                    <a:pt x="950275" y="155533"/>
                  </a:lnTo>
                  <a:lnTo>
                    <a:pt x="937857" y="153360"/>
                  </a:lnTo>
                  <a:lnTo>
                    <a:pt x="925439" y="150256"/>
                  </a:lnTo>
                  <a:lnTo>
                    <a:pt x="905570" y="150256"/>
                  </a:lnTo>
                  <a:lnTo>
                    <a:pt x="901535" y="142805"/>
                  </a:lnTo>
                  <a:lnTo>
                    <a:pt x="898430" y="139701"/>
                  </a:lnTo>
                  <a:lnTo>
                    <a:pt x="894394" y="133492"/>
                  </a:lnTo>
                  <a:lnTo>
                    <a:pt x="889117" y="130387"/>
                  </a:lnTo>
                  <a:lnTo>
                    <a:pt x="889117" y="117659"/>
                  </a:lnTo>
                  <a:lnTo>
                    <a:pt x="842239" y="122937"/>
                  </a:lnTo>
                  <a:lnTo>
                    <a:pt x="842239" y="126041"/>
                  </a:lnTo>
                  <a:lnTo>
                    <a:pt x="838204" y="126041"/>
                  </a:lnTo>
                  <a:lnTo>
                    <a:pt x="838204" y="132250"/>
                  </a:lnTo>
                  <a:lnTo>
                    <a:pt x="840377" y="135354"/>
                  </a:lnTo>
                  <a:lnTo>
                    <a:pt x="842550" y="139701"/>
                  </a:lnTo>
                  <a:lnTo>
                    <a:pt x="843481" y="140632"/>
                  </a:lnTo>
                  <a:lnTo>
                    <a:pt x="845654" y="145910"/>
                  </a:lnTo>
                  <a:lnTo>
                    <a:pt x="877941" y="145910"/>
                  </a:lnTo>
                  <a:lnTo>
                    <a:pt x="877941" y="150256"/>
                  </a:lnTo>
                  <a:lnTo>
                    <a:pt x="870800" y="152429"/>
                  </a:lnTo>
                  <a:lnTo>
                    <a:pt x="865523" y="153360"/>
                  </a:lnTo>
                  <a:lnTo>
                    <a:pt x="858383" y="153360"/>
                  </a:lnTo>
                  <a:lnTo>
                    <a:pt x="849069" y="153360"/>
                  </a:lnTo>
                  <a:lnTo>
                    <a:pt x="849069" y="189993"/>
                  </a:lnTo>
                  <a:lnTo>
                    <a:pt x="840687" y="179438"/>
                  </a:lnTo>
                  <a:lnTo>
                    <a:pt x="831374" y="167951"/>
                  </a:lnTo>
                  <a:lnTo>
                    <a:pt x="822060" y="157396"/>
                  </a:lnTo>
                  <a:lnTo>
                    <a:pt x="813678" y="155223"/>
                  </a:lnTo>
                  <a:lnTo>
                    <a:pt x="799087" y="155223"/>
                  </a:lnTo>
                  <a:lnTo>
                    <a:pt x="782323" y="155223"/>
                  </a:lnTo>
                  <a:lnTo>
                    <a:pt x="765559" y="153050"/>
                  </a:lnTo>
                  <a:lnTo>
                    <a:pt x="753141" y="153050"/>
                  </a:lnTo>
                  <a:lnTo>
                    <a:pt x="755315" y="149945"/>
                  </a:lnTo>
                  <a:lnTo>
                    <a:pt x="756246" y="147772"/>
                  </a:lnTo>
                  <a:lnTo>
                    <a:pt x="756246" y="145599"/>
                  </a:lnTo>
                  <a:lnTo>
                    <a:pt x="758419" y="144668"/>
                  </a:lnTo>
                  <a:lnTo>
                    <a:pt x="762455" y="142495"/>
                  </a:lnTo>
                  <a:lnTo>
                    <a:pt x="765559" y="140321"/>
                  </a:lnTo>
                  <a:lnTo>
                    <a:pt x="763386" y="137217"/>
                  </a:lnTo>
                  <a:lnTo>
                    <a:pt x="760282" y="129766"/>
                  </a:lnTo>
                  <a:lnTo>
                    <a:pt x="756246" y="124489"/>
                  </a:lnTo>
                  <a:lnTo>
                    <a:pt x="753141" y="120143"/>
                  </a:lnTo>
                  <a:lnTo>
                    <a:pt x="749106" y="117038"/>
                  </a:lnTo>
                  <a:lnTo>
                    <a:pt x="746001" y="117038"/>
                  </a:lnTo>
                  <a:lnTo>
                    <a:pt x="742897" y="117969"/>
                  </a:lnTo>
                  <a:lnTo>
                    <a:pt x="736688" y="120143"/>
                  </a:lnTo>
                  <a:lnTo>
                    <a:pt x="733583" y="122316"/>
                  </a:lnTo>
                  <a:lnTo>
                    <a:pt x="728306" y="122316"/>
                  </a:lnTo>
                  <a:lnTo>
                    <a:pt x="722097" y="122316"/>
                  </a:lnTo>
                  <a:lnTo>
                    <a:pt x="706575" y="110829"/>
                  </a:lnTo>
                  <a:lnTo>
                    <a:pt x="689811" y="98101"/>
                  </a:lnTo>
                  <a:lnTo>
                    <a:pt x="673046" y="85373"/>
                  </a:lnTo>
                  <a:lnTo>
                    <a:pt x="653178" y="80095"/>
                  </a:lnTo>
                  <a:lnTo>
                    <a:pt x="649142" y="81026"/>
                  </a:lnTo>
                  <a:lnTo>
                    <a:pt x="643865" y="83199"/>
                  </a:lnTo>
                  <a:lnTo>
                    <a:pt x="640760" y="87546"/>
                  </a:lnTo>
                  <a:lnTo>
                    <a:pt x="635482" y="90650"/>
                  </a:lnTo>
                  <a:lnTo>
                    <a:pt x="629274" y="92823"/>
                  </a:lnTo>
                  <a:lnTo>
                    <a:pt x="628342" y="88477"/>
                  </a:lnTo>
                  <a:lnTo>
                    <a:pt x="626169" y="85373"/>
                  </a:lnTo>
                  <a:lnTo>
                    <a:pt x="622133" y="80095"/>
                  </a:lnTo>
                  <a:lnTo>
                    <a:pt x="621202" y="80095"/>
                  </a:lnTo>
                  <a:lnTo>
                    <a:pt x="617166" y="80095"/>
                  </a:lnTo>
                  <a:lnTo>
                    <a:pt x="614993" y="81026"/>
                  </a:lnTo>
                  <a:lnTo>
                    <a:pt x="611889" y="83199"/>
                  </a:lnTo>
                  <a:lnTo>
                    <a:pt x="609715" y="85373"/>
                  </a:lnTo>
                  <a:lnTo>
                    <a:pt x="606611" y="88477"/>
                  </a:lnTo>
                  <a:lnTo>
                    <a:pt x="592951" y="85373"/>
                  </a:lnTo>
                  <a:lnTo>
                    <a:pt x="584569" y="77922"/>
                  </a:lnTo>
                  <a:lnTo>
                    <a:pt x="578360" y="68609"/>
                  </a:lnTo>
                  <a:lnTo>
                    <a:pt x="573083" y="55880"/>
                  </a:lnTo>
                  <a:lnTo>
                    <a:pt x="569978" y="58985"/>
                  </a:lnTo>
                  <a:lnTo>
                    <a:pt x="565943" y="65194"/>
                  </a:lnTo>
                  <a:lnTo>
                    <a:pt x="563770" y="70471"/>
                  </a:lnTo>
                  <a:lnTo>
                    <a:pt x="562838" y="75749"/>
                  </a:lnTo>
                  <a:lnTo>
                    <a:pt x="546074" y="77922"/>
                  </a:lnTo>
                  <a:lnTo>
                    <a:pt x="533656" y="77922"/>
                  </a:lnTo>
                  <a:lnTo>
                    <a:pt x="521238" y="80095"/>
                  </a:lnTo>
                  <a:lnTo>
                    <a:pt x="511925" y="85373"/>
                  </a:lnTo>
                  <a:lnTo>
                    <a:pt x="502612" y="95928"/>
                  </a:lnTo>
                  <a:lnTo>
                    <a:pt x="482743" y="92823"/>
                  </a:lnTo>
                  <a:lnTo>
                    <a:pt x="482743" y="85373"/>
                  </a:lnTo>
                  <a:lnTo>
                    <a:pt x="504474" y="76059"/>
                  </a:lnTo>
                  <a:lnTo>
                    <a:pt x="524343" y="63331"/>
                  </a:lnTo>
                  <a:lnTo>
                    <a:pt x="542970" y="48740"/>
                  </a:lnTo>
                  <a:lnTo>
                    <a:pt x="549179" y="48740"/>
                  </a:lnTo>
                  <a:lnTo>
                    <a:pt x="546074" y="46567"/>
                  </a:lnTo>
                  <a:lnTo>
                    <a:pt x="542970" y="44394"/>
                  </a:lnTo>
                  <a:lnTo>
                    <a:pt x="536761" y="43462"/>
                  </a:lnTo>
                  <a:lnTo>
                    <a:pt x="533656" y="41289"/>
                  </a:lnTo>
                  <a:lnTo>
                    <a:pt x="516892" y="44394"/>
                  </a:lnTo>
                  <a:lnTo>
                    <a:pt x="504474" y="50603"/>
                  </a:lnTo>
                  <a:lnTo>
                    <a:pt x="492988" y="58985"/>
                  </a:lnTo>
                  <a:lnTo>
                    <a:pt x="482433" y="66435"/>
                  </a:lnTo>
                  <a:lnTo>
                    <a:pt x="470015" y="73886"/>
                  </a:lnTo>
                  <a:lnTo>
                    <a:pt x="455424" y="78232"/>
                  </a:lnTo>
                  <a:lnTo>
                    <a:pt x="433693" y="80405"/>
                  </a:lnTo>
                  <a:lnTo>
                    <a:pt x="436797" y="88788"/>
                  </a:lnTo>
                  <a:lnTo>
                    <a:pt x="443006" y="96238"/>
                  </a:lnTo>
                  <a:lnTo>
                    <a:pt x="448284" y="103689"/>
                  </a:lnTo>
                  <a:lnTo>
                    <a:pt x="453561" y="109898"/>
                  </a:lnTo>
                  <a:lnTo>
                    <a:pt x="453561" y="117349"/>
                  </a:lnTo>
                  <a:lnTo>
                    <a:pt x="429657" y="113002"/>
                  </a:lnTo>
                  <a:lnTo>
                    <a:pt x="409788" y="102447"/>
                  </a:lnTo>
                  <a:lnTo>
                    <a:pt x="392093" y="90961"/>
                  </a:lnTo>
                  <a:lnTo>
                    <a:pt x="373466" y="78232"/>
                  </a:lnTo>
                  <a:lnTo>
                    <a:pt x="353598" y="68919"/>
                  </a:lnTo>
                  <a:lnTo>
                    <a:pt x="322243" y="73265"/>
                  </a:lnTo>
                  <a:lnTo>
                    <a:pt x="307652" y="68919"/>
                  </a:lnTo>
                  <a:lnTo>
                    <a:pt x="293061" y="61468"/>
                  </a:lnTo>
                  <a:lnTo>
                    <a:pt x="277539" y="56191"/>
                  </a:lnTo>
                  <a:lnTo>
                    <a:pt x="266052" y="51844"/>
                  </a:lnTo>
                  <a:lnTo>
                    <a:pt x="262948" y="51844"/>
                  </a:lnTo>
                  <a:lnTo>
                    <a:pt x="256739" y="54018"/>
                  </a:lnTo>
                  <a:lnTo>
                    <a:pt x="253634" y="56191"/>
                  </a:lnTo>
                  <a:lnTo>
                    <a:pt x="249598" y="56191"/>
                  </a:lnTo>
                  <a:lnTo>
                    <a:pt x="244321" y="58364"/>
                  </a:lnTo>
                  <a:lnTo>
                    <a:pt x="239043" y="56191"/>
                  </a:lnTo>
                  <a:lnTo>
                    <a:pt x="233766" y="54018"/>
                  </a:lnTo>
                  <a:lnTo>
                    <a:pt x="229730" y="50913"/>
                  </a:lnTo>
                  <a:lnTo>
                    <a:pt x="226625" y="46567"/>
                  </a:lnTo>
                  <a:lnTo>
                    <a:pt x="221348" y="41289"/>
                  </a:lnTo>
                  <a:lnTo>
                    <a:pt x="217312" y="38185"/>
                  </a:lnTo>
                  <a:lnTo>
                    <a:pt x="214208" y="36012"/>
                  </a:lnTo>
                  <a:lnTo>
                    <a:pt x="210172" y="36012"/>
                  </a:lnTo>
                  <a:lnTo>
                    <a:pt x="207067" y="36012"/>
                  </a:lnTo>
                  <a:lnTo>
                    <a:pt x="203032" y="38185"/>
                  </a:lnTo>
                  <a:lnTo>
                    <a:pt x="199927" y="39116"/>
                  </a:lnTo>
                  <a:lnTo>
                    <a:pt x="195891" y="39116"/>
                  </a:lnTo>
                  <a:lnTo>
                    <a:pt x="190614" y="39116"/>
                  </a:lnTo>
                  <a:lnTo>
                    <a:pt x="186578" y="36012"/>
                  </a:lnTo>
                  <a:lnTo>
                    <a:pt x="183473" y="31665"/>
                  </a:lnTo>
                  <a:lnTo>
                    <a:pt x="181300" y="30734"/>
                  </a:lnTo>
                  <a:lnTo>
                    <a:pt x="181300" y="26388"/>
                  </a:lnTo>
                  <a:lnTo>
                    <a:pt x="179127" y="24215"/>
                  </a:lnTo>
                  <a:lnTo>
                    <a:pt x="179127" y="21110"/>
                  </a:lnTo>
                  <a:lnTo>
                    <a:pt x="176023" y="18937"/>
                  </a:lnTo>
                  <a:lnTo>
                    <a:pt x="170745" y="15833"/>
                  </a:lnTo>
                  <a:lnTo>
                    <a:pt x="153981" y="26388"/>
                  </a:lnTo>
                  <a:lnTo>
                    <a:pt x="137217" y="33839"/>
                  </a:lnTo>
                  <a:lnTo>
                    <a:pt x="117348" y="39116"/>
                  </a:lnTo>
                  <a:lnTo>
                    <a:pt x="99653" y="48430"/>
                  </a:lnTo>
                  <a:lnTo>
                    <a:pt x="85993" y="58985"/>
                  </a:lnTo>
                  <a:lnTo>
                    <a:pt x="82889" y="70471"/>
                  </a:lnTo>
                  <a:lnTo>
                    <a:pt x="78853" y="83199"/>
                  </a:lnTo>
                  <a:lnTo>
                    <a:pt x="73576" y="95928"/>
                  </a:lnTo>
                  <a:lnTo>
                    <a:pt x="56812" y="105241"/>
                  </a:lnTo>
                  <a:lnTo>
                    <a:pt x="36012" y="107414"/>
                  </a:lnTo>
                  <a:lnTo>
                    <a:pt x="14281" y="105241"/>
                  </a:lnTo>
                  <a:lnTo>
                    <a:pt x="12107" y="110519"/>
                  </a:lnTo>
                  <a:lnTo>
                    <a:pt x="9934" y="116728"/>
                  </a:lnTo>
                  <a:lnTo>
                    <a:pt x="6830" y="122005"/>
                  </a:lnTo>
                  <a:lnTo>
                    <a:pt x="15212" y="138769"/>
                  </a:lnTo>
                  <a:lnTo>
                    <a:pt x="29803" y="149324"/>
                  </a:lnTo>
                  <a:lnTo>
                    <a:pt x="46567" y="159880"/>
                  </a:lnTo>
                  <a:lnTo>
                    <a:pt x="61158" y="171366"/>
                  </a:lnTo>
                  <a:lnTo>
                    <a:pt x="73576" y="185957"/>
                  </a:lnTo>
                  <a:lnTo>
                    <a:pt x="77611" y="191235"/>
                  </a:lnTo>
                  <a:lnTo>
                    <a:pt x="78543" y="196512"/>
                  </a:lnTo>
                  <a:lnTo>
                    <a:pt x="80716" y="202721"/>
                  </a:lnTo>
                  <a:lnTo>
                    <a:pt x="82889" y="207999"/>
                  </a:lnTo>
                  <a:lnTo>
                    <a:pt x="85993" y="213276"/>
                  </a:lnTo>
                  <a:lnTo>
                    <a:pt x="85993" y="220727"/>
                  </a:lnTo>
                  <a:lnTo>
                    <a:pt x="73576" y="226005"/>
                  </a:lnTo>
                  <a:lnTo>
                    <a:pt x="70471" y="220727"/>
                  </a:lnTo>
                  <a:lnTo>
                    <a:pt x="64262" y="215449"/>
                  </a:lnTo>
                  <a:lnTo>
                    <a:pt x="58985" y="211103"/>
                  </a:lnTo>
                  <a:lnTo>
                    <a:pt x="53707" y="205826"/>
                  </a:lnTo>
                  <a:lnTo>
                    <a:pt x="49671" y="205826"/>
                  </a:lnTo>
                  <a:lnTo>
                    <a:pt x="48740" y="205826"/>
                  </a:lnTo>
                  <a:lnTo>
                    <a:pt x="46567" y="207999"/>
                  </a:lnTo>
                  <a:lnTo>
                    <a:pt x="44394" y="207999"/>
                  </a:lnTo>
                  <a:lnTo>
                    <a:pt x="43462" y="210172"/>
                  </a:lnTo>
                  <a:lnTo>
                    <a:pt x="26698" y="210172"/>
                  </a:lnTo>
                  <a:lnTo>
                    <a:pt x="28871" y="213276"/>
                  </a:lnTo>
                  <a:lnTo>
                    <a:pt x="28871" y="215449"/>
                  </a:lnTo>
                  <a:lnTo>
                    <a:pt x="29803" y="217623"/>
                  </a:lnTo>
                  <a:lnTo>
                    <a:pt x="26698" y="220727"/>
                  </a:lnTo>
                  <a:lnTo>
                    <a:pt x="22663" y="225073"/>
                  </a:lnTo>
                  <a:lnTo>
                    <a:pt x="19558" y="225073"/>
                  </a:lnTo>
                  <a:lnTo>
                    <a:pt x="15522" y="226005"/>
                  </a:lnTo>
                  <a:lnTo>
                    <a:pt x="10245" y="228178"/>
                  </a:lnTo>
                  <a:lnTo>
                    <a:pt x="7140" y="230351"/>
                  </a:lnTo>
                  <a:lnTo>
                    <a:pt x="0" y="230351"/>
                  </a:lnTo>
                  <a:lnTo>
                    <a:pt x="3104" y="257670"/>
                  </a:lnTo>
                  <a:lnTo>
                    <a:pt x="17695" y="265121"/>
                  </a:lnTo>
                  <a:lnTo>
                    <a:pt x="36322" y="268225"/>
                  </a:lnTo>
                  <a:lnTo>
                    <a:pt x="51844" y="274434"/>
                  </a:lnTo>
                  <a:lnTo>
                    <a:pt x="63331" y="277539"/>
                  </a:lnTo>
                  <a:lnTo>
                    <a:pt x="68609" y="277539"/>
                  </a:lnTo>
                  <a:lnTo>
                    <a:pt x="71713" y="275365"/>
                  </a:lnTo>
                  <a:lnTo>
                    <a:pt x="75749" y="274434"/>
                  </a:lnTo>
                  <a:lnTo>
                    <a:pt x="77922" y="272261"/>
                  </a:lnTo>
                  <a:lnTo>
                    <a:pt x="78853" y="270088"/>
                  </a:lnTo>
                  <a:lnTo>
                    <a:pt x="82889" y="266983"/>
                  </a:lnTo>
                  <a:lnTo>
                    <a:pt x="97790" y="266983"/>
                  </a:lnTo>
                  <a:lnTo>
                    <a:pt x="95617" y="267915"/>
                  </a:lnTo>
                  <a:lnTo>
                    <a:pt x="95617" y="270088"/>
                  </a:lnTo>
                  <a:lnTo>
                    <a:pt x="95617" y="272261"/>
                  </a:lnTo>
                  <a:lnTo>
                    <a:pt x="93444" y="272261"/>
                  </a:lnTo>
                  <a:lnTo>
                    <a:pt x="91271" y="274434"/>
                  </a:lnTo>
                  <a:lnTo>
                    <a:pt x="91271" y="292440"/>
                  </a:lnTo>
                  <a:lnTo>
                    <a:pt x="85993" y="303926"/>
                  </a:lnTo>
                  <a:lnTo>
                    <a:pt x="78853" y="311377"/>
                  </a:lnTo>
                  <a:lnTo>
                    <a:pt x="68298" y="316655"/>
                  </a:lnTo>
                  <a:lnTo>
                    <a:pt x="56812" y="319759"/>
                  </a:lnTo>
                  <a:lnTo>
                    <a:pt x="44394" y="327210"/>
                  </a:lnTo>
                  <a:lnTo>
                    <a:pt x="37253" y="336523"/>
                  </a:lnTo>
                  <a:lnTo>
                    <a:pt x="31976" y="347078"/>
                  </a:lnTo>
                  <a:lnTo>
                    <a:pt x="26698" y="360738"/>
                  </a:lnTo>
                  <a:lnTo>
                    <a:pt x="20489" y="371293"/>
                  </a:lnTo>
                  <a:lnTo>
                    <a:pt x="31976" y="391162"/>
                  </a:lnTo>
                  <a:lnTo>
                    <a:pt x="46567" y="410099"/>
                  </a:lnTo>
                  <a:lnTo>
                    <a:pt x="64262" y="422827"/>
                  </a:lnTo>
                  <a:lnTo>
                    <a:pt x="66435" y="425000"/>
                  </a:lnTo>
                  <a:lnTo>
                    <a:pt x="69540" y="425000"/>
                  </a:lnTo>
                  <a:lnTo>
                    <a:pt x="71713" y="425000"/>
                  </a:lnTo>
                  <a:lnTo>
                    <a:pt x="73886" y="422827"/>
                  </a:lnTo>
                  <a:lnTo>
                    <a:pt x="76991" y="419723"/>
                  </a:lnTo>
                  <a:lnTo>
                    <a:pt x="81026" y="430278"/>
                  </a:lnTo>
                  <a:lnTo>
                    <a:pt x="86304" y="444869"/>
                  </a:lnTo>
                  <a:lnTo>
                    <a:pt x="88477" y="455424"/>
                  </a:lnTo>
                  <a:lnTo>
                    <a:pt x="93755" y="455424"/>
                  </a:lnTo>
                  <a:lnTo>
                    <a:pt x="97790" y="455734"/>
                  </a:lnTo>
                  <a:lnTo>
                    <a:pt x="98722" y="455734"/>
                  </a:lnTo>
                  <a:lnTo>
                    <a:pt x="100895" y="453561"/>
                  </a:lnTo>
                  <a:lnTo>
                    <a:pt x="103068" y="451388"/>
                  </a:lnTo>
                  <a:lnTo>
                    <a:pt x="105241" y="449215"/>
                  </a:lnTo>
                  <a:lnTo>
                    <a:pt x="108346" y="451388"/>
                  </a:lnTo>
                  <a:lnTo>
                    <a:pt x="110208" y="451388"/>
                  </a:lnTo>
                  <a:lnTo>
                    <a:pt x="112381" y="453561"/>
                  </a:lnTo>
                  <a:lnTo>
                    <a:pt x="112381" y="456666"/>
                  </a:lnTo>
                  <a:lnTo>
                    <a:pt x="112381" y="461012"/>
                  </a:lnTo>
                  <a:lnTo>
                    <a:pt x="124799" y="456666"/>
                  </a:lnTo>
                  <a:lnTo>
                    <a:pt x="134113" y="453561"/>
                  </a:lnTo>
                  <a:lnTo>
                    <a:pt x="147772" y="449215"/>
                  </a:lnTo>
                  <a:lnTo>
                    <a:pt x="144668" y="471257"/>
                  </a:lnTo>
                  <a:lnTo>
                    <a:pt x="135354" y="488021"/>
                  </a:lnTo>
                  <a:lnTo>
                    <a:pt x="122937" y="502612"/>
                  </a:lnTo>
                  <a:lnTo>
                    <a:pt x="106172" y="515340"/>
                  </a:lnTo>
                  <a:lnTo>
                    <a:pt x="88477" y="527137"/>
                  </a:lnTo>
                  <a:lnTo>
                    <a:pt x="69850" y="537692"/>
                  </a:lnTo>
                  <a:lnTo>
                    <a:pt x="54328" y="549179"/>
                  </a:lnTo>
                  <a:lnTo>
                    <a:pt x="41910" y="561907"/>
                  </a:lnTo>
                  <a:lnTo>
                    <a:pt x="37874" y="561907"/>
                  </a:lnTo>
                  <a:lnTo>
                    <a:pt x="37874" y="565011"/>
                  </a:lnTo>
                  <a:lnTo>
                    <a:pt x="48430" y="561907"/>
                  </a:lnTo>
                  <a:lnTo>
                    <a:pt x="65194" y="554456"/>
                  </a:lnTo>
                  <a:lnTo>
                    <a:pt x="86925" y="543901"/>
                  </a:lnTo>
                  <a:lnTo>
                    <a:pt x="108656" y="530241"/>
                  </a:lnTo>
                  <a:lnTo>
                    <a:pt x="130387" y="515650"/>
                  </a:lnTo>
                  <a:lnTo>
                    <a:pt x="152118" y="502922"/>
                  </a:lnTo>
                  <a:lnTo>
                    <a:pt x="169814" y="492367"/>
                  </a:lnTo>
                  <a:lnTo>
                    <a:pt x="184405" y="480881"/>
                  </a:lnTo>
                  <a:lnTo>
                    <a:pt x="191545" y="473430"/>
                  </a:lnTo>
                  <a:lnTo>
                    <a:pt x="203032" y="456666"/>
                  </a:lnTo>
                  <a:lnTo>
                    <a:pt x="210172" y="438660"/>
                  </a:lnTo>
                  <a:lnTo>
                    <a:pt x="215449" y="421896"/>
                  </a:lnTo>
                  <a:lnTo>
                    <a:pt x="222590" y="406063"/>
                  </a:lnTo>
                  <a:lnTo>
                    <a:pt x="234076" y="391472"/>
                  </a:lnTo>
                  <a:lnTo>
                    <a:pt x="247736" y="379986"/>
                  </a:lnTo>
                  <a:lnTo>
                    <a:pt x="247736" y="376881"/>
                  </a:lnTo>
                  <a:lnTo>
                    <a:pt x="257049" y="376881"/>
                  </a:lnTo>
                  <a:lnTo>
                    <a:pt x="247736" y="392714"/>
                  </a:lnTo>
                  <a:lnTo>
                    <a:pt x="237181" y="407305"/>
                  </a:lnTo>
                  <a:lnTo>
                    <a:pt x="230040" y="424069"/>
                  </a:lnTo>
                  <a:lnTo>
                    <a:pt x="224763" y="440833"/>
                  </a:lnTo>
                  <a:lnTo>
                    <a:pt x="246494" y="435555"/>
                  </a:lnTo>
                  <a:lnTo>
                    <a:pt x="262016" y="426242"/>
                  </a:lnTo>
                  <a:lnTo>
                    <a:pt x="280643" y="416929"/>
                  </a:lnTo>
                  <a:lnTo>
                    <a:pt x="280643" y="392714"/>
                  </a:lnTo>
                  <a:lnTo>
                    <a:pt x="297407" y="394887"/>
                  </a:lnTo>
                  <a:lnTo>
                    <a:pt x="307962" y="400165"/>
                  </a:lnTo>
                  <a:lnTo>
                    <a:pt x="317276" y="407615"/>
                  </a:lnTo>
                  <a:lnTo>
                    <a:pt x="327831" y="413824"/>
                  </a:lnTo>
                  <a:lnTo>
                    <a:pt x="361048" y="413824"/>
                  </a:lnTo>
                  <a:lnTo>
                    <a:pt x="376571" y="422206"/>
                  </a:lnTo>
                  <a:lnTo>
                    <a:pt x="393335" y="436797"/>
                  </a:lnTo>
                  <a:lnTo>
                    <a:pt x="407926" y="449526"/>
                  </a:lnTo>
                  <a:lnTo>
                    <a:pt x="427794" y="458839"/>
                  </a:lnTo>
                  <a:lnTo>
                    <a:pt x="451699" y="464117"/>
                  </a:lnTo>
                  <a:lnTo>
                    <a:pt x="471567" y="473430"/>
                  </a:lnTo>
                  <a:lnTo>
                    <a:pt x="486158" y="486158"/>
                  </a:lnTo>
                  <a:lnTo>
                    <a:pt x="498576" y="502922"/>
                  </a:lnTo>
                  <a:lnTo>
                    <a:pt x="507889" y="519686"/>
                  </a:lnTo>
                  <a:lnTo>
                    <a:pt x="519376" y="536450"/>
                  </a:lnTo>
                  <a:lnTo>
                    <a:pt x="531794" y="550110"/>
                  </a:lnTo>
                  <a:lnTo>
                    <a:pt x="527758" y="574325"/>
                  </a:lnTo>
                  <a:lnTo>
                    <a:pt x="539244" y="579602"/>
                  </a:lnTo>
                  <a:lnTo>
                    <a:pt x="546385" y="588916"/>
                  </a:lnTo>
                  <a:lnTo>
                    <a:pt x="551662" y="600402"/>
                  </a:lnTo>
                  <a:lnTo>
                    <a:pt x="554767" y="613131"/>
                  </a:lnTo>
                  <a:lnTo>
                    <a:pt x="560976" y="625859"/>
                  </a:lnTo>
                  <a:lnTo>
                    <a:pt x="568116" y="637345"/>
                  </a:lnTo>
                  <a:lnTo>
                    <a:pt x="576498" y="645727"/>
                  </a:lnTo>
                  <a:lnTo>
                    <a:pt x="591089" y="651005"/>
                  </a:lnTo>
                  <a:lnTo>
                    <a:pt x="587984" y="653178"/>
                  </a:lnTo>
                  <a:lnTo>
                    <a:pt x="583949" y="653178"/>
                  </a:lnTo>
                  <a:lnTo>
                    <a:pt x="580844" y="653178"/>
                  </a:lnTo>
                  <a:lnTo>
                    <a:pt x="576808" y="651005"/>
                  </a:lnTo>
                  <a:lnTo>
                    <a:pt x="568426" y="651005"/>
                  </a:lnTo>
                  <a:lnTo>
                    <a:pt x="576808" y="669942"/>
                  </a:lnTo>
                  <a:lnTo>
                    <a:pt x="588295" y="686706"/>
                  </a:lnTo>
                  <a:lnTo>
                    <a:pt x="600713" y="702539"/>
                  </a:lnTo>
                  <a:lnTo>
                    <a:pt x="604748" y="704712"/>
                  </a:lnTo>
                  <a:lnTo>
                    <a:pt x="605680" y="704712"/>
                  </a:lnTo>
                  <a:lnTo>
                    <a:pt x="605680" y="706885"/>
                  </a:lnTo>
                  <a:lnTo>
                    <a:pt x="607853" y="706885"/>
                  </a:lnTo>
                  <a:lnTo>
                    <a:pt x="613130" y="706885"/>
                  </a:lnTo>
                  <a:lnTo>
                    <a:pt x="619339" y="706885"/>
                  </a:lnTo>
                  <a:lnTo>
                    <a:pt x="620271" y="704712"/>
                  </a:lnTo>
                  <a:lnTo>
                    <a:pt x="624306" y="702539"/>
                  </a:lnTo>
                  <a:lnTo>
                    <a:pt x="626480" y="701608"/>
                  </a:lnTo>
                  <a:lnTo>
                    <a:pt x="626480" y="699434"/>
                  </a:lnTo>
                  <a:lnTo>
                    <a:pt x="627411" y="699434"/>
                  </a:lnTo>
                  <a:lnTo>
                    <a:pt x="627411" y="695088"/>
                  </a:lnTo>
                  <a:lnTo>
                    <a:pt x="622133" y="687638"/>
                  </a:lnTo>
                  <a:lnTo>
                    <a:pt x="614993" y="682360"/>
                  </a:lnTo>
                  <a:lnTo>
                    <a:pt x="607853" y="677082"/>
                  </a:lnTo>
                  <a:lnTo>
                    <a:pt x="600713" y="671805"/>
                  </a:lnTo>
                  <a:lnTo>
                    <a:pt x="600713" y="662491"/>
                  </a:lnTo>
                  <a:lnTo>
                    <a:pt x="617477" y="673047"/>
                  </a:lnTo>
                  <a:lnTo>
                    <a:pt x="632068" y="687638"/>
                  </a:lnTo>
                  <a:lnTo>
                    <a:pt x="644485" y="702228"/>
                  </a:lnTo>
                  <a:lnTo>
                    <a:pt x="644485" y="723339"/>
                  </a:lnTo>
                  <a:lnTo>
                    <a:pt x="642312" y="718992"/>
                  </a:lnTo>
                  <a:lnTo>
                    <a:pt x="639208" y="715888"/>
                  </a:lnTo>
                  <a:lnTo>
                    <a:pt x="637035" y="711542"/>
                  </a:lnTo>
                  <a:lnTo>
                    <a:pt x="633930" y="709369"/>
                  </a:lnTo>
                  <a:lnTo>
                    <a:pt x="629894" y="709369"/>
                  </a:lnTo>
                  <a:lnTo>
                    <a:pt x="626790" y="709369"/>
                  </a:lnTo>
                  <a:lnTo>
                    <a:pt x="622754" y="709369"/>
                  </a:lnTo>
                  <a:lnTo>
                    <a:pt x="617477" y="711542"/>
                  </a:lnTo>
                  <a:lnTo>
                    <a:pt x="615304" y="723028"/>
                  </a:lnTo>
                  <a:lnTo>
                    <a:pt x="613130" y="741034"/>
                  </a:lnTo>
                  <a:lnTo>
                    <a:pt x="613130" y="763076"/>
                  </a:lnTo>
                  <a:lnTo>
                    <a:pt x="613130" y="787291"/>
                  </a:lnTo>
                  <a:lnTo>
                    <a:pt x="613130" y="807159"/>
                  </a:lnTo>
                  <a:lnTo>
                    <a:pt x="612199" y="821750"/>
                  </a:lnTo>
                  <a:lnTo>
                    <a:pt x="612199" y="829201"/>
                  </a:lnTo>
                  <a:lnTo>
                    <a:pt x="613130" y="859624"/>
                  </a:lnTo>
                  <a:lnTo>
                    <a:pt x="617166" y="881666"/>
                  </a:lnTo>
                  <a:lnTo>
                    <a:pt x="622444" y="898430"/>
                  </a:lnTo>
                  <a:lnTo>
                    <a:pt x="629584" y="911158"/>
                  </a:lnTo>
                  <a:lnTo>
                    <a:pt x="641071" y="922645"/>
                  </a:lnTo>
                  <a:lnTo>
                    <a:pt x="651626" y="935373"/>
                  </a:lnTo>
                  <a:lnTo>
                    <a:pt x="664043" y="953379"/>
                  </a:lnTo>
                  <a:lnTo>
                    <a:pt x="669321" y="964866"/>
                  </a:lnTo>
                  <a:lnTo>
                    <a:pt x="673357" y="975421"/>
                  </a:lnTo>
                  <a:lnTo>
                    <a:pt x="680497" y="984734"/>
                  </a:lnTo>
                  <a:lnTo>
                    <a:pt x="691052" y="992185"/>
                  </a:lnTo>
                  <a:lnTo>
                    <a:pt x="704712" y="997462"/>
                  </a:lnTo>
                  <a:lnTo>
                    <a:pt x="715267" y="1003671"/>
                  </a:lnTo>
                  <a:lnTo>
                    <a:pt x="724580" y="1014226"/>
                  </a:lnTo>
                  <a:lnTo>
                    <a:pt x="731721" y="1026955"/>
                  </a:lnTo>
                  <a:lnTo>
                    <a:pt x="734825" y="1041546"/>
                  </a:lnTo>
                  <a:lnTo>
                    <a:pt x="741034" y="1054274"/>
                  </a:lnTo>
                  <a:lnTo>
                    <a:pt x="747243" y="1065761"/>
                  </a:lnTo>
                  <a:lnTo>
                    <a:pt x="760903" y="1075074"/>
                  </a:lnTo>
                  <a:lnTo>
                    <a:pt x="758729" y="1076005"/>
                  </a:lnTo>
                  <a:lnTo>
                    <a:pt x="758729" y="1078178"/>
                  </a:lnTo>
                  <a:lnTo>
                    <a:pt x="758729" y="1080351"/>
                  </a:lnTo>
                  <a:lnTo>
                    <a:pt x="756556" y="1080351"/>
                  </a:lnTo>
                  <a:lnTo>
                    <a:pt x="754383" y="1080351"/>
                  </a:lnTo>
                  <a:lnTo>
                    <a:pt x="751279" y="1082525"/>
                  </a:lnTo>
                  <a:lnTo>
                    <a:pt x="760592" y="1095253"/>
                  </a:lnTo>
                  <a:lnTo>
                    <a:pt x="771147" y="1102704"/>
                  </a:lnTo>
                  <a:lnTo>
                    <a:pt x="782634" y="1110154"/>
                  </a:lnTo>
                  <a:lnTo>
                    <a:pt x="791016" y="1119468"/>
                  </a:lnTo>
                  <a:lnTo>
                    <a:pt x="797225" y="1130023"/>
                  </a:lnTo>
                  <a:lnTo>
                    <a:pt x="800329" y="1142751"/>
                  </a:lnTo>
                  <a:lnTo>
                    <a:pt x="804365" y="1155479"/>
                  </a:lnTo>
                  <a:lnTo>
                    <a:pt x="809643" y="1155479"/>
                  </a:lnTo>
                  <a:lnTo>
                    <a:pt x="811816" y="1155479"/>
                  </a:lnTo>
                  <a:lnTo>
                    <a:pt x="812747" y="1155479"/>
                  </a:lnTo>
                  <a:lnTo>
                    <a:pt x="814920" y="1155479"/>
                  </a:lnTo>
                  <a:lnTo>
                    <a:pt x="817093" y="1155479"/>
                  </a:lnTo>
                  <a:lnTo>
                    <a:pt x="820198" y="1155479"/>
                  </a:lnTo>
                  <a:lnTo>
                    <a:pt x="822371" y="1159826"/>
                  </a:lnTo>
                  <a:lnTo>
                    <a:pt x="822371" y="1162930"/>
                  </a:lnTo>
                  <a:lnTo>
                    <a:pt x="824544" y="1169139"/>
                  </a:lnTo>
                  <a:lnTo>
                    <a:pt x="824544" y="1176590"/>
                  </a:lnTo>
                  <a:lnTo>
                    <a:pt x="827648" y="1174417"/>
                  </a:lnTo>
                  <a:lnTo>
                    <a:pt x="827648" y="1172243"/>
                  </a:lnTo>
                  <a:lnTo>
                    <a:pt x="829822" y="1170070"/>
                  </a:lnTo>
                  <a:lnTo>
                    <a:pt x="831995" y="1166966"/>
                  </a:lnTo>
                  <a:lnTo>
                    <a:pt x="831995" y="1159515"/>
                  </a:lnTo>
                  <a:lnTo>
                    <a:pt x="827959" y="1148960"/>
                  </a:lnTo>
                  <a:lnTo>
                    <a:pt x="819577" y="1132196"/>
                  </a:lnTo>
                  <a:lnTo>
                    <a:pt x="808090" y="1113259"/>
                  </a:lnTo>
                  <a:lnTo>
                    <a:pt x="797535" y="1095253"/>
                  </a:lnTo>
                  <a:lnTo>
                    <a:pt x="783876" y="1076316"/>
                  </a:lnTo>
                  <a:lnTo>
                    <a:pt x="773320" y="1061725"/>
                  </a:lnTo>
                  <a:lnTo>
                    <a:pt x="761834" y="1048996"/>
                  </a:lnTo>
                  <a:lnTo>
                    <a:pt x="756556" y="1041546"/>
                  </a:lnTo>
                  <a:lnTo>
                    <a:pt x="756556" y="1021677"/>
                  </a:lnTo>
                  <a:lnTo>
                    <a:pt x="760592" y="1023850"/>
                  </a:lnTo>
                  <a:lnTo>
                    <a:pt x="763697" y="1026955"/>
                  </a:lnTo>
                  <a:lnTo>
                    <a:pt x="767732" y="1031301"/>
                  </a:lnTo>
                  <a:lnTo>
                    <a:pt x="776114" y="1036578"/>
                  </a:lnTo>
                  <a:lnTo>
                    <a:pt x="782323" y="1048065"/>
                  </a:lnTo>
                  <a:lnTo>
                    <a:pt x="785428" y="1058620"/>
                  </a:lnTo>
                  <a:lnTo>
                    <a:pt x="789464" y="1069175"/>
                  </a:lnTo>
                  <a:lnTo>
                    <a:pt x="796604" y="1078489"/>
                  </a:lnTo>
                  <a:lnTo>
                    <a:pt x="797535" y="1080662"/>
                  </a:lnTo>
                  <a:lnTo>
                    <a:pt x="803744" y="1082835"/>
                  </a:lnTo>
                  <a:lnTo>
                    <a:pt x="806849" y="1082835"/>
                  </a:lnTo>
                  <a:lnTo>
                    <a:pt x="812126" y="1083766"/>
                  </a:lnTo>
                  <a:lnTo>
                    <a:pt x="816162" y="1085939"/>
                  </a:lnTo>
                  <a:lnTo>
                    <a:pt x="833857" y="1112327"/>
                  </a:lnTo>
                  <a:lnTo>
                    <a:pt x="852484" y="1137473"/>
                  </a:lnTo>
                  <a:lnTo>
                    <a:pt x="870179" y="1161688"/>
                  </a:lnTo>
                  <a:lnTo>
                    <a:pt x="890048" y="1183730"/>
                  </a:lnTo>
                  <a:lnTo>
                    <a:pt x="882908" y="1206703"/>
                  </a:lnTo>
                  <a:lnTo>
                    <a:pt x="886944" y="1211049"/>
                  </a:lnTo>
                  <a:lnTo>
                    <a:pt x="894084" y="1218500"/>
                  </a:lnTo>
                  <a:lnTo>
                    <a:pt x="901224" y="1227813"/>
                  </a:lnTo>
                  <a:lnTo>
                    <a:pt x="910537" y="1235264"/>
                  </a:lnTo>
                  <a:lnTo>
                    <a:pt x="915815" y="1242715"/>
                  </a:lnTo>
                  <a:lnTo>
                    <a:pt x="918919" y="1243646"/>
                  </a:lnTo>
                  <a:lnTo>
                    <a:pt x="939719" y="1240541"/>
                  </a:lnTo>
                  <a:lnTo>
                    <a:pt x="940651" y="1242715"/>
                  </a:lnTo>
                  <a:lnTo>
                    <a:pt x="944686" y="1245819"/>
                  </a:lnTo>
                  <a:lnTo>
                    <a:pt x="947791" y="1250165"/>
                  </a:lnTo>
                  <a:lnTo>
                    <a:pt x="951827" y="1253270"/>
                  </a:lnTo>
                  <a:lnTo>
                    <a:pt x="954931" y="1256374"/>
                  </a:lnTo>
                  <a:lnTo>
                    <a:pt x="978835" y="1260720"/>
                  </a:lnTo>
                  <a:lnTo>
                    <a:pt x="981940" y="1262894"/>
                  </a:lnTo>
                  <a:lnTo>
                    <a:pt x="985976" y="1265998"/>
                  </a:lnTo>
                  <a:lnTo>
                    <a:pt x="991253" y="1271276"/>
                  </a:lnTo>
                  <a:lnTo>
                    <a:pt x="995289" y="1275622"/>
                  </a:lnTo>
                  <a:lnTo>
                    <a:pt x="998394" y="1278726"/>
                  </a:lnTo>
                  <a:lnTo>
                    <a:pt x="1002429" y="1280899"/>
                  </a:lnTo>
                  <a:lnTo>
                    <a:pt x="1010811" y="1283073"/>
                  </a:lnTo>
                  <a:lnTo>
                    <a:pt x="1017952" y="1278726"/>
                  </a:lnTo>
                  <a:lnTo>
                    <a:pt x="1024161" y="1275622"/>
                  </a:lnTo>
                  <a:lnTo>
                    <a:pt x="1031301" y="1271276"/>
                  </a:lnTo>
                  <a:lnTo>
                    <a:pt x="1041856" y="1271276"/>
                  </a:lnTo>
                  <a:lnTo>
                    <a:pt x="1058620" y="1278726"/>
                  </a:lnTo>
                  <a:lnTo>
                    <a:pt x="1069175" y="1288040"/>
                  </a:lnTo>
                  <a:lnTo>
                    <a:pt x="1081593" y="1297353"/>
                  </a:lnTo>
                  <a:lnTo>
                    <a:pt x="1102393" y="1304804"/>
                  </a:lnTo>
                  <a:lnTo>
                    <a:pt x="1117915" y="1310081"/>
                  </a:lnTo>
                  <a:lnTo>
                    <a:pt x="1132506" y="1314428"/>
                  </a:lnTo>
                  <a:lnTo>
                    <a:pt x="1141820" y="1317532"/>
                  </a:lnTo>
                  <a:lnTo>
                    <a:pt x="1151133" y="1326845"/>
                  </a:lnTo>
                  <a:lnTo>
                    <a:pt x="1159515" y="1339574"/>
                  </a:lnTo>
                  <a:lnTo>
                    <a:pt x="1168828" y="1361615"/>
                  </a:lnTo>
                  <a:lnTo>
                    <a:pt x="1180315" y="1364720"/>
                  </a:lnTo>
                  <a:lnTo>
                    <a:pt x="1195837" y="1372171"/>
                  </a:lnTo>
                  <a:lnTo>
                    <a:pt x="1212601" y="1381484"/>
                  </a:lnTo>
                  <a:lnTo>
                    <a:pt x="1229365" y="1390797"/>
                  </a:lnTo>
                  <a:lnTo>
                    <a:pt x="1238679" y="1398248"/>
                  </a:lnTo>
                  <a:lnTo>
                    <a:pt x="1241783" y="1396075"/>
                  </a:lnTo>
                  <a:lnTo>
                    <a:pt x="1243956" y="1396075"/>
                  </a:lnTo>
                  <a:lnTo>
                    <a:pt x="1244888" y="1396075"/>
                  </a:lnTo>
                  <a:lnTo>
                    <a:pt x="1247061" y="1393902"/>
                  </a:lnTo>
                  <a:lnTo>
                    <a:pt x="1249234" y="1393902"/>
                  </a:lnTo>
                  <a:lnTo>
                    <a:pt x="1251407" y="1390797"/>
                  </a:lnTo>
                  <a:lnTo>
                    <a:pt x="1251407" y="1388624"/>
                  </a:lnTo>
                  <a:lnTo>
                    <a:pt x="1251407" y="1385520"/>
                  </a:lnTo>
                  <a:lnTo>
                    <a:pt x="1249234" y="1381173"/>
                  </a:lnTo>
                  <a:lnTo>
                    <a:pt x="1252338" y="1379000"/>
                  </a:lnTo>
                  <a:lnTo>
                    <a:pt x="1254511" y="1378069"/>
                  </a:lnTo>
                  <a:lnTo>
                    <a:pt x="1256684" y="1375896"/>
                  </a:lnTo>
                  <a:lnTo>
                    <a:pt x="1258858" y="1373723"/>
                  </a:lnTo>
                  <a:lnTo>
                    <a:pt x="1265998" y="1373723"/>
                  </a:lnTo>
                  <a:lnTo>
                    <a:pt x="1273138" y="1385209"/>
                  </a:lnTo>
                  <a:lnTo>
                    <a:pt x="1280278" y="1395764"/>
                  </a:lnTo>
                  <a:lnTo>
                    <a:pt x="1285556" y="1405078"/>
                  </a:lnTo>
                  <a:lnTo>
                    <a:pt x="1287729" y="1419669"/>
                  </a:lnTo>
                  <a:lnTo>
                    <a:pt x="1287729" y="1434260"/>
                  </a:lnTo>
                  <a:lnTo>
                    <a:pt x="1288660" y="1444815"/>
                  </a:lnTo>
                  <a:lnTo>
                    <a:pt x="1276243" y="1459406"/>
                  </a:lnTo>
                  <a:lnTo>
                    <a:pt x="1261652" y="1472134"/>
                  </a:lnTo>
                  <a:lnTo>
                    <a:pt x="1249234" y="1485794"/>
                  </a:lnTo>
                  <a:lnTo>
                    <a:pt x="1242094" y="1501626"/>
                  </a:lnTo>
                  <a:lnTo>
                    <a:pt x="1236816" y="1518390"/>
                  </a:lnTo>
                  <a:lnTo>
                    <a:pt x="1229676" y="1535155"/>
                  </a:lnTo>
                  <a:lnTo>
                    <a:pt x="1234953" y="1537328"/>
                  </a:lnTo>
                  <a:lnTo>
                    <a:pt x="1240231" y="1537328"/>
                  </a:lnTo>
                  <a:lnTo>
                    <a:pt x="1245508" y="1538259"/>
                  </a:lnTo>
                  <a:lnTo>
                    <a:pt x="1254822" y="1538259"/>
                  </a:lnTo>
                  <a:lnTo>
                    <a:pt x="1254822" y="1542605"/>
                  </a:lnTo>
                  <a:lnTo>
                    <a:pt x="1245508" y="1547883"/>
                  </a:lnTo>
                  <a:lnTo>
                    <a:pt x="1239300" y="1553160"/>
                  </a:lnTo>
                  <a:lnTo>
                    <a:pt x="1229986" y="1558438"/>
                  </a:lnTo>
                  <a:lnTo>
                    <a:pt x="1229986" y="1565889"/>
                  </a:lnTo>
                  <a:lnTo>
                    <a:pt x="1229986" y="1573339"/>
                  </a:lnTo>
                  <a:lnTo>
                    <a:pt x="1229986" y="1579548"/>
                  </a:lnTo>
                  <a:lnTo>
                    <a:pt x="1225950" y="1586999"/>
                  </a:lnTo>
                  <a:lnTo>
                    <a:pt x="1229986" y="1590104"/>
                  </a:lnTo>
                  <a:lnTo>
                    <a:pt x="1233091" y="1594450"/>
                  </a:lnTo>
                  <a:lnTo>
                    <a:pt x="1237126" y="1595381"/>
                  </a:lnTo>
                  <a:lnTo>
                    <a:pt x="1242404" y="1595381"/>
                  </a:lnTo>
                  <a:lnTo>
                    <a:pt x="1245508" y="1599727"/>
                  </a:lnTo>
                  <a:lnTo>
                    <a:pt x="1256995" y="1610283"/>
                  </a:lnTo>
                  <a:lnTo>
                    <a:pt x="1264135" y="1624873"/>
                  </a:lnTo>
                  <a:lnTo>
                    <a:pt x="1269413" y="1643811"/>
                  </a:lnTo>
                  <a:lnTo>
                    <a:pt x="1274690" y="1659643"/>
                  </a:lnTo>
                  <a:lnTo>
                    <a:pt x="1281831" y="1676407"/>
                  </a:lnTo>
                  <a:lnTo>
                    <a:pt x="1302630" y="1705900"/>
                  </a:lnTo>
                  <a:lnTo>
                    <a:pt x="1327777" y="1733219"/>
                  </a:lnTo>
                  <a:lnTo>
                    <a:pt x="1359132" y="1754329"/>
                  </a:lnTo>
                  <a:lnTo>
                    <a:pt x="1395454" y="1767989"/>
                  </a:lnTo>
                  <a:lnTo>
                    <a:pt x="1391418" y="1797481"/>
                  </a:lnTo>
                  <a:lnTo>
                    <a:pt x="1389245" y="1829147"/>
                  </a:lnTo>
                  <a:lnTo>
                    <a:pt x="1388314" y="1861744"/>
                  </a:lnTo>
                  <a:lnTo>
                    <a:pt x="1382105" y="1893409"/>
                  </a:lnTo>
                  <a:lnTo>
                    <a:pt x="1371549" y="1941839"/>
                  </a:lnTo>
                  <a:lnTo>
                    <a:pt x="1362236" y="1991199"/>
                  </a:lnTo>
                  <a:lnTo>
                    <a:pt x="1351681" y="2036214"/>
                  </a:lnTo>
                  <a:lnTo>
                    <a:pt x="1339263" y="2080297"/>
                  </a:lnTo>
                  <a:lnTo>
                    <a:pt x="1337090" y="2091784"/>
                  </a:lnTo>
                  <a:lnTo>
                    <a:pt x="1340194" y="2104512"/>
                  </a:lnTo>
                  <a:lnTo>
                    <a:pt x="1342368" y="2111963"/>
                  </a:lnTo>
                  <a:lnTo>
                    <a:pt x="1329950" y="2188643"/>
                  </a:lnTo>
                  <a:lnTo>
                    <a:pt x="1329950" y="2192989"/>
                  </a:lnTo>
                  <a:lnTo>
                    <a:pt x="1337090" y="2190816"/>
                  </a:lnTo>
                  <a:lnTo>
                    <a:pt x="1340194" y="2186470"/>
                  </a:lnTo>
                  <a:lnTo>
                    <a:pt x="1342368" y="2183365"/>
                  </a:lnTo>
                  <a:lnTo>
                    <a:pt x="1345472" y="2179019"/>
                  </a:lnTo>
                  <a:lnTo>
                    <a:pt x="1349508" y="2175915"/>
                  </a:lnTo>
                  <a:lnTo>
                    <a:pt x="1349508" y="2179019"/>
                  </a:lnTo>
                  <a:lnTo>
                    <a:pt x="1354785" y="2179019"/>
                  </a:lnTo>
                  <a:lnTo>
                    <a:pt x="1345472" y="2215652"/>
                  </a:lnTo>
                  <a:lnTo>
                    <a:pt x="1334917" y="2215652"/>
                  </a:lnTo>
                  <a:lnTo>
                    <a:pt x="1327777" y="2234589"/>
                  </a:lnTo>
                  <a:lnTo>
                    <a:pt x="1320636" y="2256631"/>
                  </a:lnTo>
                  <a:lnTo>
                    <a:pt x="1315359" y="2279604"/>
                  </a:lnTo>
                  <a:lnTo>
                    <a:pt x="1313186" y="2305992"/>
                  </a:lnTo>
                  <a:lnTo>
                    <a:pt x="1311012" y="2333311"/>
                  </a:lnTo>
                  <a:lnTo>
                    <a:pt x="1315048" y="2357525"/>
                  </a:lnTo>
                  <a:lnTo>
                    <a:pt x="1322189" y="2380499"/>
                  </a:lnTo>
                  <a:lnTo>
                    <a:pt x="1332744" y="2401609"/>
                  </a:lnTo>
                  <a:lnTo>
                    <a:pt x="1349508" y="2416200"/>
                  </a:lnTo>
                  <a:lnTo>
                    <a:pt x="1369376" y="2426755"/>
                  </a:lnTo>
                  <a:lnTo>
                    <a:pt x="1369376" y="2434206"/>
                  </a:lnTo>
                  <a:lnTo>
                    <a:pt x="1354785" y="2424892"/>
                  </a:lnTo>
                  <a:lnTo>
                    <a:pt x="1342368" y="2414337"/>
                  </a:lnTo>
                  <a:lnTo>
                    <a:pt x="1329950" y="2401609"/>
                  </a:lnTo>
                  <a:lnTo>
                    <a:pt x="1325914" y="2401609"/>
                  </a:lnTo>
                  <a:lnTo>
                    <a:pt x="1332123" y="2416200"/>
                  </a:lnTo>
                  <a:lnTo>
                    <a:pt x="1342678" y="2430791"/>
                  </a:lnTo>
                  <a:lnTo>
                    <a:pt x="1357269" y="2445382"/>
                  </a:lnTo>
                  <a:lnTo>
                    <a:pt x="1374033" y="2458110"/>
                  </a:lnTo>
                  <a:lnTo>
                    <a:pt x="1389555" y="2466492"/>
                  </a:lnTo>
                  <a:lnTo>
                    <a:pt x="1406319" y="2470838"/>
                  </a:lnTo>
                  <a:lnTo>
                    <a:pt x="1423083" y="2466492"/>
                  </a:lnTo>
                  <a:lnTo>
                    <a:pt x="1426188" y="2465561"/>
                  </a:lnTo>
                  <a:lnTo>
                    <a:pt x="1428361" y="2463388"/>
                  </a:lnTo>
                  <a:lnTo>
                    <a:pt x="1430534" y="2463388"/>
                  </a:lnTo>
                  <a:lnTo>
                    <a:pt x="1430534" y="2461214"/>
                  </a:lnTo>
                  <a:lnTo>
                    <a:pt x="1432707" y="2460283"/>
                  </a:lnTo>
                  <a:lnTo>
                    <a:pt x="1435812" y="2458110"/>
                  </a:lnTo>
                  <a:lnTo>
                    <a:pt x="1432707" y="2453764"/>
                  </a:lnTo>
                  <a:lnTo>
                    <a:pt x="1432707" y="2452832"/>
                  </a:lnTo>
                  <a:lnTo>
                    <a:pt x="1432707" y="2452832"/>
                  </a:lnTo>
                  <a:lnTo>
                    <a:pt x="1432707" y="2450659"/>
                  </a:lnTo>
                  <a:lnTo>
                    <a:pt x="1428671" y="2450659"/>
                  </a:lnTo>
                  <a:lnTo>
                    <a:pt x="1427740" y="2450659"/>
                  </a:lnTo>
                  <a:lnTo>
                    <a:pt x="1421531" y="2450659"/>
                  </a:lnTo>
                  <a:lnTo>
                    <a:pt x="1420600" y="2439173"/>
                  </a:lnTo>
                  <a:lnTo>
                    <a:pt x="1418427" y="2426444"/>
                  </a:lnTo>
                  <a:lnTo>
                    <a:pt x="1416254" y="2415889"/>
                  </a:lnTo>
                  <a:lnTo>
                    <a:pt x="1413149" y="2406576"/>
                  </a:lnTo>
                  <a:lnTo>
                    <a:pt x="1410976" y="2404403"/>
                  </a:lnTo>
                  <a:lnTo>
                    <a:pt x="1410976" y="2402230"/>
                  </a:lnTo>
                  <a:lnTo>
                    <a:pt x="1408803" y="2402230"/>
                  </a:lnTo>
                  <a:lnTo>
                    <a:pt x="1405698" y="2401298"/>
                  </a:lnTo>
                  <a:lnTo>
                    <a:pt x="1396385" y="2414027"/>
                  </a:lnTo>
                  <a:lnTo>
                    <a:pt x="1384899" y="2426755"/>
                  </a:lnTo>
                  <a:lnTo>
                    <a:pt x="1384899" y="2431101"/>
                  </a:lnTo>
                  <a:lnTo>
                    <a:pt x="1381794" y="2431101"/>
                  </a:lnTo>
                  <a:lnTo>
                    <a:pt x="1381794" y="2424892"/>
                  </a:lnTo>
                  <a:lnTo>
                    <a:pt x="1381794" y="2421788"/>
                  </a:lnTo>
                  <a:lnTo>
                    <a:pt x="1383967" y="2417442"/>
                  </a:lnTo>
                  <a:lnTo>
                    <a:pt x="1384899" y="2414337"/>
                  </a:lnTo>
                  <a:lnTo>
                    <a:pt x="1394212" y="2402851"/>
                  </a:lnTo>
                  <a:lnTo>
                    <a:pt x="1406630" y="2392295"/>
                  </a:lnTo>
                  <a:lnTo>
                    <a:pt x="1420289" y="2384845"/>
                  </a:lnTo>
                  <a:lnTo>
                    <a:pt x="1428671" y="2382672"/>
                  </a:lnTo>
                  <a:lnTo>
                    <a:pt x="1427740" y="2373358"/>
                  </a:lnTo>
                  <a:lnTo>
                    <a:pt x="1423704" y="2368081"/>
                  </a:lnTo>
                  <a:lnTo>
                    <a:pt x="1418427" y="2362803"/>
                  </a:lnTo>
                  <a:lnTo>
                    <a:pt x="1413149" y="2357525"/>
                  </a:lnTo>
                  <a:lnTo>
                    <a:pt x="1418427" y="2340761"/>
                  </a:lnTo>
                  <a:lnTo>
                    <a:pt x="1427740" y="2322756"/>
                  </a:lnTo>
                  <a:lnTo>
                    <a:pt x="1440158" y="2303818"/>
                  </a:lnTo>
                  <a:lnTo>
                    <a:pt x="1454749" y="2289227"/>
                  </a:lnTo>
                  <a:lnTo>
                    <a:pt x="1469340" y="2281777"/>
                  </a:lnTo>
                  <a:lnTo>
                    <a:pt x="1472444" y="2269048"/>
                  </a:lnTo>
                  <a:lnTo>
                    <a:pt x="1467167" y="2264702"/>
                  </a:lnTo>
                  <a:lnTo>
                    <a:pt x="1461889" y="2261598"/>
                  </a:lnTo>
                  <a:lnTo>
                    <a:pt x="1455680" y="2258493"/>
                  </a:lnTo>
                  <a:lnTo>
                    <a:pt x="1452576" y="2252284"/>
                  </a:lnTo>
                  <a:lnTo>
                    <a:pt x="1448540" y="2244834"/>
                  </a:lnTo>
                  <a:lnTo>
                    <a:pt x="1448540" y="2243902"/>
                  </a:lnTo>
                  <a:lnTo>
                    <a:pt x="1447609" y="2241729"/>
                  </a:lnTo>
                  <a:lnTo>
                    <a:pt x="1448540" y="2239556"/>
                  </a:lnTo>
                  <a:lnTo>
                    <a:pt x="1448540" y="2237383"/>
                  </a:lnTo>
                  <a:lnTo>
                    <a:pt x="1448540" y="2234279"/>
                  </a:lnTo>
                  <a:lnTo>
                    <a:pt x="1448540" y="2229001"/>
                  </a:lnTo>
                  <a:lnTo>
                    <a:pt x="1454749" y="2229001"/>
                  </a:lnTo>
                  <a:lnTo>
                    <a:pt x="1460026" y="2226828"/>
                  </a:lnTo>
                  <a:lnTo>
                    <a:pt x="1462200" y="2226828"/>
                  </a:lnTo>
                  <a:lnTo>
                    <a:pt x="1465304" y="2224655"/>
                  </a:lnTo>
                  <a:lnTo>
                    <a:pt x="1469340" y="2214100"/>
                  </a:lnTo>
                  <a:lnTo>
                    <a:pt x="1472444" y="2202613"/>
                  </a:lnTo>
                  <a:lnTo>
                    <a:pt x="1477722" y="2192058"/>
                  </a:lnTo>
                  <a:lnTo>
                    <a:pt x="1479895" y="2185849"/>
                  </a:lnTo>
                  <a:lnTo>
                    <a:pt x="1483931" y="2184918"/>
                  </a:lnTo>
                  <a:lnTo>
                    <a:pt x="1489208" y="2182745"/>
                  </a:lnTo>
                  <a:lnTo>
                    <a:pt x="1494486" y="2180571"/>
                  </a:lnTo>
                  <a:lnTo>
                    <a:pt x="1501626" y="2178398"/>
                  </a:lnTo>
                  <a:lnTo>
                    <a:pt x="1498522" y="2173121"/>
                  </a:lnTo>
                  <a:lnTo>
                    <a:pt x="1496349" y="2170016"/>
                  </a:lnTo>
                  <a:lnTo>
                    <a:pt x="1492313" y="2165670"/>
                  </a:lnTo>
                  <a:lnTo>
                    <a:pt x="1489208" y="2163497"/>
                  </a:lnTo>
                  <a:lnTo>
                    <a:pt x="1485173" y="2162566"/>
                  </a:lnTo>
                  <a:lnTo>
                    <a:pt x="1479895" y="2158219"/>
                  </a:lnTo>
                  <a:lnTo>
                    <a:pt x="1472755" y="2155115"/>
                  </a:lnTo>
                  <a:lnTo>
                    <a:pt x="1472755" y="2147664"/>
                  </a:lnTo>
                  <a:lnTo>
                    <a:pt x="1487346" y="2145491"/>
                  </a:lnTo>
                  <a:lnTo>
                    <a:pt x="1501937" y="2145491"/>
                  </a:lnTo>
                  <a:lnTo>
                    <a:pt x="1513423" y="2143318"/>
                  </a:lnTo>
                  <a:lnTo>
                    <a:pt x="1521805" y="2143318"/>
                  </a:lnTo>
                  <a:lnTo>
                    <a:pt x="1520874" y="2135867"/>
                  </a:lnTo>
                  <a:lnTo>
                    <a:pt x="1520874" y="2132763"/>
                  </a:lnTo>
                  <a:lnTo>
                    <a:pt x="1520874" y="2129037"/>
                  </a:lnTo>
                  <a:lnTo>
                    <a:pt x="1520874" y="2128106"/>
                  </a:lnTo>
                  <a:lnTo>
                    <a:pt x="1521805" y="2123760"/>
                  </a:lnTo>
                  <a:lnTo>
                    <a:pt x="1521805" y="2116309"/>
                  </a:lnTo>
                  <a:lnTo>
                    <a:pt x="1521805" y="2108858"/>
                  </a:lnTo>
                  <a:lnTo>
                    <a:pt x="1523978" y="2103581"/>
                  </a:lnTo>
                  <a:lnTo>
                    <a:pt x="1526151" y="2099235"/>
                  </a:lnTo>
                  <a:lnTo>
                    <a:pt x="1553160" y="2091784"/>
                  </a:lnTo>
                  <a:lnTo>
                    <a:pt x="1585447" y="2090853"/>
                  </a:lnTo>
                  <a:lnTo>
                    <a:pt x="1587620" y="2076262"/>
                  </a:lnTo>
                  <a:lnTo>
                    <a:pt x="1589793" y="2062602"/>
                  </a:lnTo>
                  <a:lnTo>
                    <a:pt x="1587620" y="2052047"/>
                  </a:lnTo>
                  <a:lnTo>
                    <a:pt x="1582342" y="2041492"/>
                  </a:lnTo>
                  <a:lnTo>
                    <a:pt x="1569924" y="2034041"/>
                  </a:lnTo>
                  <a:lnTo>
                    <a:pt x="1569924" y="2026590"/>
                  </a:lnTo>
                  <a:lnTo>
                    <a:pt x="1592897" y="2031868"/>
                  </a:lnTo>
                  <a:lnTo>
                    <a:pt x="1618975" y="2037145"/>
                  </a:lnTo>
                  <a:lnTo>
                    <a:pt x="1631393" y="2022554"/>
                  </a:lnTo>
                  <a:lnTo>
                    <a:pt x="1642879" y="2009826"/>
                  </a:lnTo>
                  <a:lnTo>
                    <a:pt x="1653434" y="1995235"/>
                  </a:lnTo>
                  <a:lnTo>
                    <a:pt x="1662747" y="1973194"/>
                  </a:lnTo>
                  <a:lnTo>
                    <a:pt x="1663679" y="1973194"/>
                  </a:lnTo>
                  <a:lnTo>
                    <a:pt x="1665852" y="1971020"/>
                  </a:lnTo>
                  <a:lnTo>
                    <a:pt x="1668025" y="1971020"/>
                  </a:lnTo>
                  <a:lnTo>
                    <a:pt x="1670198" y="1968847"/>
                  </a:lnTo>
                  <a:lnTo>
                    <a:pt x="1671130" y="1973194"/>
                  </a:lnTo>
                  <a:lnTo>
                    <a:pt x="1673303" y="1978471"/>
                  </a:lnTo>
                  <a:lnTo>
                    <a:pt x="1673303" y="1982817"/>
                  </a:lnTo>
                  <a:lnTo>
                    <a:pt x="1673303" y="1990268"/>
                  </a:lnTo>
                  <a:lnTo>
                    <a:pt x="1678580" y="1990268"/>
                  </a:lnTo>
                  <a:lnTo>
                    <a:pt x="1685721" y="1969158"/>
                  </a:lnTo>
                  <a:lnTo>
                    <a:pt x="1692861" y="1953325"/>
                  </a:lnTo>
                  <a:lnTo>
                    <a:pt x="1700001" y="1936561"/>
                  </a:lnTo>
                  <a:lnTo>
                    <a:pt x="1704037" y="1916692"/>
                  </a:lnTo>
                  <a:lnTo>
                    <a:pt x="1706210" y="1892478"/>
                  </a:lnTo>
                  <a:lnTo>
                    <a:pt x="1718628" y="1892478"/>
                  </a:lnTo>
                  <a:lnTo>
                    <a:pt x="1716455" y="1887200"/>
                  </a:lnTo>
                  <a:lnTo>
                    <a:pt x="1714282" y="1881923"/>
                  </a:lnTo>
                  <a:lnTo>
                    <a:pt x="1714282" y="1877576"/>
                  </a:lnTo>
                  <a:lnTo>
                    <a:pt x="1714282" y="1874472"/>
                  </a:lnTo>
                  <a:lnTo>
                    <a:pt x="1718317" y="1868263"/>
                  </a:lnTo>
                  <a:lnTo>
                    <a:pt x="1727631" y="1857708"/>
                  </a:lnTo>
                  <a:lnTo>
                    <a:pt x="1742222" y="1852430"/>
                  </a:lnTo>
                  <a:lnTo>
                    <a:pt x="1757744" y="1848084"/>
                  </a:lnTo>
                  <a:lnTo>
                    <a:pt x="1774508" y="1847153"/>
                  </a:lnTo>
                  <a:lnTo>
                    <a:pt x="1791272" y="1844979"/>
                  </a:lnTo>
                  <a:lnTo>
                    <a:pt x="1801827" y="1840633"/>
                  </a:lnTo>
                  <a:lnTo>
                    <a:pt x="1807105" y="1833183"/>
                  </a:lnTo>
                  <a:lnTo>
                    <a:pt x="1816418" y="1820454"/>
                  </a:lnTo>
                  <a:lnTo>
                    <a:pt x="1825732" y="1803690"/>
                  </a:lnTo>
                  <a:lnTo>
                    <a:pt x="1835045" y="1787857"/>
                  </a:lnTo>
                  <a:lnTo>
                    <a:pt x="1842185" y="1773267"/>
                  </a:lnTo>
                  <a:lnTo>
                    <a:pt x="1845290" y="1763953"/>
                  </a:lnTo>
                  <a:lnTo>
                    <a:pt x="1847463" y="1749362"/>
                  </a:lnTo>
                  <a:lnTo>
                    <a:pt x="1843427" y="1732598"/>
                  </a:lnTo>
                  <a:lnTo>
                    <a:pt x="1842496" y="1718007"/>
                  </a:lnTo>
                  <a:lnTo>
                    <a:pt x="1842496" y="1707452"/>
                  </a:lnTo>
                  <a:lnTo>
                    <a:pt x="1850878" y="1690688"/>
                  </a:lnTo>
                  <a:lnTo>
                    <a:pt x="1863296" y="1668646"/>
                  </a:lnTo>
                  <a:lnTo>
                    <a:pt x="1877887" y="1646605"/>
                  </a:lnTo>
                  <a:lnTo>
                    <a:pt x="1892477" y="1626736"/>
                  </a:lnTo>
                  <a:lnTo>
                    <a:pt x="1906137" y="1609972"/>
                  </a:lnTo>
                  <a:lnTo>
                    <a:pt x="1903964" y="1601590"/>
                  </a:lnTo>
                  <a:lnTo>
                    <a:pt x="1901480" y="1594450"/>
                  </a:lnTo>
                  <a:close/>
                  <a:moveTo>
                    <a:pt x="1340815" y="768043"/>
                  </a:moveTo>
                  <a:lnTo>
                    <a:pt x="1342988" y="765870"/>
                  </a:lnTo>
                  <a:lnTo>
                    <a:pt x="1345162" y="763697"/>
                  </a:lnTo>
                  <a:lnTo>
                    <a:pt x="1348266" y="760592"/>
                  </a:lnTo>
                  <a:lnTo>
                    <a:pt x="1350439" y="756246"/>
                  </a:lnTo>
                  <a:lnTo>
                    <a:pt x="1353544" y="756246"/>
                  </a:lnTo>
                  <a:lnTo>
                    <a:pt x="1352612" y="760592"/>
                  </a:lnTo>
                  <a:lnTo>
                    <a:pt x="1350439" y="762765"/>
                  </a:lnTo>
                  <a:lnTo>
                    <a:pt x="1348266" y="765870"/>
                  </a:lnTo>
                  <a:lnTo>
                    <a:pt x="1348266" y="768043"/>
                  </a:lnTo>
                  <a:lnTo>
                    <a:pt x="1347335" y="773320"/>
                  </a:lnTo>
                  <a:lnTo>
                    <a:pt x="1343299" y="771147"/>
                  </a:lnTo>
                  <a:lnTo>
                    <a:pt x="1341126" y="770216"/>
                  </a:lnTo>
                  <a:lnTo>
                    <a:pt x="1341126" y="768043"/>
                  </a:lnTo>
                  <a:close/>
                  <a:moveTo>
                    <a:pt x="1108602" y="713094"/>
                  </a:moveTo>
                  <a:lnTo>
                    <a:pt x="1117915" y="701608"/>
                  </a:lnTo>
                  <a:lnTo>
                    <a:pt x="1126297" y="688879"/>
                  </a:lnTo>
                  <a:lnTo>
                    <a:pt x="1144924" y="691052"/>
                  </a:lnTo>
                  <a:lnTo>
                    <a:pt x="1159515" y="698503"/>
                  </a:lnTo>
                  <a:lnTo>
                    <a:pt x="1167897" y="705954"/>
                  </a:lnTo>
                  <a:lnTo>
                    <a:pt x="1175037" y="716509"/>
                  </a:lnTo>
                  <a:lnTo>
                    <a:pt x="1181246" y="727995"/>
                  </a:lnTo>
                  <a:lnTo>
                    <a:pt x="1189628" y="736377"/>
                  </a:lnTo>
                  <a:lnTo>
                    <a:pt x="1203288" y="746001"/>
                  </a:lnTo>
                  <a:lnTo>
                    <a:pt x="1211670" y="749106"/>
                  </a:lnTo>
                  <a:lnTo>
                    <a:pt x="1218810" y="749106"/>
                  </a:lnTo>
                  <a:lnTo>
                    <a:pt x="1228124" y="751279"/>
                  </a:lnTo>
                  <a:lnTo>
                    <a:pt x="1237437" y="756556"/>
                  </a:lnTo>
                  <a:lnTo>
                    <a:pt x="1237437" y="766180"/>
                  </a:lnTo>
                  <a:lnTo>
                    <a:pt x="1235264" y="771458"/>
                  </a:lnTo>
                  <a:lnTo>
                    <a:pt x="1235264" y="775804"/>
                  </a:lnTo>
                  <a:lnTo>
                    <a:pt x="1233091" y="777977"/>
                  </a:lnTo>
                  <a:lnTo>
                    <a:pt x="1232159" y="778909"/>
                  </a:lnTo>
                  <a:lnTo>
                    <a:pt x="1229986" y="778909"/>
                  </a:lnTo>
                  <a:lnTo>
                    <a:pt x="1227813" y="778909"/>
                  </a:lnTo>
                  <a:lnTo>
                    <a:pt x="1225640" y="781082"/>
                  </a:lnTo>
                  <a:lnTo>
                    <a:pt x="1224709" y="783255"/>
                  </a:lnTo>
                  <a:lnTo>
                    <a:pt x="1222535" y="785428"/>
                  </a:lnTo>
                  <a:lnTo>
                    <a:pt x="1218500" y="795983"/>
                  </a:lnTo>
                  <a:lnTo>
                    <a:pt x="1220673" y="805607"/>
                  </a:lnTo>
                  <a:lnTo>
                    <a:pt x="1222846" y="810884"/>
                  </a:lnTo>
                  <a:lnTo>
                    <a:pt x="1222846" y="818335"/>
                  </a:lnTo>
                  <a:lnTo>
                    <a:pt x="1217568" y="827959"/>
                  </a:lnTo>
                  <a:lnTo>
                    <a:pt x="1218500" y="831063"/>
                  </a:lnTo>
                  <a:lnTo>
                    <a:pt x="1218500" y="833237"/>
                  </a:lnTo>
                  <a:lnTo>
                    <a:pt x="1218500" y="835410"/>
                  </a:lnTo>
                  <a:lnTo>
                    <a:pt x="1220673" y="837583"/>
                  </a:lnTo>
                  <a:lnTo>
                    <a:pt x="1222846" y="838514"/>
                  </a:lnTo>
                  <a:lnTo>
                    <a:pt x="1225950" y="837583"/>
                  </a:lnTo>
                  <a:lnTo>
                    <a:pt x="1237437" y="833237"/>
                  </a:lnTo>
                  <a:lnTo>
                    <a:pt x="1252959" y="825786"/>
                  </a:lnTo>
                  <a:lnTo>
                    <a:pt x="1269723" y="815231"/>
                  </a:lnTo>
                  <a:lnTo>
                    <a:pt x="1288350" y="805607"/>
                  </a:lnTo>
                  <a:lnTo>
                    <a:pt x="1302941" y="794120"/>
                  </a:lnTo>
                  <a:lnTo>
                    <a:pt x="1315359" y="786670"/>
                  </a:lnTo>
                  <a:lnTo>
                    <a:pt x="1322499" y="781392"/>
                  </a:lnTo>
                  <a:lnTo>
                    <a:pt x="1325603" y="783565"/>
                  </a:lnTo>
                  <a:lnTo>
                    <a:pt x="1327777" y="783565"/>
                  </a:lnTo>
                  <a:lnTo>
                    <a:pt x="1329950" y="783565"/>
                  </a:lnTo>
                  <a:lnTo>
                    <a:pt x="1332123" y="785738"/>
                  </a:lnTo>
                  <a:lnTo>
                    <a:pt x="1332123" y="786670"/>
                  </a:lnTo>
                  <a:lnTo>
                    <a:pt x="1333054" y="791016"/>
                  </a:lnTo>
                  <a:lnTo>
                    <a:pt x="1337090" y="791016"/>
                  </a:lnTo>
                  <a:lnTo>
                    <a:pt x="1329950" y="801571"/>
                  </a:lnTo>
                  <a:lnTo>
                    <a:pt x="1313186" y="811195"/>
                  </a:lnTo>
                  <a:lnTo>
                    <a:pt x="1295490" y="818646"/>
                  </a:lnTo>
                  <a:lnTo>
                    <a:pt x="1276863" y="826096"/>
                  </a:lnTo>
                  <a:lnTo>
                    <a:pt x="1259168" y="835720"/>
                  </a:lnTo>
                  <a:lnTo>
                    <a:pt x="1242404" y="845344"/>
                  </a:lnTo>
                  <a:lnTo>
                    <a:pt x="1233091" y="859004"/>
                  </a:lnTo>
                  <a:lnTo>
                    <a:pt x="1210118" y="855899"/>
                  </a:lnTo>
                  <a:lnTo>
                    <a:pt x="1207945" y="831684"/>
                  </a:lnTo>
                  <a:lnTo>
                    <a:pt x="1207945" y="809332"/>
                  </a:lnTo>
                  <a:lnTo>
                    <a:pt x="1207945" y="791326"/>
                  </a:lnTo>
                  <a:lnTo>
                    <a:pt x="1205771" y="771147"/>
                  </a:lnTo>
                  <a:lnTo>
                    <a:pt x="1193354" y="771147"/>
                  </a:lnTo>
                  <a:lnTo>
                    <a:pt x="1191180" y="778598"/>
                  </a:lnTo>
                  <a:lnTo>
                    <a:pt x="1185903" y="789153"/>
                  </a:lnTo>
                  <a:lnTo>
                    <a:pt x="1180625" y="801882"/>
                  </a:lnTo>
                  <a:lnTo>
                    <a:pt x="1174416" y="816783"/>
                  </a:lnTo>
                  <a:lnTo>
                    <a:pt x="1169139" y="828269"/>
                  </a:lnTo>
                  <a:lnTo>
                    <a:pt x="1166034" y="835720"/>
                  </a:lnTo>
                  <a:lnTo>
                    <a:pt x="1166034" y="838825"/>
                  </a:lnTo>
                  <a:lnTo>
                    <a:pt x="1159825" y="837893"/>
                  </a:lnTo>
                  <a:lnTo>
                    <a:pt x="1158894" y="835720"/>
                  </a:lnTo>
                  <a:lnTo>
                    <a:pt x="1156721" y="833547"/>
                  </a:lnTo>
                  <a:lnTo>
                    <a:pt x="1154548" y="831374"/>
                  </a:lnTo>
                  <a:lnTo>
                    <a:pt x="1154548" y="828269"/>
                  </a:lnTo>
                  <a:lnTo>
                    <a:pt x="1153306" y="822061"/>
                  </a:lnTo>
                  <a:lnTo>
                    <a:pt x="1153306" y="812747"/>
                  </a:lnTo>
                  <a:lnTo>
                    <a:pt x="1159515" y="797846"/>
                  </a:lnTo>
                  <a:lnTo>
                    <a:pt x="1166655" y="780771"/>
                  </a:lnTo>
                  <a:lnTo>
                    <a:pt x="1175037" y="768043"/>
                  </a:lnTo>
                  <a:lnTo>
                    <a:pt x="1182177" y="756556"/>
                  </a:lnTo>
                  <a:lnTo>
                    <a:pt x="1175037" y="748174"/>
                  </a:lnTo>
                  <a:lnTo>
                    <a:pt x="1167897" y="743828"/>
                  </a:lnTo>
                  <a:lnTo>
                    <a:pt x="1160757" y="740724"/>
                  </a:lnTo>
                  <a:lnTo>
                    <a:pt x="1152375" y="736377"/>
                  </a:lnTo>
                  <a:lnTo>
                    <a:pt x="1147097" y="723649"/>
                  </a:lnTo>
                  <a:lnTo>
                    <a:pt x="1137784" y="723649"/>
                  </a:lnTo>
                  <a:lnTo>
                    <a:pt x="1137784" y="728927"/>
                  </a:lnTo>
                  <a:lnTo>
                    <a:pt x="1135611" y="733273"/>
                  </a:lnTo>
                  <a:lnTo>
                    <a:pt x="1135611" y="738551"/>
                  </a:lnTo>
                  <a:lnTo>
                    <a:pt x="1133438" y="746001"/>
                  </a:lnTo>
                  <a:lnTo>
                    <a:pt x="1126297" y="736377"/>
                  </a:lnTo>
                  <a:lnTo>
                    <a:pt x="1121020" y="731100"/>
                  </a:lnTo>
                  <a:lnTo>
                    <a:pt x="1113879" y="727995"/>
                  </a:lnTo>
                  <a:lnTo>
                    <a:pt x="1103324" y="728927"/>
                  </a:lnTo>
                  <a:lnTo>
                    <a:pt x="1108602" y="713094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29F5B101-B0A4-4B59-B4E1-44323C32E8E3}"/>
                </a:ext>
              </a:extLst>
            </p:cNvPr>
            <p:cNvSpPr/>
            <p:nvPr/>
          </p:nvSpPr>
          <p:spPr>
            <a:xfrm>
              <a:off x="3644576" y="3731096"/>
              <a:ext cx="2992697" cy="1030680"/>
            </a:xfrm>
            <a:custGeom>
              <a:avLst/>
              <a:gdLst>
                <a:gd name="connsiteX0" fmla="*/ 7140 w 2992697"/>
                <a:gd name="connsiteY0" fmla="*/ 256428 h 1030680"/>
                <a:gd name="connsiteX1" fmla="*/ 26077 w 2992697"/>
                <a:gd name="connsiteY1" fmla="*/ 261706 h 1030680"/>
                <a:gd name="connsiteX2" fmla="*/ 38495 w 2992697"/>
                <a:gd name="connsiteY2" fmla="*/ 271330 h 1030680"/>
                <a:gd name="connsiteX3" fmla="*/ 49050 w 2992697"/>
                <a:gd name="connsiteY3" fmla="*/ 279712 h 1030680"/>
                <a:gd name="connsiteX4" fmla="*/ 60537 w 2992697"/>
                <a:gd name="connsiteY4" fmla="*/ 291198 h 1030680"/>
                <a:gd name="connsiteX5" fmla="*/ 71092 w 2992697"/>
                <a:gd name="connsiteY5" fmla="*/ 299580 h 1030680"/>
                <a:gd name="connsiteX6" fmla="*/ 71092 w 2992697"/>
                <a:gd name="connsiteY6" fmla="*/ 296476 h 1030680"/>
                <a:gd name="connsiteX7" fmla="*/ 77301 w 2992697"/>
                <a:gd name="connsiteY7" fmla="*/ 296476 h 1030680"/>
                <a:gd name="connsiteX8" fmla="*/ 77301 w 2992697"/>
                <a:gd name="connsiteY8" fmla="*/ 299580 h 1030680"/>
                <a:gd name="connsiteX9" fmla="*/ 78232 w 2992697"/>
                <a:gd name="connsiteY9" fmla="*/ 303926 h 1030680"/>
                <a:gd name="connsiteX10" fmla="*/ 82268 w 2992697"/>
                <a:gd name="connsiteY10" fmla="*/ 309204 h 1030680"/>
                <a:gd name="connsiteX11" fmla="*/ 84441 w 2992697"/>
                <a:gd name="connsiteY11" fmla="*/ 316655 h 1030680"/>
                <a:gd name="connsiteX12" fmla="*/ 76991 w 2992697"/>
                <a:gd name="connsiteY12" fmla="*/ 316655 h 1030680"/>
                <a:gd name="connsiteX13" fmla="*/ 72955 w 2992697"/>
                <a:gd name="connsiteY13" fmla="*/ 316655 h 1030680"/>
                <a:gd name="connsiteX14" fmla="*/ 72955 w 2992697"/>
                <a:gd name="connsiteY14" fmla="*/ 318828 h 1030680"/>
                <a:gd name="connsiteX15" fmla="*/ 70782 w 2992697"/>
                <a:gd name="connsiteY15" fmla="*/ 318828 h 1030680"/>
                <a:gd name="connsiteX16" fmla="*/ 67677 w 2992697"/>
                <a:gd name="connsiteY16" fmla="*/ 318828 h 1030680"/>
                <a:gd name="connsiteX17" fmla="*/ 63641 w 2992697"/>
                <a:gd name="connsiteY17" fmla="*/ 321001 h 1030680"/>
                <a:gd name="connsiteX18" fmla="*/ 49050 w 2992697"/>
                <a:gd name="connsiteY18" fmla="*/ 309514 h 1030680"/>
                <a:gd name="connsiteX19" fmla="*/ 34460 w 2992697"/>
                <a:gd name="connsiteY19" fmla="*/ 304237 h 1030680"/>
                <a:gd name="connsiteX20" fmla="*/ 16764 w 2992697"/>
                <a:gd name="connsiteY20" fmla="*/ 299891 h 1030680"/>
                <a:gd name="connsiteX21" fmla="*/ 0 w 2992697"/>
                <a:gd name="connsiteY21" fmla="*/ 291509 h 1030680"/>
                <a:gd name="connsiteX22" fmla="*/ 6209 w 2992697"/>
                <a:gd name="connsiteY22" fmla="*/ 286231 h 1030680"/>
                <a:gd name="connsiteX23" fmla="*/ 7140 w 2992697"/>
                <a:gd name="connsiteY23" fmla="*/ 280022 h 1030680"/>
                <a:gd name="connsiteX24" fmla="*/ 6209 w 2992697"/>
                <a:gd name="connsiteY24" fmla="*/ 274745 h 1030680"/>
                <a:gd name="connsiteX25" fmla="*/ 6209 w 2992697"/>
                <a:gd name="connsiteY25" fmla="*/ 266983 h 1030680"/>
                <a:gd name="connsiteX26" fmla="*/ 7140 w 2992697"/>
                <a:gd name="connsiteY26" fmla="*/ 256428 h 1030680"/>
                <a:gd name="connsiteX27" fmla="*/ 7140 w 2992697"/>
                <a:gd name="connsiteY27" fmla="*/ 256428 h 1030680"/>
                <a:gd name="connsiteX28" fmla="*/ 7140 w 2992697"/>
                <a:gd name="connsiteY28" fmla="*/ 256428 h 1030680"/>
                <a:gd name="connsiteX29" fmla="*/ 1275001 w 2992697"/>
                <a:gd name="connsiteY29" fmla="*/ 248978 h 1030680"/>
                <a:gd name="connsiteX30" fmla="*/ 1279037 w 2992697"/>
                <a:gd name="connsiteY30" fmla="*/ 248978 h 1030680"/>
                <a:gd name="connsiteX31" fmla="*/ 1282141 w 2992697"/>
                <a:gd name="connsiteY31" fmla="*/ 249909 h 1030680"/>
                <a:gd name="connsiteX32" fmla="*/ 1284314 w 2992697"/>
                <a:gd name="connsiteY32" fmla="*/ 252082 h 1030680"/>
                <a:gd name="connsiteX33" fmla="*/ 1286487 w 2992697"/>
                <a:gd name="connsiteY33" fmla="*/ 254255 h 1030680"/>
                <a:gd name="connsiteX34" fmla="*/ 1287419 w 2992697"/>
                <a:gd name="connsiteY34" fmla="*/ 256428 h 1030680"/>
                <a:gd name="connsiteX35" fmla="*/ 1287419 w 2992697"/>
                <a:gd name="connsiteY35" fmla="*/ 257670 h 1030680"/>
                <a:gd name="connsiteX36" fmla="*/ 1287419 w 2992697"/>
                <a:gd name="connsiteY36" fmla="*/ 259843 h 1030680"/>
                <a:gd name="connsiteX37" fmla="*/ 1289592 w 2992697"/>
                <a:gd name="connsiteY37" fmla="*/ 264189 h 1030680"/>
                <a:gd name="connsiteX38" fmla="*/ 1282141 w 2992697"/>
                <a:gd name="connsiteY38" fmla="*/ 264189 h 1030680"/>
                <a:gd name="connsiteX39" fmla="*/ 1279037 w 2992697"/>
                <a:gd name="connsiteY39" fmla="*/ 265121 h 1030680"/>
                <a:gd name="connsiteX40" fmla="*/ 1275001 w 2992697"/>
                <a:gd name="connsiteY40" fmla="*/ 265121 h 1030680"/>
                <a:gd name="connsiteX41" fmla="*/ 1271896 w 2992697"/>
                <a:gd name="connsiteY41" fmla="*/ 267294 h 1030680"/>
                <a:gd name="connsiteX42" fmla="*/ 1265687 w 2992697"/>
                <a:gd name="connsiteY42" fmla="*/ 267294 h 1030680"/>
                <a:gd name="connsiteX43" fmla="*/ 1265687 w 2992697"/>
                <a:gd name="connsiteY43" fmla="*/ 264189 h 1030680"/>
                <a:gd name="connsiteX44" fmla="*/ 1262583 w 2992697"/>
                <a:gd name="connsiteY44" fmla="*/ 264189 h 1030680"/>
                <a:gd name="connsiteX45" fmla="*/ 1262583 w 2992697"/>
                <a:gd name="connsiteY45" fmla="*/ 250530 h 1030680"/>
                <a:gd name="connsiteX46" fmla="*/ 1267861 w 2992697"/>
                <a:gd name="connsiteY46" fmla="*/ 250530 h 1030680"/>
                <a:gd name="connsiteX47" fmla="*/ 1273138 w 2992697"/>
                <a:gd name="connsiteY47" fmla="*/ 249598 h 1030680"/>
                <a:gd name="connsiteX48" fmla="*/ 1275001 w 2992697"/>
                <a:gd name="connsiteY48" fmla="*/ 249598 h 1030680"/>
                <a:gd name="connsiteX49" fmla="*/ 1275001 w 2992697"/>
                <a:gd name="connsiteY49" fmla="*/ 248978 h 1030680"/>
                <a:gd name="connsiteX50" fmla="*/ 1275001 w 2992697"/>
                <a:gd name="connsiteY50" fmla="*/ 248978 h 1030680"/>
                <a:gd name="connsiteX51" fmla="*/ 63641 w 2992697"/>
                <a:gd name="connsiteY51" fmla="*/ 239664 h 1030680"/>
                <a:gd name="connsiteX52" fmla="*/ 80405 w 2992697"/>
                <a:gd name="connsiteY52" fmla="*/ 239664 h 1030680"/>
                <a:gd name="connsiteX53" fmla="*/ 80405 w 2992697"/>
                <a:gd name="connsiteY53" fmla="*/ 242769 h 1030680"/>
                <a:gd name="connsiteX54" fmla="*/ 77301 w 2992697"/>
                <a:gd name="connsiteY54" fmla="*/ 242769 h 1030680"/>
                <a:gd name="connsiteX55" fmla="*/ 73265 w 2992697"/>
                <a:gd name="connsiteY55" fmla="*/ 242769 h 1030680"/>
                <a:gd name="connsiteX56" fmla="*/ 71092 w 2992697"/>
                <a:gd name="connsiteY56" fmla="*/ 244942 h 1030680"/>
                <a:gd name="connsiteX57" fmla="*/ 70161 w 2992697"/>
                <a:gd name="connsiteY57" fmla="*/ 244942 h 1030680"/>
                <a:gd name="connsiteX58" fmla="*/ 70161 w 2992697"/>
                <a:gd name="connsiteY58" fmla="*/ 244942 h 1030680"/>
                <a:gd name="connsiteX59" fmla="*/ 67988 w 2992697"/>
                <a:gd name="connsiteY59" fmla="*/ 244942 h 1030680"/>
                <a:gd name="connsiteX60" fmla="*/ 65815 w 2992697"/>
                <a:gd name="connsiteY60" fmla="*/ 242769 h 1030680"/>
                <a:gd name="connsiteX61" fmla="*/ 63641 w 2992697"/>
                <a:gd name="connsiteY61" fmla="*/ 239664 h 1030680"/>
                <a:gd name="connsiteX62" fmla="*/ 63641 w 2992697"/>
                <a:gd name="connsiteY62" fmla="*/ 239664 h 1030680"/>
                <a:gd name="connsiteX63" fmla="*/ 63641 w 2992697"/>
                <a:gd name="connsiteY63" fmla="*/ 239664 h 1030680"/>
                <a:gd name="connsiteX64" fmla="*/ 1790651 w 2992697"/>
                <a:gd name="connsiteY64" fmla="*/ 213276 h 1030680"/>
                <a:gd name="connsiteX65" fmla="*/ 1803069 w 2992697"/>
                <a:gd name="connsiteY65" fmla="*/ 213276 h 1030680"/>
                <a:gd name="connsiteX66" fmla="*/ 1807105 w 2992697"/>
                <a:gd name="connsiteY66" fmla="*/ 228178 h 1030680"/>
                <a:gd name="connsiteX67" fmla="*/ 1810209 w 2992697"/>
                <a:gd name="connsiteY67" fmla="*/ 237801 h 1030680"/>
                <a:gd name="connsiteX68" fmla="*/ 1817660 w 2992697"/>
                <a:gd name="connsiteY68" fmla="*/ 242148 h 1030680"/>
                <a:gd name="connsiteX69" fmla="*/ 1830078 w 2992697"/>
                <a:gd name="connsiteY69" fmla="*/ 247425 h 1030680"/>
                <a:gd name="connsiteX70" fmla="*/ 1824800 w 2992697"/>
                <a:gd name="connsiteY70" fmla="*/ 269467 h 1030680"/>
                <a:gd name="connsiteX71" fmla="*/ 1817350 w 2992697"/>
                <a:gd name="connsiteY71" fmla="*/ 291509 h 1030680"/>
                <a:gd name="connsiteX72" fmla="*/ 1806794 w 2992697"/>
                <a:gd name="connsiteY72" fmla="*/ 307341 h 1030680"/>
                <a:gd name="connsiteX73" fmla="*/ 1806794 w 2992697"/>
                <a:gd name="connsiteY73" fmla="*/ 287162 h 1030680"/>
                <a:gd name="connsiteX74" fmla="*/ 1782890 w 2992697"/>
                <a:gd name="connsiteY74" fmla="*/ 287162 h 1030680"/>
                <a:gd name="connsiteX75" fmla="*/ 1785063 w 2992697"/>
                <a:gd name="connsiteY75" fmla="*/ 263879 h 1030680"/>
                <a:gd name="connsiteX76" fmla="*/ 1787236 w 2992697"/>
                <a:gd name="connsiteY76" fmla="*/ 241837 h 1030680"/>
                <a:gd name="connsiteX77" fmla="*/ 1790651 w 2992697"/>
                <a:gd name="connsiteY77" fmla="*/ 213276 h 1030680"/>
                <a:gd name="connsiteX78" fmla="*/ 1790651 w 2992697"/>
                <a:gd name="connsiteY78" fmla="*/ 213276 h 1030680"/>
                <a:gd name="connsiteX79" fmla="*/ 1790651 w 2992697"/>
                <a:gd name="connsiteY79" fmla="*/ 213276 h 1030680"/>
                <a:gd name="connsiteX80" fmla="*/ 2941784 w 2992697"/>
                <a:gd name="connsiteY80" fmla="*/ 165778 h 1030680"/>
                <a:gd name="connsiteX81" fmla="*/ 2945820 w 2992697"/>
                <a:gd name="connsiteY81" fmla="*/ 165778 h 1030680"/>
                <a:gd name="connsiteX82" fmla="*/ 2945820 w 2992697"/>
                <a:gd name="connsiteY82" fmla="*/ 170124 h 1030680"/>
                <a:gd name="connsiteX83" fmla="*/ 2946751 w 2992697"/>
                <a:gd name="connsiteY83" fmla="*/ 175402 h 1030680"/>
                <a:gd name="connsiteX84" fmla="*/ 2948925 w 2992697"/>
                <a:gd name="connsiteY84" fmla="*/ 177575 h 1030680"/>
                <a:gd name="connsiteX85" fmla="*/ 2951098 w 2992697"/>
                <a:gd name="connsiteY85" fmla="*/ 180679 h 1030680"/>
                <a:gd name="connsiteX86" fmla="*/ 2953271 w 2992697"/>
                <a:gd name="connsiteY86" fmla="*/ 182853 h 1030680"/>
                <a:gd name="connsiteX87" fmla="*/ 2956375 w 2992697"/>
                <a:gd name="connsiteY87" fmla="*/ 185957 h 1030680"/>
                <a:gd name="connsiteX88" fmla="*/ 2960411 w 2992697"/>
                <a:gd name="connsiteY88" fmla="*/ 182853 h 1030680"/>
                <a:gd name="connsiteX89" fmla="*/ 2961342 w 2992697"/>
                <a:gd name="connsiteY89" fmla="*/ 178506 h 1030680"/>
                <a:gd name="connsiteX90" fmla="*/ 2963515 w 2992697"/>
                <a:gd name="connsiteY90" fmla="*/ 177575 h 1030680"/>
                <a:gd name="connsiteX91" fmla="*/ 2967551 w 2992697"/>
                <a:gd name="connsiteY91" fmla="*/ 177575 h 1030680"/>
                <a:gd name="connsiteX92" fmla="*/ 2972829 w 2992697"/>
                <a:gd name="connsiteY92" fmla="*/ 175402 h 1030680"/>
                <a:gd name="connsiteX93" fmla="*/ 2975933 w 2992697"/>
                <a:gd name="connsiteY93" fmla="*/ 185957 h 1030680"/>
                <a:gd name="connsiteX94" fmla="*/ 2982142 w 2992697"/>
                <a:gd name="connsiteY94" fmla="*/ 193408 h 1030680"/>
                <a:gd name="connsiteX95" fmla="*/ 2987420 w 2992697"/>
                <a:gd name="connsiteY95" fmla="*/ 200858 h 1030680"/>
                <a:gd name="connsiteX96" fmla="*/ 2990524 w 2992697"/>
                <a:gd name="connsiteY96" fmla="*/ 210482 h 1030680"/>
                <a:gd name="connsiteX97" fmla="*/ 2992697 w 2992697"/>
                <a:gd name="connsiteY97" fmla="*/ 223211 h 1030680"/>
                <a:gd name="connsiteX98" fmla="*/ 2992697 w 2992697"/>
                <a:gd name="connsiteY98" fmla="*/ 225384 h 1030680"/>
                <a:gd name="connsiteX99" fmla="*/ 2990524 w 2992697"/>
                <a:gd name="connsiteY99" fmla="*/ 227557 h 1030680"/>
                <a:gd name="connsiteX100" fmla="*/ 2990524 w 2992697"/>
                <a:gd name="connsiteY100" fmla="*/ 228488 h 1030680"/>
                <a:gd name="connsiteX101" fmla="*/ 2990524 w 2992697"/>
                <a:gd name="connsiteY101" fmla="*/ 230661 h 1030680"/>
                <a:gd name="connsiteX102" fmla="*/ 2990524 w 2992697"/>
                <a:gd name="connsiteY102" fmla="*/ 232834 h 1030680"/>
                <a:gd name="connsiteX103" fmla="*/ 2989593 w 2992697"/>
                <a:gd name="connsiteY103" fmla="*/ 235939 h 1030680"/>
                <a:gd name="connsiteX104" fmla="*/ 2978106 w 2992697"/>
                <a:gd name="connsiteY104" fmla="*/ 243390 h 1030680"/>
                <a:gd name="connsiteX105" fmla="*/ 2961342 w 2992697"/>
                <a:gd name="connsiteY105" fmla="*/ 250840 h 1030680"/>
                <a:gd name="connsiteX106" fmla="*/ 2941474 w 2992697"/>
                <a:gd name="connsiteY106" fmla="*/ 255186 h 1030680"/>
                <a:gd name="connsiteX107" fmla="*/ 2921605 w 2992697"/>
                <a:gd name="connsiteY107" fmla="*/ 258291 h 1030680"/>
                <a:gd name="connsiteX108" fmla="*/ 2904841 w 2992697"/>
                <a:gd name="connsiteY108" fmla="*/ 260464 h 1030680"/>
                <a:gd name="connsiteX109" fmla="*/ 2907014 w 2992697"/>
                <a:gd name="connsiteY109" fmla="*/ 250840 h 1030680"/>
                <a:gd name="connsiteX110" fmla="*/ 2909187 w 2992697"/>
                <a:gd name="connsiteY110" fmla="*/ 247736 h 1030680"/>
                <a:gd name="connsiteX111" fmla="*/ 2911360 w 2992697"/>
                <a:gd name="connsiteY111" fmla="*/ 243390 h 1030680"/>
                <a:gd name="connsiteX112" fmla="*/ 2912292 w 2992697"/>
                <a:gd name="connsiteY112" fmla="*/ 242458 h 1030680"/>
                <a:gd name="connsiteX113" fmla="*/ 2914465 w 2992697"/>
                <a:gd name="connsiteY113" fmla="*/ 242458 h 1030680"/>
                <a:gd name="connsiteX114" fmla="*/ 2918501 w 2992697"/>
                <a:gd name="connsiteY114" fmla="*/ 240285 h 1030680"/>
                <a:gd name="connsiteX115" fmla="*/ 2919432 w 2992697"/>
                <a:gd name="connsiteY115" fmla="*/ 240285 h 1030680"/>
                <a:gd name="connsiteX116" fmla="*/ 2921605 w 2992697"/>
                <a:gd name="connsiteY116" fmla="*/ 238112 h 1030680"/>
                <a:gd name="connsiteX117" fmla="*/ 2925641 w 2992697"/>
                <a:gd name="connsiteY117" fmla="*/ 235939 h 1030680"/>
                <a:gd name="connsiteX118" fmla="*/ 2930919 w 2992697"/>
                <a:gd name="connsiteY118" fmla="*/ 221037 h 1030680"/>
                <a:gd name="connsiteX119" fmla="*/ 2930919 w 2992697"/>
                <a:gd name="connsiteY119" fmla="*/ 206136 h 1030680"/>
                <a:gd name="connsiteX120" fmla="*/ 2928746 w 2992697"/>
                <a:gd name="connsiteY120" fmla="*/ 192476 h 1030680"/>
                <a:gd name="connsiteX121" fmla="*/ 2931850 w 2992697"/>
                <a:gd name="connsiteY121" fmla="*/ 180990 h 1030680"/>
                <a:gd name="connsiteX122" fmla="*/ 2941163 w 2992697"/>
                <a:gd name="connsiteY122" fmla="*/ 170435 h 1030680"/>
                <a:gd name="connsiteX123" fmla="*/ 2941163 w 2992697"/>
                <a:gd name="connsiteY123" fmla="*/ 165778 h 1030680"/>
                <a:gd name="connsiteX124" fmla="*/ 2941784 w 2992697"/>
                <a:gd name="connsiteY124" fmla="*/ 165778 h 1030680"/>
                <a:gd name="connsiteX125" fmla="*/ 2941784 w 2992697"/>
                <a:gd name="connsiteY125" fmla="*/ 165778 h 1030680"/>
                <a:gd name="connsiteX126" fmla="*/ 148083 w 2992697"/>
                <a:gd name="connsiteY126" fmla="*/ 158327 h 1030680"/>
                <a:gd name="connsiteX127" fmla="*/ 167951 w 2992697"/>
                <a:gd name="connsiteY127" fmla="*/ 180369 h 1030680"/>
                <a:gd name="connsiteX128" fmla="*/ 193097 w 2992697"/>
                <a:gd name="connsiteY128" fmla="*/ 197133 h 1030680"/>
                <a:gd name="connsiteX129" fmla="*/ 224452 w 2992697"/>
                <a:gd name="connsiteY129" fmla="*/ 209861 h 1030680"/>
                <a:gd name="connsiteX130" fmla="*/ 226625 w 2992697"/>
                <a:gd name="connsiteY130" fmla="*/ 227867 h 1030680"/>
                <a:gd name="connsiteX131" fmla="*/ 231903 w 2992697"/>
                <a:gd name="connsiteY131" fmla="*/ 241527 h 1030680"/>
                <a:gd name="connsiteX132" fmla="*/ 237181 w 2992697"/>
                <a:gd name="connsiteY132" fmla="*/ 248978 h 1030680"/>
                <a:gd name="connsiteX133" fmla="*/ 244631 w 2992697"/>
                <a:gd name="connsiteY133" fmla="*/ 256428 h 1030680"/>
                <a:gd name="connsiteX134" fmla="*/ 252082 w 2992697"/>
                <a:gd name="connsiteY134" fmla="*/ 266983 h 1030680"/>
                <a:gd name="connsiteX135" fmla="*/ 239664 w 2992697"/>
                <a:gd name="connsiteY135" fmla="*/ 269157 h 1030680"/>
                <a:gd name="connsiteX136" fmla="*/ 227246 w 2992697"/>
                <a:gd name="connsiteY136" fmla="*/ 271330 h 1030680"/>
                <a:gd name="connsiteX137" fmla="*/ 215760 w 2992697"/>
                <a:gd name="connsiteY137" fmla="*/ 276607 h 1030680"/>
                <a:gd name="connsiteX138" fmla="*/ 208309 w 2992697"/>
                <a:gd name="connsiteY138" fmla="*/ 284058 h 1030680"/>
                <a:gd name="connsiteX139" fmla="*/ 207378 w 2992697"/>
                <a:gd name="connsiteY139" fmla="*/ 287162 h 1030680"/>
                <a:gd name="connsiteX140" fmla="*/ 205205 w 2992697"/>
                <a:gd name="connsiteY140" fmla="*/ 291509 h 1030680"/>
                <a:gd name="connsiteX141" fmla="*/ 203032 w 2992697"/>
                <a:gd name="connsiteY141" fmla="*/ 294613 h 1030680"/>
                <a:gd name="connsiteX142" fmla="*/ 200858 w 2992697"/>
                <a:gd name="connsiteY142" fmla="*/ 296786 h 1030680"/>
                <a:gd name="connsiteX143" fmla="*/ 197754 w 2992697"/>
                <a:gd name="connsiteY143" fmla="*/ 299891 h 1030680"/>
                <a:gd name="connsiteX144" fmla="*/ 186267 w 2992697"/>
                <a:gd name="connsiteY144" fmla="*/ 302064 h 1030680"/>
                <a:gd name="connsiteX145" fmla="*/ 170745 w 2992697"/>
                <a:gd name="connsiteY145" fmla="*/ 304237 h 1030680"/>
                <a:gd name="connsiteX146" fmla="*/ 151808 w 2992697"/>
                <a:gd name="connsiteY146" fmla="*/ 302064 h 1030680"/>
                <a:gd name="connsiteX147" fmla="*/ 137217 w 2992697"/>
                <a:gd name="connsiteY147" fmla="*/ 299891 h 1030680"/>
                <a:gd name="connsiteX148" fmla="*/ 134113 w 2992697"/>
                <a:gd name="connsiteY148" fmla="*/ 289335 h 1030680"/>
                <a:gd name="connsiteX149" fmla="*/ 131939 w 2992697"/>
                <a:gd name="connsiteY149" fmla="*/ 281885 h 1030680"/>
                <a:gd name="connsiteX150" fmla="*/ 129766 w 2992697"/>
                <a:gd name="connsiteY150" fmla="*/ 276607 h 1030680"/>
                <a:gd name="connsiteX151" fmla="*/ 124489 w 2992697"/>
                <a:gd name="connsiteY151" fmla="*/ 266983 h 1030680"/>
                <a:gd name="connsiteX152" fmla="*/ 148393 w 2992697"/>
                <a:gd name="connsiteY152" fmla="*/ 259533 h 1030680"/>
                <a:gd name="connsiteX153" fmla="*/ 148393 w 2992697"/>
                <a:gd name="connsiteY153" fmla="*/ 256428 h 1030680"/>
                <a:gd name="connsiteX154" fmla="*/ 129456 w 2992697"/>
                <a:gd name="connsiteY154" fmla="*/ 254255 h 1030680"/>
                <a:gd name="connsiteX155" fmla="*/ 117038 w 2992697"/>
                <a:gd name="connsiteY155" fmla="*/ 249909 h 1030680"/>
                <a:gd name="connsiteX156" fmla="*/ 107725 w 2992697"/>
                <a:gd name="connsiteY156" fmla="*/ 242458 h 1030680"/>
                <a:gd name="connsiteX157" fmla="*/ 106793 w 2992697"/>
                <a:gd name="connsiteY157" fmla="*/ 237181 h 1030680"/>
                <a:gd name="connsiteX158" fmla="*/ 102758 w 2992697"/>
                <a:gd name="connsiteY158" fmla="*/ 231903 h 1030680"/>
                <a:gd name="connsiteX159" fmla="*/ 100584 w 2992697"/>
                <a:gd name="connsiteY159" fmla="*/ 226625 h 1030680"/>
                <a:gd name="connsiteX160" fmla="*/ 100584 w 2992697"/>
                <a:gd name="connsiteY160" fmla="*/ 220417 h 1030680"/>
                <a:gd name="connsiteX161" fmla="*/ 100584 w 2992697"/>
                <a:gd name="connsiteY161" fmla="*/ 217312 h 1030680"/>
                <a:gd name="connsiteX162" fmla="*/ 100584 w 2992697"/>
                <a:gd name="connsiteY162" fmla="*/ 212966 h 1030680"/>
                <a:gd name="connsiteX163" fmla="*/ 102758 w 2992697"/>
                <a:gd name="connsiteY163" fmla="*/ 212966 h 1030680"/>
                <a:gd name="connsiteX164" fmla="*/ 104931 w 2992697"/>
                <a:gd name="connsiteY164" fmla="*/ 212034 h 1030680"/>
                <a:gd name="connsiteX165" fmla="*/ 107104 w 2992697"/>
                <a:gd name="connsiteY165" fmla="*/ 212034 h 1030680"/>
                <a:gd name="connsiteX166" fmla="*/ 108035 w 2992697"/>
                <a:gd name="connsiteY166" fmla="*/ 212034 h 1030680"/>
                <a:gd name="connsiteX167" fmla="*/ 112071 w 2992697"/>
                <a:gd name="connsiteY167" fmla="*/ 209861 h 1030680"/>
                <a:gd name="connsiteX168" fmla="*/ 113623 w 2992697"/>
                <a:gd name="connsiteY168" fmla="*/ 204894 h 1030680"/>
                <a:gd name="connsiteX169" fmla="*/ 113623 w 2992697"/>
                <a:gd name="connsiteY169" fmla="*/ 198685 h 1030680"/>
                <a:gd name="connsiteX170" fmla="*/ 113623 w 2992697"/>
                <a:gd name="connsiteY170" fmla="*/ 195581 h 1030680"/>
                <a:gd name="connsiteX171" fmla="*/ 114554 w 2992697"/>
                <a:gd name="connsiteY171" fmla="*/ 193408 h 1030680"/>
                <a:gd name="connsiteX172" fmla="*/ 116728 w 2992697"/>
                <a:gd name="connsiteY172" fmla="*/ 190303 h 1030680"/>
                <a:gd name="connsiteX173" fmla="*/ 118901 w 2992697"/>
                <a:gd name="connsiteY173" fmla="*/ 190303 h 1030680"/>
                <a:gd name="connsiteX174" fmla="*/ 121074 w 2992697"/>
                <a:gd name="connsiteY174" fmla="*/ 188130 h 1030680"/>
                <a:gd name="connsiteX175" fmla="*/ 122005 w 2992697"/>
                <a:gd name="connsiteY175" fmla="*/ 188130 h 1030680"/>
                <a:gd name="connsiteX176" fmla="*/ 124178 w 2992697"/>
                <a:gd name="connsiteY176" fmla="*/ 188130 h 1030680"/>
                <a:gd name="connsiteX177" fmla="*/ 127283 w 2992697"/>
                <a:gd name="connsiteY177" fmla="*/ 185957 h 1030680"/>
                <a:gd name="connsiteX178" fmla="*/ 129456 w 2992697"/>
                <a:gd name="connsiteY178" fmla="*/ 178506 h 1030680"/>
                <a:gd name="connsiteX179" fmla="*/ 131629 w 2992697"/>
                <a:gd name="connsiteY179" fmla="*/ 173229 h 1030680"/>
                <a:gd name="connsiteX180" fmla="*/ 133802 w 2992697"/>
                <a:gd name="connsiteY180" fmla="*/ 167951 h 1030680"/>
                <a:gd name="connsiteX181" fmla="*/ 136907 w 2992697"/>
                <a:gd name="connsiteY181" fmla="*/ 162674 h 1030680"/>
                <a:gd name="connsiteX182" fmla="*/ 139080 w 2992697"/>
                <a:gd name="connsiteY182" fmla="*/ 160500 h 1030680"/>
                <a:gd name="connsiteX183" fmla="*/ 141253 w 2992697"/>
                <a:gd name="connsiteY183" fmla="*/ 160500 h 1030680"/>
                <a:gd name="connsiteX184" fmla="*/ 142184 w 2992697"/>
                <a:gd name="connsiteY184" fmla="*/ 158327 h 1030680"/>
                <a:gd name="connsiteX185" fmla="*/ 144357 w 2992697"/>
                <a:gd name="connsiteY185" fmla="*/ 158327 h 1030680"/>
                <a:gd name="connsiteX186" fmla="*/ 148083 w 2992697"/>
                <a:gd name="connsiteY186" fmla="*/ 158327 h 1030680"/>
                <a:gd name="connsiteX187" fmla="*/ 148083 w 2992697"/>
                <a:gd name="connsiteY187" fmla="*/ 158327 h 1030680"/>
                <a:gd name="connsiteX188" fmla="*/ 148083 w 2992697"/>
                <a:gd name="connsiteY188" fmla="*/ 158327 h 1030680"/>
                <a:gd name="connsiteX189" fmla="*/ 1222846 w 2992697"/>
                <a:gd name="connsiteY189" fmla="*/ 138148 h 1030680"/>
                <a:gd name="connsiteX190" fmla="*/ 1228124 w 2992697"/>
                <a:gd name="connsiteY190" fmla="*/ 140322 h 1030680"/>
                <a:gd name="connsiteX191" fmla="*/ 1233401 w 2992697"/>
                <a:gd name="connsiteY191" fmla="*/ 141253 h 1030680"/>
                <a:gd name="connsiteX192" fmla="*/ 1236506 w 2992697"/>
                <a:gd name="connsiteY192" fmla="*/ 143426 h 1030680"/>
                <a:gd name="connsiteX193" fmla="*/ 1242714 w 2992697"/>
                <a:gd name="connsiteY193" fmla="*/ 145599 h 1030680"/>
                <a:gd name="connsiteX194" fmla="*/ 1242714 w 2992697"/>
                <a:gd name="connsiteY194" fmla="*/ 150877 h 1030680"/>
                <a:gd name="connsiteX195" fmla="*/ 1243646 w 2992697"/>
                <a:gd name="connsiteY195" fmla="*/ 155223 h 1030680"/>
                <a:gd name="connsiteX196" fmla="*/ 1243646 w 2992697"/>
                <a:gd name="connsiteY196" fmla="*/ 158327 h 1030680"/>
                <a:gd name="connsiteX197" fmla="*/ 1245819 w 2992697"/>
                <a:gd name="connsiteY197" fmla="*/ 162674 h 1030680"/>
                <a:gd name="connsiteX198" fmla="*/ 1233401 w 2992697"/>
                <a:gd name="connsiteY198" fmla="*/ 162674 h 1030680"/>
                <a:gd name="connsiteX199" fmla="*/ 1231228 w 2992697"/>
                <a:gd name="connsiteY199" fmla="*/ 158327 h 1030680"/>
                <a:gd name="connsiteX200" fmla="*/ 1229055 w 2992697"/>
                <a:gd name="connsiteY200" fmla="*/ 155223 h 1030680"/>
                <a:gd name="connsiteX201" fmla="*/ 1225950 w 2992697"/>
                <a:gd name="connsiteY201" fmla="*/ 150877 h 1030680"/>
                <a:gd name="connsiteX202" fmla="*/ 1223777 w 2992697"/>
                <a:gd name="connsiteY202" fmla="*/ 148704 h 1030680"/>
                <a:gd name="connsiteX203" fmla="*/ 1223777 w 2992697"/>
                <a:gd name="connsiteY203" fmla="*/ 143426 h 1030680"/>
                <a:gd name="connsiteX204" fmla="*/ 1222846 w 2992697"/>
                <a:gd name="connsiteY204" fmla="*/ 138148 h 1030680"/>
                <a:gd name="connsiteX205" fmla="*/ 1222846 w 2992697"/>
                <a:gd name="connsiteY205" fmla="*/ 138148 h 1030680"/>
                <a:gd name="connsiteX206" fmla="*/ 1222846 w 2992697"/>
                <a:gd name="connsiteY206" fmla="*/ 138148 h 1030680"/>
                <a:gd name="connsiteX207" fmla="*/ 1730114 w 2992697"/>
                <a:gd name="connsiteY207" fmla="*/ 113934 h 1030680"/>
                <a:gd name="connsiteX208" fmla="*/ 1736323 w 2992697"/>
                <a:gd name="connsiteY208" fmla="*/ 123557 h 1030680"/>
                <a:gd name="connsiteX209" fmla="*/ 1741601 w 2992697"/>
                <a:gd name="connsiteY209" fmla="*/ 141563 h 1030680"/>
                <a:gd name="connsiteX210" fmla="*/ 1749051 w 2992697"/>
                <a:gd name="connsiteY210" fmla="*/ 158327 h 1030680"/>
                <a:gd name="connsiteX211" fmla="*/ 1758365 w 2992697"/>
                <a:gd name="connsiteY211" fmla="*/ 175091 h 1030680"/>
                <a:gd name="connsiteX212" fmla="*/ 1763642 w 2992697"/>
                <a:gd name="connsiteY212" fmla="*/ 182542 h 1030680"/>
                <a:gd name="connsiteX213" fmla="*/ 1766747 w 2992697"/>
                <a:gd name="connsiteY213" fmla="*/ 178196 h 1030680"/>
                <a:gd name="connsiteX214" fmla="*/ 1768920 w 2992697"/>
                <a:gd name="connsiteY214" fmla="*/ 177265 h 1030680"/>
                <a:gd name="connsiteX215" fmla="*/ 1772956 w 2992697"/>
                <a:gd name="connsiteY215" fmla="*/ 177265 h 1030680"/>
                <a:gd name="connsiteX216" fmla="*/ 1776060 w 2992697"/>
                <a:gd name="connsiteY216" fmla="*/ 175091 h 1030680"/>
                <a:gd name="connsiteX217" fmla="*/ 1783511 w 2992697"/>
                <a:gd name="connsiteY217" fmla="*/ 175091 h 1030680"/>
                <a:gd name="connsiteX218" fmla="*/ 1783511 w 2992697"/>
                <a:gd name="connsiteY218" fmla="*/ 178196 h 1030680"/>
                <a:gd name="connsiteX219" fmla="*/ 1787547 w 2992697"/>
                <a:gd name="connsiteY219" fmla="*/ 178196 h 1030680"/>
                <a:gd name="connsiteX220" fmla="*/ 1787547 w 2992697"/>
                <a:gd name="connsiteY220" fmla="*/ 189682 h 1030680"/>
                <a:gd name="connsiteX221" fmla="*/ 1759296 w 2992697"/>
                <a:gd name="connsiteY221" fmla="*/ 192787 h 1030680"/>
                <a:gd name="connsiteX222" fmla="*/ 1756192 w 2992697"/>
                <a:gd name="connsiteY222" fmla="*/ 222279 h 1030680"/>
                <a:gd name="connsiteX223" fmla="*/ 1746878 w 2992697"/>
                <a:gd name="connsiteY223" fmla="*/ 246494 h 1030680"/>
                <a:gd name="connsiteX224" fmla="*/ 1739428 w 2992697"/>
                <a:gd name="connsiteY224" fmla="*/ 270709 h 1030680"/>
                <a:gd name="connsiteX225" fmla="*/ 1736323 w 2992697"/>
                <a:gd name="connsiteY225" fmla="*/ 290888 h 1030680"/>
                <a:gd name="connsiteX226" fmla="*/ 1734150 w 2992697"/>
                <a:gd name="connsiteY226" fmla="*/ 311067 h 1030680"/>
                <a:gd name="connsiteX227" fmla="*/ 1734150 w 2992697"/>
                <a:gd name="connsiteY227" fmla="*/ 327831 h 1030680"/>
                <a:gd name="connsiteX228" fmla="*/ 1730114 w 2992697"/>
                <a:gd name="connsiteY228" fmla="*/ 343664 h 1030680"/>
                <a:gd name="connsiteX229" fmla="*/ 1727010 w 2992697"/>
                <a:gd name="connsiteY229" fmla="*/ 343664 h 1030680"/>
                <a:gd name="connsiteX230" fmla="*/ 1727010 w 2992697"/>
                <a:gd name="connsiteY230" fmla="*/ 340559 h 1030680"/>
                <a:gd name="connsiteX231" fmla="*/ 1721732 w 2992697"/>
                <a:gd name="connsiteY231" fmla="*/ 333108 h 1030680"/>
                <a:gd name="connsiteX232" fmla="*/ 1712419 w 2992697"/>
                <a:gd name="connsiteY232" fmla="*/ 323485 h 1030680"/>
                <a:gd name="connsiteX233" fmla="*/ 1701864 w 2992697"/>
                <a:gd name="connsiteY233" fmla="*/ 310756 h 1030680"/>
                <a:gd name="connsiteX234" fmla="*/ 1692550 w 2992697"/>
                <a:gd name="connsiteY234" fmla="*/ 298028 h 1030680"/>
                <a:gd name="connsiteX235" fmla="*/ 1685100 w 2992697"/>
                <a:gd name="connsiteY235" fmla="*/ 285300 h 1030680"/>
                <a:gd name="connsiteX236" fmla="*/ 1681064 w 2992697"/>
                <a:gd name="connsiteY236" fmla="*/ 273813 h 1030680"/>
                <a:gd name="connsiteX237" fmla="*/ 1683237 w 2992697"/>
                <a:gd name="connsiteY237" fmla="*/ 266363 h 1030680"/>
                <a:gd name="connsiteX238" fmla="*/ 1687273 w 2992697"/>
                <a:gd name="connsiteY238" fmla="*/ 264189 h 1030680"/>
                <a:gd name="connsiteX239" fmla="*/ 1690377 w 2992697"/>
                <a:gd name="connsiteY239" fmla="*/ 264189 h 1030680"/>
                <a:gd name="connsiteX240" fmla="*/ 1692550 w 2992697"/>
                <a:gd name="connsiteY240" fmla="*/ 264189 h 1030680"/>
                <a:gd name="connsiteX241" fmla="*/ 1694723 w 2992697"/>
                <a:gd name="connsiteY241" fmla="*/ 264189 h 1030680"/>
                <a:gd name="connsiteX242" fmla="*/ 1695655 w 2992697"/>
                <a:gd name="connsiteY242" fmla="*/ 264189 h 1030680"/>
                <a:gd name="connsiteX243" fmla="*/ 1697828 w 2992697"/>
                <a:gd name="connsiteY243" fmla="*/ 264189 h 1030680"/>
                <a:gd name="connsiteX244" fmla="*/ 1700001 w 2992697"/>
                <a:gd name="connsiteY244" fmla="*/ 263879 h 1030680"/>
                <a:gd name="connsiteX245" fmla="*/ 1703106 w 2992697"/>
                <a:gd name="connsiteY245" fmla="*/ 259533 h 1030680"/>
                <a:gd name="connsiteX246" fmla="*/ 1700001 w 2992697"/>
                <a:gd name="connsiteY246" fmla="*/ 259533 h 1030680"/>
                <a:gd name="connsiteX247" fmla="*/ 1700001 w 2992697"/>
                <a:gd name="connsiteY247" fmla="*/ 256428 h 1030680"/>
                <a:gd name="connsiteX248" fmla="*/ 1683237 w 2992697"/>
                <a:gd name="connsiteY248" fmla="*/ 254255 h 1030680"/>
                <a:gd name="connsiteX249" fmla="*/ 1673924 w 2992697"/>
                <a:gd name="connsiteY249" fmla="*/ 248978 h 1030680"/>
                <a:gd name="connsiteX250" fmla="*/ 1666473 w 2992697"/>
                <a:gd name="connsiteY250" fmla="*/ 239354 h 1030680"/>
                <a:gd name="connsiteX251" fmla="*/ 1673924 w 2992697"/>
                <a:gd name="connsiteY251" fmla="*/ 237181 h 1030680"/>
                <a:gd name="connsiteX252" fmla="*/ 1680132 w 2992697"/>
                <a:gd name="connsiteY252" fmla="*/ 235007 h 1030680"/>
                <a:gd name="connsiteX253" fmla="*/ 1683237 w 2992697"/>
                <a:gd name="connsiteY253" fmla="*/ 234076 h 1030680"/>
                <a:gd name="connsiteX254" fmla="*/ 1687273 w 2992697"/>
                <a:gd name="connsiteY254" fmla="*/ 231903 h 1030680"/>
                <a:gd name="connsiteX255" fmla="*/ 1690377 w 2992697"/>
                <a:gd name="connsiteY255" fmla="*/ 229730 h 1030680"/>
                <a:gd name="connsiteX256" fmla="*/ 1694413 w 2992697"/>
                <a:gd name="connsiteY256" fmla="*/ 226625 h 1030680"/>
                <a:gd name="connsiteX257" fmla="*/ 1694413 w 2992697"/>
                <a:gd name="connsiteY257" fmla="*/ 222279 h 1030680"/>
                <a:gd name="connsiteX258" fmla="*/ 1679822 w 2992697"/>
                <a:gd name="connsiteY258" fmla="*/ 222279 h 1030680"/>
                <a:gd name="connsiteX259" fmla="*/ 1675786 w 2992697"/>
                <a:gd name="connsiteY259" fmla="*/ 224452 h 1030680"/>
                <a:gd name="connsiteX260" fmla="*/ 1672682 w 2992697"/>
                <a:gd name="connsiteY260" fmla="*/ 224452 h 1030680"/>
                <a:gd name="connsiteX261" fmla="*/ 1668646 w 2992697"/>
                <a:gd name="connsiteY261" fmla="*/ 226625 h 1030680"/>
                <a:gd name="connsiteX262" fmla="*/ 1663369 w 2992697"/>
                <a:gd name="connsiteY262" fmla="*/ 226625 h 1030680"/>
                <a:gd name="connsiteX263" fmla="*/ 1654055 w 2992697"/>
                <a:gd name="connsiteY263" fmla="*/ 209861 h 1030680"/>
                <a:gd name="connsiteX264" fmla="*/ 1643500 w 2992697"/>
                <a:gd name="connsiteY264" fmla="*/ 193097 h 1030680"/>
                <a:gd name="connsiteX265" fmla="*/ 1644431 w 2992697"/>
                <a:gd name="connsiteY265" fmla="*/ 187820 h 1030680"/>
                <a:gd name="connsiteX266" fmla="*/ 1644431 w 2992697"/>
                <a:gd name="connsiteY266" fmla="*/ 184715 h 1030680"/>
                <a:gd name="connsiteX267" fmla="*/ 1646604 w 2992697"/>
                <a:gd name="connsiteY267" fmla="*/ 182542 h 1030680"/>
                <a:gd name="connsiteX268" fmla="*/ 1648778 w 2992697"/>
                <a:gd name="connsiteY268" fmla="*/ 178196 h 1030680"/>
                <a:gd name="connsiteX269" fmla="*/ 1648778 w 2992697"/>
                <a:gd name="connsiteY269" fmla="*/ 175091 h 1030680"/>
                <a:gd name="connsiteX270" fmla="*/ 1650951 w 2992697"/>
                <a:gd name="connsiteY270" fmla="*/ 169814 h 1030680"/>
                <a:gd name="connsiteX271" fmla="*/ 1646915 w 2992697"/>
                <a:gd name="connsiteY271" fmla="*/ 169814 h 1030680"/>
                <a:gd name="connsiteX272" fmla="*/ 1646915 w 2992697"/>
                <a:gd name="connsiteY272" fmla="*/ 165468 h 1030680"/>
                <a:gd name="connsiteX273" fmla="*/ 1643810 w 2992697"/>
                <a:gd name="connsiteY273" fmla="*/ 167641 h 1030680"/>
                <a:gd name="connsiteX274" fmla="*/ 1641637 w 2992697"/>
                <a:gd name="connsiteY274" fmla="*/ 167641 h 1030680"/>
                <a:gd name="connsiteX275" fmla="*/ 1639464 w 2992697"/>
                <a:gd name="connsiteY275" fmla="*/ 167641 h 1030680"/>
                <a:gd name="connsiteX276" fmla="*/ 1639464 w 2992697"/>
                <a:gd name="connsiteY276" fmla="*/ 167641 h 1030680"/>
                <a:gd name="connsiteX277" fmla="*/ 1637291 w 2992697"/>
                <a:gd name="connsiteY277" fmla="*/ 167641 h 1030680"/>
                <a:gd name="connsiteX278" fmla="*/ 1637291 w 2992697"/>
                <a:gd name="connsiteY278" fmla="*/ 165468 h 1030680"/>
                <a:gd name="connsiteX279" fmla="*/ 1634187 w 2992697"/>
                <a:gd name="connsiteY279" fmla="*/ 162363 h 1030680"/>
                <a:gd name="connsiteX280" fmla="*/ 1632013 w 2992697"/>
                <a:gd name="connsiteY280" fmla="*/ 158017 h 1030680"/>
                <a:gd name="connsiteX281" fmla="*/ 1629840 w 2992697"/>
                <a:gd name="connsiteY281" fmla="*/ 154912 h 1030680"/>
                <a:gd name="connsiteX282" fmla="*/ 1628909 w 2992697"/>
                <a:gd name="connsiteY282" fmla="*/ 152739 h 1030680"/>
                <a:gd name="connsiteX283" fmla="*/ 1628909 w 2992697"/>
                <a:gd name="connsiteY283" fmla="*/ 147462 h 1030680"/>
                <a:gd name="connsiteX284" fmla="*/ 1626736 w 2992697"/>
                <a:gd name="connsiteY284" fmla="*/ 141253 h 1030680"/>
                <a:gd name="connsiteX285" fmla="*/ 1646604 w 2992697"/>
                <a:gd name="connsiteY285" fmla="*/ 128525 h 1030680"/>
                <a:gd name="connsiteX286" fmla="*/ 1666473 w 2992697"/>
                <a:gd name="connsiteY286" fmla="*/ 117969 h 1030680"/>
                <a:gd name="connsiteX287" fmla="*/ 1668646 w 2992697"/>
                <a:gd name="connsiteY287" fmla="*/ 123247 h 1030680"/>
                <a:gd name="connsiteX288" fmla="*/ 1670819 w 2992697"/>
                <a:gd name="connsiteY288" fmla="*/ 128525 h 1030680"/>
                <a:gd name="connsiteX289" fmla="*/ 1672992 w 2992697"/>
                <a:gd name="connsiteY289" fmla="*/ 130698 h 1030680"/>
                <a:gd name="connsiteX290" fmla="*/ 1676097 w 2992697"/>
                <a:gd name="connsiteY290" fmla="*/ 132871 h 1030680"/>
                <a:gd name="connsiteX291" fmla="*/ 1678270 w 2992697"/>
                <a:gd name="connsiteY291" fmla="*/ 132871 h 1030680"/>
                <a:gd name="connsiteX292" fmla="*/ 1680443 w 2992697"/>
                <a:gd name="connsiteY292" fmla="*/ 133802 h 1030680"/>
                <a:gd name="connsiteX293" fmla="*/ 1683547 w 2992697"/>
                <a:gd name="connsiteY293" fmla="*/ 135975 h 1030680"/>
                <a:gd name="connsiteX294" fmla="*/ 1687583 w 2992697"/>
                <a:gd name="connsiteY294" fmla="*/ 138148 h 1030680"/>
                <a:gd name="connsiteX295" fmla="*/ 1690688 w 2992697"/>
                <a:gd name="connsiteY295" fmla="*/ 148704 h 1030680"/>
                <a:gd name="connsiteX296" fmla="*/ 1692861 w 2992697"/>
                <a:gd name="connsiteY296" fmla="*/ 162363 h 1030680"/>
                <a:gd name="connsiteX297" fmla="*/ 1695034 w 2992697"/>
                <a:gd name="connsiteY297" fmla="*/ 175091 h 1030680"/>
                <a:gd name="connsiteX298" fmla="*/ 1703416 w 2992697"/>
                <a:gd name="connsiteY298" fmla="*/ 175091 h 1030680"/>
                <a:gd name="connsiteX299" fmla="*/ 1703416 w 2992697"/>
                <a:gd name="connsiteY299" fmla="*/ 165468 h 1030680"/>
                <a:gd name="connsiteX300" fmla="*/ 1700311 w 2992697"/>
                <a:gd name="connsiteY300" fmla="*/ 154912 h 1030680"/>
                <a:gd name="connsiteX301" fmla="*/ 1700311 w 2992697"/>
                <a:gd name="connsiteY301" fmla="*/ 141253 h 1030680"/>
                <a:gd name="connsiteX302" fmla="*/ 1703416 w 2992697"/>
                <a:gd name="connsiteY302" fmla="*/ 128525 h 1030680"/>
                <a:gd name="connsiteX303" fmla="*/ 1707452 w 2992697"/>
                <a:gd name="connsiteY303" fmla="*/ 117969 h 1030680"/>
                <a:gd name="connsiteX304" fmla="*/ 1730114 w 2992697"/>
                <a:gd name="connsiteY304" fmla="*/ 113934 h 1030680"/>
                <a:gd name="connsiteX305" fmla="*/ 1730114 w 2992697"/>
                <a:gd name="connsiteY305" fmla="*/ 113934 h 1030680"/>
                <a:gd name="connsiteX306" fmla="*/ 1730114 w 2992697"/>
                <a:gd name="connsiteY306" fmla="*/ 113934 h 1030680"/>
                <a:gd name="connsiteX307" fmla="*/ 2755827 w 2992697"/>
                <a:gd name="connsiteY307" fmla="*/ 104620 h 1030680"/>
                <a:gd name="connsiteX308" fmla="*/ 2761105 w 2992697"/>
                <a:gd name="connsiteY308" fmla="*/ 108966 h 1030680"/>
                <a:gd name="connsiteX309" fmla="*/ 2765140 w 2992697"/>
                <a:gd name="connsiteY309" fmla="*/ 112071 h 1030680"/>
                <a:gd name="connsiteX310" fmla="*/ 2770418 w 2992697"/>
                <a:gd name="connsiteY310" fmla="*/ 112071 h 1030680"/>
                <a:gd name="connsiteX311" fmla="*/ 2775696 w 2992697"/>
                <a:gd name="connsiteY311" fmla="*/ 112071 h 1030680"/>
                <a:gd name="connsiteX312" fmla="*/ 2785009 w 2992697"/>
                <a:gd name="connsiteY312" fmla="*/ 114244 h 1030680"/>
                <a:gd name="connsiteX313" fmla="*/ 2782836 w 2992697"/>
                <a:gd name="connsiteY313" fmla="*/ 118590 h 1030680"/>
                <a:gd name="connsiteX314" fmla="*/ 2782836 w 2992697"/>
                <a:gd name="connsiteY314" fmla="*/ 119522 h 1030680"/>
                <a:gd name="connsiteX315" fmla="*/ 2782836 w 2992697"/>
                <a:gd name="connsiteY315" fmla="*/ 121695 h 1030680"/>
                <a:gd name="connsiteX316" fmla="*/ 2781905 w 2992697"/>
                <a:gd name="connsiteY316" fmla="*/ 123868 h 1030680"/>
                <a:gd name="connsiteX317" fmla="*/ 2781905 w 2992697"/>
                <a:gd name="connsiteY317" fmla="*/ 126041 h 1030680"/>
                <a:gd name="connsiteX318" fmla="*/ 2768245 w 2992697"/>
                <a:gd name="connsiteY318" fmla="*/ 133492 h 1030680"/>
                <a:gd name="connsiteX319" fmla="*/ 2750550 w 2992697"/>
                <a:gd name="connsiteY319" fmla="*/ 136596 h 1030680"/>
                <a:gd name="connsiteX320" fmla="*/ 2731613 w 2992697"/>
                <a:gd name="connsiteY320" fmla="*/ 138769 h 1030680"/>
                <a:gd name="connsiteX321" fmla="*/ 2730681 w 2992697"/>
                <a:gd name="connsiteY321" fmla="*/ 134423 h 1030680"/>
                <a:gd name="connsiteX322" fmla="*/ 2730681 w 2992697"/>
                <a:gd name="connsiteY322" fmla="*/ 131319 h 1030680"/>
                <a:gd name="connsiteX323" fmla="*/ 2728508 w 2992697"/>
                <a:gd name="connsiteY323" fmla="*/ 126972 h 1030680"/>
                <a:gd name="connsiteX324" fmla="*/ 2728508 w 2992697"/>
                <a:gd name="connsiteY324" fmla="*/ 121695 h 1030680"/>
                <a:gd name="connsiteX325" fmla="*/ 2733786 w 2992697"/>
                <a:gd name="connsiteY325" fmla="*/ 118590 h 1030680"/>
                <a:gd name="connsiteX326" fmla="*/ 2737821 w 2992697"/>
                <a:gd name="connsiteY326" fmla="*/ 114244 h 1030680"/>
                <a:gd name="connsiteX327" fmla="*/ 2740926 w 2992697"/>
                <a:gd name="connsiteY327" fmla="*/ 112071 h 1030680"/>
                <a:gd name="connsiteX328" fmla="*/ 2744961 w 2992697"/>
                <a:gd name="connsiteY328" fmla="*/ 108966 h 1030680"/>
                <a:gd name="connsiteX329" fmla="*/ 2748066 w 2992697"/>
                <a:gd name="connsiteY329" fmla="*/ 106793 h 1030680"/>
                <a:gd name="connsiteX330" fmla="*/ 2755827 w 2992697"/>
                <a:gd name="connsiteY330" fmla="*/ 104620 h 1030680"/>
                <a:gd name="connsiteX331" fmla="*/ 2755827 w 2992697"/>
                <a:gd name="connsiteY331" fmla="*/ 104620 h 1030680"/>
                <a:gd name="connsiteX332" fmla="*/ 2755827 w 2992697"/>
                <a:gd name="connsiteY332" fmla="*/ 104620 h 1030680"/>
                <a:gd name="connsiteX333" fmla="*/ 2195472 w 2992697"/>
                <a:gd name="connsiteY333" fmla="*/ 104620 h 1030680"/>
                <a:gd name="connsiteX334" fmla="*/ 2210063 w 2992697"/>
                <a:gd name="connsiteY334" fmla="*/ 106793 h 1030680"/>
                <a:gd name="connsiteX335" fmla="*/ 2220619 w 2992697"/>
                <a:gd name="connsiteY335" fmla="*/ 112071 h 1030680"/>
                <a:gd name="connsiteX336" fmla="*/ 2231174 w 2992697"/>
                <a:gd name="connsiteY336" fmla="*/ 118280 h 1030680"/>
                <a:gd name="connsiteX337" fmla="*/ 2228069 w 2992697"/>
                <a:gd name="connsiteY337" fmla="*/ 121384 h 1030680"/>
                <a:gd name="connsiteX338" fmla="*/ 2225896 w 2992697"/>
                <a:gd name="connsiteY338" fmla="*/ 126662 h 1030680"/>
                <a:gd name="connsiteX339" fmla="*/ 2222792 w 2992697"/>
                <a:gd name="connsiteY339" fmla="*/ 128835 h 1030680"/>
                <a:gd name="connsiteX340" fmla="*/ 2217514 w 2992697"/>
                <a:gd name="connsiteY340" fmla="*/ 131008 h 1030680"/>
                <a:gd name="connsiteX341" fmla="*/ 2211305 w 2992697"/>
                <a:gd name="connsiteY341" fmla="*/ 133181 h 1030680"/>
                <a:gd name="connsiteX342" fmla="*/ 2203855 w 2992697"/>
                <a:gd name="connsiteY342" fmla="*/ 133181 h 1030680"/>
                <a:gd name="connsiteX343" fmla="*/ 2198577 w 2992697"/>
                <a:gd name="connsiteY343" fmla="*/ 136286 h 1030680"/>
                <a:gd name="connsiteX344" fmla="*/ 2193300 w 2992697"/>
                <a:gd name="connsiteY344" fmla="*/ 136286 h 1030680"/>
                <a:gd name="connsiteX345" fmla="*/ 2188022 w 2992697"/>
                <a:gd name="connsiteY345" fmla="*/ 138459 h 1030680"/>
                <a:gd name="connsiteX346" fmla="*/ 2180571 w 2992697"/>
                <a:gd name="connsiteY346" fmla="*/ 138459 h 1030680"/>
                <a:gd name="connsiteX347" fmla="*/ 2180571 w 2992697"/>
                <a:gd name="connsiteY347" fmla="*/ 126972 h 1030680"/>
                <a:gd name="connsiteX348" fmla="*/ 2181502 w 2992697"/>
                <a:gd name="connsiteY348" fmla="*/ 119522 h 1030680"/>
                <a:gd name="connsiteX349" fmla="*/ 2188953 w 2992697"/>
                <a:gd name="connsiteY349" fmla="*/ 114244 h 1030680"/>
                <a:gd name="connsiteX350" fmla="*/ 2195472 w 2992697"/>
                <a:gd name="connsiteY350" fmla="*/ 104620 h 1030680"/>
                <a:gd name="connsiteX351" fmla="*/ 2195472 w 2992697"/>
                <a:gd name="connsiteY351" fmla="*/ 104620 h 1030680"/>
                <a:gd name="connsiteX352" fmla="*/ 2195472 w 2992697"/>
                <a:gd name="connsiteY352" fmla="*/ 104620 h 1030680"/>
                <a:gd name="connsiteX353" fmla="*/ 798156 w 2992697"/>
                <a:gd name="connsiteY353" fmla="*/ 104620 h 1030680"/>
                <a:gd name="connsiteX354" fmla="*/ 812747 w 2992697"/>
                <a:gd name="connsiteY354" fmla="*/ 104620 h 1030680"/>
                <a:gd name="connsiteX355" fmla="*/ 815852 w 2992697"/>
                <a:gd name="connsiteY355" fmla="*/ 114244 h 1030680"/>
                <a:gd name="connsiteX356" fmla="*/ 819887 w 2992697"/>
                <a:gd name="connsiteY356" fmla="*/ 119522 h 1030680"/>
                <a:gd name="connsiteX357" fmla="*/ 822992 w 2992697"/>
                <a:gd name="connsiteY357" fmla="*/ 126972 h 1030680"/>
                <a:gd name="connsiteX358" fmla="*/ 825165 w 2992697"/>
                <a:gd name="connsiteY358" fmla="*/ 138459 h 1030680"/>
                <a:gd name="connsiteX359" fmla="*/ 822060 w 2992697"/>
                <a:gd name="connsiteY359" fmla="*/ 138459 h 1030680"/>
                <a:gd name="connsiteX360" fmla="*/ 810574 w 2992697"/>
                <a:gd name="connsiteY360" fmla="*/ 131008 h 1030680"/>
                <a:gd name="connsiteX361" fmla="*/ 803123 w 2992697"/>
                <a:gd name="connsiteY361" fmla="*/ 123557 h 1030680"/>
                <a:gd name="connsiteX362" fmla="*/ 797846 w 2992697"/>
                <a:gd name="connsiteY362" fmla="*/ 116107 h 1030680"/>
                <a:gd name="connsiteX363" fmla="*/ 797846 w 2992697"/>
                <a:gd name="connsiteY363" fmla="*/ 104620 h 1030680"/>
                <a:gd name="connsiteX364" fmla="*/ 798156 w 2992697"/>
                <a:gd name="connsiteY364" fmla="*/ 104620 h 1030680"/>
                <a:gd name="connsiteX365" fmla="*/ 798156 w 2992697"/>
                <a:gd name="connsiteY365" fmla="*/ 104620 h 1030680"/>
                <a:gd name="connsiteX366" fmla="*/ 2852997 w 2992697"/>
                <a:gd name="connsiteY366" fmla="*/ 81337 h 1030680"/>
                <a:gd name="connsiteX367" fmla="*/ 2856101 w 2992697"/>
                <a:gd name="connsiteY367" fmla="*/ 81337 h 1030680"/>
                <a:gd name="connsiteX368" fmla="*/ 2860137 w 2992697"/>
                <a:gd name="connsiteY368" fmla="*/ 83510 h 1030680"/>
                <a:gd name="connsiteX369" fmla="*/ 2861068 w 2992697"/>
                <a:gd name="connsiteY369" fmla="*/ 83510 h 1030680"/>
                <a:gd name="connsiteX370" fmla="*/ 2863241 w 2992697"/>
                <a:gd name="connsiteY370" fmla="*/ 83510 h 1030680"/>
                <a:gd name="connsiteX371" fmla="*/ 2865415 w 2992697"/>
                <a:gd name="connsiteY371" fmla="*/ 84441 h 1030680"/>
                <a:gd name="connsiteX372" fmla="*/ 2861379 w 2992697"/>
                <a:gd name="connsiteY372" fmla="*/ 88788 h 1030680"/>
                <a:gd name="connsiteX373" fmla="*/ 2858274 w 2992697"/>
                <a:gd name="connsiteY373" fmla="*/ 91892 h 1030680"/>
                <a:gd name="connsiteX374" fmla="*/ 2856101 w 2992697"/>
                <a:gd name="connsiteY374" fmla="*/ 97170 h 1030680"/>
                <a:gd name="connsiteX375" fmla="*/ 2853928 w 2992697"/>
                <a:gd name="connsiteY375" fmla="*/ 101516 h 1030680"/>
                <a:gd name="connsiteX376" fmla="*/ 2852997 w 2992697"/>
                <a:gd name="connsiteY376" fmla="*/ 108966 h 1030680"/>
                <a:gd name="connsiteX377" fmla="*/ 2856101 w 2992697"/>
                <a:gd name="connsiteY377" fmla="*/ 108966 h 1030680"/>
                <a:gd name="connsiteX378" fmla="*/ 2860137 w 2992697"/>
                <a:gd name="connsiteY378" fmla="*/ 103689 h 1030680"/>
                <a:gd name="connsiteX379" fmla="*/ 2863241 w 2992697"/>
                <a:gd name="connsiteY379" fmla="*/ 99343 h 1030680"/>
                <a:gd name="connsiteX380" fmla="*/ 2867277 w 2992697"/>
                <a:gd name="connsiteY380" fmla="*/ 96238 h 1030680"/>
                <a:gd name="connsiteX381" fmla="*/ 2872555 w 2992697"/>
                <a:gd name="connsiteY381" fmla="*/ 94065 h 1030680"/>
                <a:gd name="connsiteX382" fmla="*/ 2883110 w 2992697"/>
                <a:gd name="connsiteY382" fmla="*/ 104620 h 1030680"/>
                <a:gd name="connsiteX383" fmla="*/ 2896770 w 2992697"/>
                <a:gd name="connsiteY383" fmla="*/ 114244 h 1030680"/>
                <a:gd name="connsiteX384" fmla="*/ 2905151 w 2992697"/>
                <a:gd name="connsiteY384" fmla="*/ 121695 h 1030680"/>
                <a:gd name="connsiteX385" fmla="*/ 2905151 w 2992697"/>
                <a:gd name="connsiteY385" fmla="*/ 145910 h 1030680"/>
                <a:gd name="connsiteX386" fmla="*/ 2911360 w 2992697"/>
                <a:gd name="connsiteY386" fmla="*/ 151187 h 1030680"/>
                <a:gd name="connsiteX387" fmla="*/ 2916638 w 2992697"/>
                <a:gd name="connsiteY387" fmla="*/ 155533 h 1030680"/>
                <a:gd name="connsiteX388" fmla="*/ 2921916 w 2992697"/>
                <a:gd name="connsiteY388" fmla="*/ 156465 h 1030680"/>
                <a:gd name="connsiteX389" fmla="*/ 2925952 w 2992697"/>
                <a:gd name="connsiteY389" fmla="*/ 163915 h 1030680"/>
                <a:gd name="connsiteX390" fmla="*/ 2929056 w 2992697"/>
                <a:gd name="connsiteY390" fmla="*/ 178817 h 1030680"/>
                <a:gd name="connsiteX391" fmla="*/ 2921605 w 2992697"/>
                <a:gd name="connsiteY391" fmla="*/ 188441 h 1030680"/>
                <a:gd name="connsiteX392" fmla="*/ 2918501 w 2992697"/>
                <a:gd name="connsiteY392" fmla="*/ 198064 h 1030680"/>
                <a:gd name="connsiteX393" fmla="*/ 2911050 w 2992697"/>
                <a:gd name="connsiteY393" fmla="*/ 203342 h 1030680"/>
                <a:gd name="connsiteX394" fmla="*/ 2901737 w 2992697"/>
                <a:gd name="connsiteY394" fmla="*/ 205515 h 1030680"/>
                <a:gd name="connsiteX395" fmla="*/ 2884972 w 2992697"/>
                <a:gd name="connsiteY395" fmla="*/ 206446 h 1030680"/>
                <a:gd name="connsiteX396" fmla="*/ 2872555 w 2992697"/>
                <a:gd name="connsiteY396" fmla="*/ 195891 h 1030680"/>
                <a:gd name="connsiteX397" fmla="*/ 2853618 w 2992697"/>
                <a:gd name="connsiteY397" fmla="*/ 186267 h 1030680"/>
                <a:gd name="connsiteX398" fmla="*/ 2833749 w 2992697"/>
                <a:gd name="connsiteY398" fmla="*/ 180990 h 1030680"/>
                <a:gd name="connsiteX399" fmla="*/ 2813881 w 2992697"/>
                <a:gd name="connsiteY399" fmla="*/ 173539 h 1030680"/>
                <a:gd name="connsiteX400" fmla="*/ 2796185 w 2992697"/>
                <a:gd name="connsiteY400" fmla="*/ 166089 h 1030680"/>
                <a:gd name="connsiteX401" fmla="*/ 2784699 w 2992697"/>
                <a:gd name="connsiteY401" fmla="*/ 155533 h 1030680"/>
                <a:gd name="connsiteX402" fmla="*/ 2792149 w 2992697"/>
                <a:gd name="connsiteY402" fmla="*/ 151187 h 1030680"/>
                <a:gd name="connsiteX403" fmla="*/ 2797427 w 2992697"/>
                <a:gd name="connsiteY403" fmla="*/ 148083 h 1030680"/>
                <a:gd name="connsiteX404" fmla="*/ 2801463 w 2992697"/>
                <a:gd name="connsiteY404" fmla="*/ 143736 h 1030680"/>
                <a:gd name="connsiteX405" fmla="*/ 2803636 w 2992697"/>
                <a:gd name="connsiteY405" fmla="*/ 138459 h 1030680"/>
                <a:gd name="connsiteX406" fmla="*/ 2804567 w 2992697"/>
                <a:gd name="connsiteY406" fmla="*/ 128835 h 1030680"/>
                <a:gd name="connsiteX407" fmla="*/ 2803636 w 2992697"/>
                <a:gd name="connsiteY407" fmla="*/ 125731 h 1030680"/>
                <a:gd name="connsiteX408" fmla="*/ 2801463 w 2992697"/>
                <a:gd name="connsiteY408" fmla="*/ 119522 h 1030680"/>
                <a:gd name="connsiteX409" fmla="*/ 2801463 w 2992697"/>
                <a:gd name="connsiteY409" fmla="*/ 111760 h 1030680"/>
                <a:gd name="connsiteX410" fmla="*/ 2801463 w 2992697"/>
                <a:gd name="connsiteY410" fmla="*/ 104310 h 1030680"/>
                <a:gd name="connsiteX411" fmla="*/ 2801463 w 2992697"/>
                <a:gd name="connsiteY411" fmla="*/ 103378 h 1030680"/>
                <a:gd name="connsiteX412" fmla="*/ 2803636 w 2992697"/>
                <a:gd name="connsiteY412" fmla="*/ 103378 h 1030680"/>
                <a:gd name="connsiteX413" fmla="*/ 2803636 w 2992697"/>
                <a:gd name="connsiteY413" fmla="*/ 103378 h 1030680"/>
                <a:gd name="connsiteX414" fmla="*/ 2803636 w 2992697"/>
                <a:gd name="connsiteY414" fmla="*/ 103378 h 1030680"/>
                <a:gd name="connsiteX415" fmla="*/ 2803636 w 2992697"/>
                <a:gd name="connsiteY415" fmla="*/ 103378 h 1030680"/>
                <a:gd name="connsiteX416" fmla="*/ 2804567 w 2992697"/>
                <a:gd name="connsiteY416" fmla="*/ 101205 h 1030680"/>
                <a:gd name="connsiteX417" fmla="*/ 2821331 w 2992697"/>
                <a:gd name="connsiteY417" fmla="*/ 96859 h 1030680"/>
                <a:gd name="connsiteX418" fmla="*/ 2839027 w 2992697"/>
                <a:gd name="connsiteY418" fmla="*/ 88477 h 1030680"/>
                <a:gd name="connsiteX419" fmla="*/ 2852997 w 2992697"/>
                <a:gd name="connsiteY419" fmla="*/ 81337 h 1030680"/>
                <a:gd name="connsiteX420" fmla="*/ 2852997 w 2992697"/>
                <a:gd name="connsiteY420" fmla="*/ 81337 h 1030680"/>
                <a:gd name="connsiteX421" fmla="*/ 2852997 w 2992697"/>
                <a:gd name="connsiteY421" fmla="*/ 81337 h 1030680"/>
                <a:gd name="connsiteX422" fmla="*/ 2621404 w 2992697"/>
                <a:gd name="connsiteY422" fmla="*/ 76991 h 1030680"/>
                <a:gd name="connsiteX423" fmla="*/ 2631959 w 2992697"/>
                <a:gd name="connsiteY423" fmla="*/ 76991 h 1030680"/>
                <a:gd name="connsiteX424" fmla="*/ 2646550 w 2992697"/>
                <a:gd name="connsiteY424" fmla="*/ 91892 h 1030680"/>
                <a:gd name="connsiteX425" fmla="*/ 2665487 w 2992697"/>
                <a:gd name="connsiteY425" fmla="*/ 104620 h 1030680"/>
                <a:gd name="connsiteX426" fmla="*/ 2665487 w 2992697"/>
                <a:gd name="connsiteY426" fmla="*/ 108656 h 1030680"/>
                <a:gd name="connsiteX427" fmla="*/ 2661451 w 2992697"/>
                <a:gd name="connsiteY427" fmla="*/ 108656 h 1030680"/>
                <a:gd name="connsiteX428" fmla="*/ 2661451 w 2992697"/>
                <a:gd name="connsiteY428" fmla="*/ 113934 h 1030680"/>
                <a:gd name="connsiteX429" fmla="*/ 2643756 w 2992697"/>
                <a:gd name="connsiteY429" fmla="*/ 104310 h 1030680"/>
                <a:gd name="connsiteX430" fmla="*/ 2631338 w 2992697"/>
                <a:gd name="connsiteY430" fmla="*/ 91582 h 1030680"/>
                <a:gd name="connsiteX431" fmla="*/ 2621404 w 2992697"/>
                <a:gd name="connsiteY431" fmla="*/ 76991 h 1030680"/>
                <a:gd name="connsiteX432" fmla="*/ 2621404 w 2992697"/>
                <a:gd name="connsiteY432" fmla="*/ 76991 h 1030680"/>
                <a:gd name="connsiteX433" fmla="*/ 2621404 w 2992697"/>
                <a:gd name="connsiteY433" fmla="*/ 76991 h 1030680"/>
                <a:gd name="connsiteX434" fmla="*/ 2255078 w 2992697"/>
                <a:gd name="connsiteY434" fmla="*/ 71713 h 1030680"/>
                <a:gd name="connsiteX435" fmla="*/ 2269669 w 2992697"/>
                <a:gd name="connsiteY435" fmla="*/ 76059 h 1030680"/>
                <a:gd name="connsiteX436" fmla="*/ 2281155 w 2992697"/>
                <a:gd name="connsiteY436" fmla="*/ 79164 h 1030680"/>
                <a:gd name="connsiteX437" fmla="*/ 2291711 w 2992697"/>
                <a:gd name="connsiteY437" fmla="*/ 84441 h 1030680"/>
                <a:gd name="connsiteX438" fmla="*/ 2291711 w 2992697"/>
                <a:gd name="connsiteY438" fmla="*/ 94065 h 1030680"/>
                <a:gd name="connsiteX439" fmla="*/ 2282397 w 2992697"/>
                <a:gd name="connsiteY439" fmla="*/ 96238 h 1030680"/>
                <a:gd name="connsiteX440" fmla="*/ 2274015 w 2992697"/>
                <a:gd name="connsiteY440" fmla="*/ 99343 h 1030680"/>
                <a:gd name="connsiteX441" fmla="*/ 2260356 w 2992697"/>
                <a:gd name="connsiteY441" fmla="*/ 101516 h 1030680"/>
                <a:gd name="connsiteX442" fmla="*/ 2255078 w 2992697"/>
                <a:gd name="connsiteY442" fmla="*/ 103689 h 1030680"/>
                <a:gd name="connsiteX443" fmla="*/ 2251974 w 2992697"/>
                <a:gd name="connsiteY443" fmla="*/ 104620 h 1030680"/>
                <a:gd name="connsiteX444" fmla="*/ 2245765 w 2992697"/>
                <a:gd name="connsiteY444" fmla="*/ 104620 h 1030680"/>
                <a:gd name="connsiteX445" fmla="*/ 2240487 w 2992697"/>
                <a:gd name="connsiteY445" fmla="*/ 104620 h 1030680"/>
                <a:gd name="connsiteX446" fmla="*/ 2240487 w 2992697"/>
                <a:gd name="connsiteY446" fmla="*/ 94065 h 1030680"/>
                <a:gd name="connsiteX447" fmla="*/ 2244523 w 2992697"/>
                <a:gd name="connsiteY447" fmla="*/ 88788 h 1030680"/>
                <a:gd name="connsiteX448" fmla="*/ 2249800 w 2992697"/>
                <a:gd name="connsiteY448" fmla="*/ 81337 h 1030680"/>
                <a:gd name="connsiteX449" fmla="*/ 2255078 w 2992697"/>
                <a:gd name="connsiteY449" fmla="*/ 71713 h 1030680"/>
                <a:gd name="connsiteX450" fmla="*/ 2255078 w 2992697"/>
                <a:gd name="connsiteY450" fmla="*/ 71713 h 1030680"/>
                <a:gd name="connsiteX451" fmla="*/ 2255078 w 2992697"/>
                <a:gd name="connsiteY451" fmla="*/ 71713 h 1030680"/>
                <a:gd name="connsiteX452" fmla="*/ 1810520 w 2992697"/>
                <a:gd name="connsiteY452" fmla="*/ 61158 h 1030680"/>
                <a:gd name="connsiteX453" fmla="*/ 1810520 w 2992697"/>
                <a:gd name="connsiteY453" fmla="*/ 81337 h 1030680"/>
                <a:gd name="connsiteX454" fmla="*/ 1817970 w 2992697"/>
                <a:gd name="connsiteY454" fmla="*/ 81337 h 1030680"/>
                <a:gd name="connsiteX455" fmla="*/ 1822006 w 2992697"/>
                <a:gd name="connsiteY455" fmla="*/ 79164 h 1030680"/>
                <a:gd name="connsiteX456" fmla="*/ 1825111 w 2992697"/>
                <a:gd name="connsiteY456" fmla="*/ 79164 h 1030680"/>
                <a:gd name="connsiteX457" fmla="*/ 1829146 w 2992697"/>
                <a:gd name="connsiteY457" fmla="*/ 79164 h 1030680"/>
                <a:gd name="connsiteX458" fmla="*/ 1830078 w 2992697"/>
                <a:gd name="connsiteY458" fmla="*/ 79164 h 1030680"/>
                <a:gd name="connsiteX459" fmla="*/ 1834114 w 2992697"/>
                <a:gd name="connsiteY459" fmla="*/ 81337 h 1030680"/>
                <a:gd name="connsiteX460" fmla="*/ 1839391 w 2992697"/>
                <a:gd name="connsiteY460" fmla="*/ 84441 h 1030680"/>
                <a:gd name="connsiteX461" fmla="*/ 1839391 w 2992697"/>
                <a:gd name="connsiteY461" fmla="*/ 94065 h 1030680"/>
                <a:gd name="connsiteX462" fmla="*/ 1843427 w 2992697"/>
                <a:gd name="connsiteY462" fmla="*/ 96238 h 1030680"/>
                <a:gd name="connsiteX463" fmla="*/ 1848705 w 2992697"/>
                <a:gd name="connsiteY463" fmla="*/ 96238 h 1030680"/>
                <a:gd name="connsiteX464" fmla="*/ 1851809 w 2992697"/>
                <a:gd name="connsiteY464" fmla="*/ 94065 h 1030680"/>
                <a:gd name="connsiteX465" fmla="*/ 1858018 w 2992697"/>
                <a:gd name="connsiteY465" fmla="*/ 94065 h 1030680"/>
                <a:gd name="connsiteX466" fmla="*/ 1858949 w 2992697"/>
                <a:gd name="connsiteY466" fmla="*/ 91892 h 1030680"/>
                <a:gd name="connsiteX467" fmla="*/ 1862985 w 2992697"/>
                <a:gd name="connsiteY467" fmla="*/ 94065 h 1030680"/>
                <a:gd name="connsiteX468" fmla="*/ 1866090 w 2992697"/>
                <a:gd name="connsiteY468" fmla="*/ 97170 h 1030680"/>
                <a:gd name="connsiteX469" fmla="*/ 1870125 w 2992697"/>
                <a:gd name="connsiteY469" fmla="*/ 103378 h 1030680"/>
                <a:gd name="connsiteX470" fmla="*/ 1873230 w 2992697"/>
                <a:gd name="connsiteY470" fmla="*/ 108656 h 1030680"/>
                <a:gd name="connsiteX471" fmla="*/ 1867952 w 2992697"/>
                <a:gd name="connsiteY471" fmla="*/ 121384 h 1030680"/>
                <a:gd name="connsiteX472" fmla="*/ 1862675 w 2992697"/>
                <a:gd name="connsiteY472" fmla="*/ 134113 h 1030680"/>
                <a:gd name="connsiteX473" fmla="*/ 1858639 w 2992697"/>
                <a:gd name="connsiteY473" fmla="*/ 149014 h 1030680"/>
                <a:gd name="connsiteX474" fmla="*/ 1846221 w 2992697"/>
                <a:gd name="connsiteY474" fmla="*/ 149014 h 1030680"/>
                <a:gd name="connsiteX475" fmla="*/ 1836908 w 2992697"/>
                <a:gd name="connsiteY475" fmla="*/ 153360 h 1030680"/>
                <a:gd name="connsiteX476" fmla="*/ 1828526 w 2992697"/>
                <a:gd name="connsiteY476" fmla="*/ 158638 h 1030680"/>
                <a:gd name="connsiteX477" fmla="*/ 1813935 w 2992697"/>
                <a:gd name="connsiteY477" fmla="*/ 162984 h 1030680"/>
                <a:gd name="connsiteX478" fmla="*/ 1804621 w 2992697"/>
                <a:gd name="connsiteY478" fmla="*/ 155533 h 1030680"/>
                <a:gd name="connsiteX479" fmla="*/ 1792203 w 2992697"/>
                <a:gd name="connsiteY479" fmla="*/ 151187 h 1030680"/>
                <a:gd name="connsiteX480" fmla="*/ 1779786 w 2992697"/>
                <a:gd name="connsiteY480" fmla="*/ 145910 h 1030680"/>
                <a:gd name="connsiteX481" fmla="*/ 1777613 w 2992697"/>
                <a:gd name="connsiteY481" fmla="*/ 141563 h 1030680"/>
                <a:gd name="connsiteX482" fmla="*/ 1777613 w 2992697"/>
                <a:gd name="connsiteY482" fmla="*/ 138459 h 1030680"/>
                <a:gd name="connsiteX483" fmla="*/ 1775439 w 2992697"/>
                <a:gd name="connsiteY483" fmla="*/ 134113 h 1030680"/>
                <a:gd name="connsiteX484" fmla="*/ 1773266 w 2992697"/>
                <a:gd name="connsiteY484" fmla="*/ 128835 h 1030680"/>
                <a:gd name="connsiteX485" fmla="*/ 1767989 w 2992697"/>
                <a:gd name="connsiteY485" fmla="*/ 123557 h 1030680"/>
                <a:gd name="connsiteX486" fmla="*/ 1762711 w 2992697"/>
                <a:gd name="connsiteY486" fmla="*/ 118280 h 1030680"/>
                <a:gd name="connsiteX487" fmla="*/ 1758675 w 2992697"/>
                <a:gd name="connsiteY487" fmla="*/ 113934 h 1030680"/>
                <a:gd name="connsiteX488" fmla="*/ 1755571 w 2992697"/>
                <a:gd name="connsiteY488" fmla="*/ 106483 h 1030680"/>
                <a:gd name="connsiteX489" fmla="*/ 1753398 w 2992697"/>
                <a:gd name="connsiteY489" fmla="*/ 93755 h 1030680"/>
                <a:gd name="connsiteX490" fmla="*/ 1760848 w 2992697"/>
                <a:gd name="connsiteY490" fmla="*/ 84131 h 1030680"/>
                <a:gd name="connsiteX491" fmla="*/ 1766126 w 2992697"/>
                <a:gd name="connsiteY491" fmla="*/ 76680 h 1030680"/>
                <a:gd name="connsiteX492" fmla="*/ 1773577 w 2992697"/>
                <a:gd name="connsiteY492" fmla="*/ 76680 h 1030680"/>
                <a:gd name="connsiteX493" fmla="*/ 1779786 w 2992697"/>
                <a:gd name="connsiteY493" fmla="*/ 78853 h 1030680"/>
                <a:gd name="connsiteX494" fmla="*/ 1787236 w 2992697"/>
                <a:gd name="connsiteY494" fmla="*/ 81026 h 1030680"/>
                <a:gd name="connsiteX495" fmla="*/ 1794687 w 2992697"/>
                <a:gd name="connsiteY495" fmla="*/ 81026 h 1030680"/>
                <a:gd name="connsiteX496" fmla="*/ 1794687 w 2992697"/>
                <a:gd name="connsiteY496" fmla="*/ 68298 h 1030680"/>
                <a:gd name="connsiteX497" fmla="*/ 1797791 w 2992697"/>
                <a:gd name="connsiteY497" fmla="*/ 66125 h 1030680"/>
                <a:gd name="connsiteX498" fmla="*/ 1801827 w 2992697"/>
                <a:gd name="connsiteY498" fmla="*/ 63952 h 1030680"/>
                <a:gd name="connsiteX499" fmla="*/ 1802759 w 2992697"/>
                <a:gd name="connsiteY499" fmla="*/ 63952 h 1030680"/>
                <a:gd name="connsiteX500" fmla="*/ 1806794 w 2992697"/>
                <a:gd name="connsiteY500" fmla="*/ 61779 h 1030680"/>
                <a:gd name="connsiteX501" fmla="*/ 1810520 w 2992697"/>
                <a:gd name="connsiteY501" fmla="*/ 61158 h 1030680"/>
                <a:gd name="connsiteX502" fmla="*/ 1810520 w 2992697"/>
                <a:gd name="connsiteY502" fmla="*/ 61158 h 1030680"/>
                <a:gd name="connsiteX503" fmla="*/ 1810520 w 2992697"/>
                <a:gd name="connsiteY503" fmla="*/ 61158 h 1030680"/>
                <a:gd name="connsiteX504" fmla="*/ 2281155 w 2992697"/>
                <a:gd name="connsiteY504" fmla="*/ 47498 h 1030680"/>
                <a:gd name="connsiteX505" fmla="*/ 2295747 w 2992697"/>
                <a:gd name="connsiteY505" fmla="*/ 47498 h 1030680"/>
                <a:gd name="connsiteX506" fmla="*/ 2304129 w 2992697"/>
                <a:gd name="connsiteY506" fmla="*/ 57122 h 1030680"/>
                <a:gd name="connsiteX507" fmla="*/ 2313442 w 2992697"/>
                <a:gd name="connsiteY507" fmla="*/ 62400 h 1030680"/>
                <a:gd name="connsiteX508" fmla="*/ 2320893 w 2992697"/>
                <a:gd name="connsiteY508" fmla="*/ 69850 h 1030680"/>
                <a:gd name="connsiteX509" fmla="*/ 2328343 w 2992697"/>
                <a:gd name="connsiteY509" fmla="*/ 81337 h 1030680"/>
                <a:gd name="connsiteX510" fmla="*/ 2311579 w 2992697"/>
                <a:gd name="connsiteY510" fmla="*/ 81337 h 1030680"/>
                <a:gd name="connsiteX511" fmla="*/ 2301024 w 2992697"/>
                <a:gd name="connsiteY511" fmla="*/ 69850 h 1030680"/>
                <a:gd name="connsiteX512" fmla="*/ 2289538 w 2992697"/>
                <a:gd name="connsiteY512" fmla="*/ 61468 h 1030680"/>
                <a:gd name="connsiteX513" fmla="*/ 2281155 w 2992697"/>
                <a:gd name="connsiteY513" fmla="*/ 47498 h 1030680"/>
                <a:gd name="connsiteX514" fmla="*/ 2281155 w 2992697"/>
                <a:gd name="connsiteY514" fmla="*/ 47498 h 1030680"/>
                <a:gd name="connsiteX515" fmla="*/ 2281155 w 2992697"/>
                <a:gd name="connsiteY515" fmla="*/ 47498 h 1030680"/>
                <a:gd name="connsiteX516" fmla="*/ 439281 w 2992697"/>
                <a:gd name="connsiteY516" fmla="*/ 47498 h 1030680"/>
                <a:gd name="connsiteX517" fmla="*/ 451699 w 2992697"/>
                <a:gd name="connsiteY517" fmla="*/ 47498 h 1030680"/>
                <a:gd name="connsiteX518" fmla="*/ 456976 w 2992697"/>
                <a:gd name="connsiteY518" fmla="*/ 51844 h 1030680"/>
                <a:gd name="connsiteX519" fmla="*/ 461012 w 2992697"/>
                <a:gd name="connsiteY519" fmla="*/ 54949 h 1030680"/>
                <a:gd name="connsiteX520" fmla="*/ 463185 w 2992697"/>
                <a:gd name="connsiteY520" fmla="*/ 59295 h 1030680"/>
                <a:gd name="connsiteX521" fmla="*/ 466290 w 2992697"/>
                <a:gd name="connsiteY521" fmla="*/ 64573 h 1030680"/>
                <a:gd name="connsiteX522" fmla="*/ 468463 w 2992697"/>
                <a:gd name="connsiteY522" fmla="*/ 68919 h 1030680"/>
                <a:gd name="connsiteX523" fmla="*/ 477776 w 2992697"/>
                <a:gd name="connsiteY523" fmla="*/ 59295 h 1030680"/>
                <a:gd name="connsiteX524" fmla="*/ 488331 w 2992697"/>
                <a:gd name="connsiteY524" fmla="*/ 54949 h 1030680"/>
                <a:gd name="connsiteX525" fmla="*/ 505095 w 2992697"/>
                <a:gd name="connsiteY525" fmla="*/ 57122 h 1030680"/>
                <a:gd name="connsiteX526" fmla="*/ 505095 w 2992697"/>
                <a:gd name="connsiteY526" fmla="*/ 72023 h 1030680"/>
                <a:gd name="connsiteX527" fmla="*/ 528068 w 2992697"/>
                <a:gd name="connsiteY527" fmla="*/ 74197 h 1030680"/>
                <a:gd name="connsiteX528" fmla="*/ 548868 w 2992697"/>
                <a:gd name="connsiteY528" fmla="*/ 77301 h 1030680"/>
                <a:gd name="connsiteX529" fmla="*/ 566564 w 2992697"/>
                <a:gd name="connsiteY529" fmla="*/ 81647 h 1030680"/>
                <a:gd name="connsiteX530" fmla="*/ 586432 w 2992697"/>
                <a:gd name="connsiteY530" fmla="*/ 83820 h 1030680"/>
                <a:gd name="connsiteX531" fmla="*/ 608474 w 2992697"/>
                <a:gd name="connsiteY531" fmla="*/ 81647 h 1030680"/>
                <a:gd name="connsiteX532" fmla="*/ 608474 w 2992697"/>
                <a:gd name="connsiteY532" fmla="*/ 94376 h 1030680"/>
                <a:gd name="connsiteX533" fmla="*/ 612510 w 2992697"/>
                <a:gd name="connsiteY533" fmla="*/ 94376 h 1030680"/>
                <a:gd name="connsiteX534" fmla="*/ 615614 w 2992697"/>
                <a:gd name="connsiteY534" fmla="*/ 94376 h 1030680"/>
                <a:gd name="connsiteX535" fmla="*/ 617787 w 2992697"/>
                <a:gd name="connsiteY535" fmla="*/ 94376 h 1030680"/>
                <a:gd name="connsiteX536" fmla="*/ 619960 w 2992697"/>
                <a:gd name="connsiteY536" fmla="*/ 96549 h 1030680"/>
                <a:gd name="connsiteX537" fmla="*/ 622133 w 2992697"/>
                <a:gd name="connsiteY537" fmla="*/ 97480 h 1030680"/>
                <a:gd name="connsiteX538" fmla="*/ 618098 w 2992697"/>
                <a:gd name="connsiteY538" fmla="*/ 97480 h 1030680"/>
                <a:gd name="connsiteX539" fmla="*/ 601023 w 2992697"/>
                <a:gd name="connsiteY539" fmla="*/ 108656 h 1030680"/>
                <a:gd name="connsiteX540" fmla="*/ 581155 w 2992697"/>
                <a:gd name="connsiteY540" fmla="*/ 121384 h 1030680"/>
                <a:gd name="connsiteX541" fmla="*/ 557250 w 2992697"/>
                <a:gd name="connsiteY541" fmla="*/ 132871 h 1030680"/>
                <a:gd name="connsiteX542" fmla="*/ 535209 w 2992697"/>
                <a:gd name="connsiteY542" fmla="*/ 145599 h 1030680"/>
                <a:gd name="connsiteX543" fmla="*/ 519686 w 2992697"/>
                <a:gd name="connsiteY543" fmla="*/ 156154 h 1030680"/>
                <a:gd name="connsiteX544" fmla="*/ 508200 w 2992697"/>
                <a:gd name="connsiteY544" fmla="*/ 165778 h 1030680"/>
                <a:gd name="connsiteX545" fmla="*/ 524964 w 2992697"/>
                <a:gd name="connsiteY545" fmla="*/ 165778 h 1030680"/>
                <a:gd name="connsiteX546" fmla="*/ 530241 w 2992697"/>
                <a:gd name="connsiteY546" fmla="*/ 162674 h 1030680"/>
                <a:gd name="connsiteX547" fmla="*/ 535519 w 2992697"/>
                <a:gd name="connsiteY547" fmla="*/ 160500 h 1030680"/>
                <a:gd name="connsiteX548" fmla="*/ 541728 w 2992697"/>
                <a:gd name="connsiteY548" fmla="*/ 158327 h 1030680"/>
                <a:gd name="connsiteX549" fmla="*/ 549179 w 2992697"/>
                <a:gd name="connsiteY549" fmla="*/ 158327 h 1030680"/>
                <a:gd name="connsiteX550" fmla="*/ 549179 w 2992697"/>
                <a:gd name="connsiteY550" fmla="*/ 162674 h 1030680"/>
                <a:gd name="connsiteX551" fmla="*/ 527137 w 2992697"/>
                <a:gd name="connsiteY551" fmla="*/ 178506 h 1030680"/>
                <a:gd name="connsiteX552" fmla="*/ 508200 w 2992697"/>
                <a:gd name="connsiteY552" fmla="*/ 195270 h 1030680"/>
                <a:gd name="connsiteX553" fmla="*/ 492677 w 2992697"/>
                <a:gd name="connsiteY553" fmla="*/ 212034 h 1030680"/>
                <a:gd name="connsiteX554" fmla="*/ 473740 w 2992697"/>
                <a:gd name="connsiteY554" fmla="*/ 226936 h 1030680"/>
                <a:gd name="connsiteX555" fmla="*/ 453872 w 2992697"/>
                <a:gd name="connsiteY555" fmla="*/ 239664 h 1030680"/>
                <a:gd name="connsiteX556" fmla="*/ 427794 w 2992697"/>
                <a:gd name="connsiteY556" fmla="*/ 247115 h 1030680"/>
                <a:gd name="connsiteX557" fmla="*/ 427794 w 2992697"/>
                <a:gd name="connsiteY557" fmla="*/ 259843 h 1030680"/>
                <a:gd name="connsiteX558" fmla="*/ 415377 w 2992697"/>
                <a:gd name="connsiteY558" fmla="*/ 262016 h 1030680"/>
                <a:gd name="connsiteX559" fmla="*/ 400786 w 2992697"/>
                <a:gd name="connsiteY559" fmla="*/ 267294 h 1030680"/>
                <a:gd name="connsiteX560" fmla="*/ 392403 w 2992697"/>
                <a:gd name="connsiteY560" fmla="*/ 274745 h 1030680"/>
                <a:gd name="connsiteX561" fmla="*/ 397681 w 2992697"/>
                <a:gd name="connsiteY561" fmla="*/ 279091 h 1030680"/>
                <a:gd name="connsiteX562" fmla="*/ 400786 w 2992697"/>
                <a:gd name="connsiteY562" fmla="*/ 282195 h 1030680"/>
                <a:gd name="connsiteX563" fmla="*/ 402959 w 2992697"/>
                <a:gd name="connsiteY563" fmla="*/ 284368 h 1030680"/>
                <a:gd name="connsiteX564" fmla="*/ 402959 w 2992697"/>
                <a:gd name="connsiteY564" fmla="*/ 287473 h 1030680"/>
                <a:gd name="connsiteX565" fmla="*/ 402959 w 2992697"/>
                <a:gd name="connsiteY565" fmla="*/ 291819 h 1030680"/>
                <a:gd name="connsiteX566" fmla="*/ 400786 w 2992697"/>
                <a:gd name="connsiteY566" fmla="*/ 297097 h 1030680"/>
                <a:gd name="connsiteX567" fmla="*/ 400786 w 2992697"/>
                <a:gd name="connsiteY567" fmla="*/ 304547 h 1030680"/>
                <a:gd name="connsiteX568" fmla="*/ 361048 w 2992697"/>
                <a:gd name="connsiteY568" fmla="*/ 307652 h 1030680"/>
                <a:gd name="connsiteX569" fmla="*/ 361048 w 2992697"/>
                <a:gd name="connsiteY569" fmla="*/ 311998 h 1030680"/>
                <a:gd name="connsiteX570" fmla="*/ 366326 w 2992697"/>
                <a:gd name="connsiteY570" fmla="*/ 314171 h 1030680"/>
                <a:gd name="connsiteX571" fmla="*/ 368499 w 2992697"/>
                <a:gd name="connsiteY571" fmla="*/ 314171 h 1030680"/>
                <a:gd name="connsiteX572" fmla="*/ 371604 w 2992697"/>
                <a:gd name="connsiteY572" fmla="*/ 314171 h 1030680"/>
                <a:gd name="connsiteX573" fmla="*/ 371604 w 2992697"/>
                <a:gd name="connsiteY573" fmla="*/ 314171 h 1030680"/>
                <a:gd name="connsiteX574" fmla="*/ 373777 w 2992697"/>
                <a:gd name="connsiteY574" fmla="*/ 315103 h 1030680"/>
                <a:gd name="connsiteX575" fmla="*/ 373777 w 2992697"/>
                <a:gd name="connsiteY575" fmla="*/ 317276 h 1030680"/>
                <a:gd name="connsiteX576" fmla="*/ 377813 w 2992697"/>
                <a:gd name="connsiteY576" fmla="*/ 321622 h 1030680"/>
                <a:gd name="connsiteX577" fmla="*/ 371604 w 2992697"/>
                <a:gd name="connsiteY577" fmla="*/ 321622 h 1030680"/>
                <a:gd name="connsiteX578" fmla="*/ 363222 w 2992697"/>
                <a:gd name="connsiteY578" fmla="*/ 324726 h 1030680"/>
                <a:gd name="connsiteX579" fmla="*/ 351735 w 2992697"/>
                <a:gd name="connsiteY579" fmla="*/ 329073 h 1030680"/>
                <a:gd name="connsiteX580" fmla="*/ 341180 w 2992697"/>
                <a:gd name="connsiteY580" fmla="*/ 332177 h 1030680"/>
                <a:gd name="connsiteX581" fmla="*/ 344284 w 2992697"/>
                <a:gd name="connsiteY581" fmla="*/ 334350 h 1030680"/>
                <a:gd name="connsiteX582" fmla="*/ 346458 w 2992697"/>
                <a:gd name="connsiteY582" fmla="*/ 334350 h 1030680"/>
                <a:gd name="connsiteX583" fmla="*/ 348631 w 2992697"/>
                <a:gd name="connsiteY583" fmla="*/ 334350 h 1030680"/>
                <a:gd name="connsiteX584" fmla="*/ 349562 w 2992697"/>
                <a:gd name="connsiteY584" fmla="*/ 336523 h 1030680"/>
                <a:gd name="connsiteX585" fmla="*/ 351735 w 2992697"/>
                <a:gd name="connsiteY585" fmla="*/ 336523 h 1030680"/>
                <a:gd name="connsiteX586" fmla="*/ 349562 w 2992697"/>
                <a:gd name="connsiteY586" fmla="*/ 339628 h 1030680"/>
                <a:gd name="connsiteX587" fmla="*/ 348631 w 2992697"/>
                <a:gd name="connsiteY587" fmla="*/ 343974 h 1030680"/>
                <a:gd name="connsiteX588" fmla="*/ 346458 w 2992697"/>
                <a:gd name="connsiteY588" fmla="*/ 344905 h 1030680"/>
                <a:gd name="connsiteX589" fmla="*/ 348631 w 2992697"/>
                <a:gd name="connsiteY589" fmla="*/ 347078 h 1030680"/>
                <a:gd name="connsiteX590" fmla="*/ 348631 w 2992697"/>
                <a:gd name="connsiteY590" fmla="*/ 349252 h 1030680"/>
                <a:gd name="connsiteX591" fmla="*/ 349562 w 2992697"/>
                <a:gd name="connsiteY591" fmla="*/ 352356 h 1030680"/>
                <a:gd name="connsiteX592" fmla="*/ 351735 w 2992697"/>
                <a:gd name="connsiteY592" fmla="*/ 356702 h 1030680"/>
                <a:gd name="connsiteX593" fmla="*/ 344284 w 2992697"/>
                <a:gd name="connsiteY593" fmla="*/ 358875 h 1030680"/>
                <a:gd name="connsiteX594" fmla="*/ 339007 w 2992697"/>
                <a:gd name="connsiteY594" fmla="*/ 358875 h 1030680"/>
                <a:gd name="connsiteX595" fmla="*/ 333729 w 2992697"/>
                <a:gd name="connsiteY595" fmla="*/ 358875 h 1030680"/>
                <a:gd name="connsiteX596" fmla="*/ 327520 w 2992697"/>
                <a:gd name="connsiteY596" fmla="*/ 361980 h 1030680"/>
                <a:gd name="connsiteX597" fmla="*/ 346458 w 2992697"/>
                <a:gd name="connsiteY597" fmla="*/ 361980 h 1030680"/>
                <a:gd name="connsiteX598" fmla="*/ 361048 w 2992697"/>
                <a:gd name="connsiteY598" fmla="*/ 366326 h 1030680"/>
                <a:gd name="connsiteX599" fmla="*/ 361048 w 2992697"/>
                <a:gd name="connsiteY599" fmla="*/ 373777 h 1030680"/>
                <a:gd name="connsiteX600" fmla="*/ 337144 w 2992697"/>
                <a:gd name="connsiteY600" fmla="*/ 373777 h 1030680"/>
                <a:gd name="connsiteX601" fmla="*/ 334971 w 2992697"/>
                <a:gd name="connsiteY601" fmla="*/ 379054 h 1030680"/>
                <a:gd name="connsiteX602" fmla="*/ 334971 w 2992697"/>
                <a:gd name="connsiteY602" fmla="*/ 381227 h 1030680"/>
                <a:gd name="connsiteX603" fmla="*/ 334971 w 2992697"/>
                <a:gd name="connsiteY603" fmla="*/ 382159 h 1030680"/>
                <a:gd name="connsiteX604" fmla="*/ 334040 w 2992697"/>
                <a:gd name="connsiteY604" fmla="*/ 384332 h 1030680"/>
                <a:gd name="connsiteX605" fmla="*/ 331867 w 2992697"/>
                <a:gd name="connsiteY605" fmla="*/ 386505 h 1030680"/>
                <a:gd name="connsiteX606" fmla="*/ 322553 w 2992697"/>
                <a:gd name="connsiteY606" fmla="*/ 389609 h 1030680"/>
                <a:gd name="connsiteX607" fmla="*/ 310135 w 2992697"/>
                <a:gd name="connsiteY607" fmla="*/ 389609 h 1030680"/>
                <a:gd name="connsiteX608" fmla="*/ 297717 w 2992697"/>
                <a:gd name="connsiteY608" fmla="*/ 389609 h 1030680"/>
                <a:gd name="connsiteX609" fmla="*/ 285300 w 2992697"/>
                <a:gd name="connsiteY609" fmla="*/ 382159 h 1030680"/>
                <a:gd name="connsiteX610" fmla="*/ 268536 w 2992697"/>
                <a:gd name="connsiteY610" fmla="*/ 382159 h 1030680"/>
                <a:gd name="connsiteX611" fmla="*/ 251772 w 2992697"/>
                <a:gd name="connsiteY611" fmla="*/ 384332 h 1030680"/>
                <a:gd name="connsiteX612" fmla="*/ 234076 w 2992697"/>
                <a:gd name="connsiteY612" fmla="*/ 386505 h 1030680"/>
                <a:gd name="connsiteX613" fmla="*/ 217312 w 2992697"/>
                <a:gd name="connsiteY613" fmla="*/ 384332 h 1030680"/>
                <a:gd name="connsiteX614" fmla="*/ 200548 w 2992697"/>
                <a:gd name="connsiteY614" fmla="*/ 379054 h 1030680"/>
                <a:gd name="connsiteX615" fmla="*/ 199617 w 2992697"/>
                <a:gd name="connsiteY615" fmla="*/ 376881 h 1030680"/>
                <a:gd name="connsiteX616" fmla="*/ 199617 w 2992697"/>
                <a:gd name="connsiteY616" fmla="*/ 374708 h 1030680"/>
                <a:gd name="connsiteX617" fmla="*/ 197444 w 2992697"/>
                <a:gd name="connsiteY617" fmla="*/ 374708 h 1030680"/>
                <a:gd name="connsiteX618" fmla="*/ 197444 w 2992697"/>
                <a:gd name="connsiteY618" fmla="*/ 372535 h 1030680"/>
                <a:gd name="connsiteX619" fmla="*/ 197444 w 2992697"/>
                <a:gd name="connsiteY619" fmla="*/ 368189 h 1030680"/>
                <a:gd name="connsiteX620" fmla="*/ 200548 w 2992697"/>
                <a:gd name="connsiteY620" fmla="*/ 368189 h 1030680"/>
                <a:gd name="connsiteX621" fmla="*/ 202721 w 2992697"/>
                <a:gd name="connsiteY621" fmla="*/ 365084 h 1030680"/>
                <a:gd name="connsiteX622" fmla="*/ 206757 w 2992697"/>
                <a:gd name="connsiteY622" fmla="*/ 360738 h 1030680"/>
                <a:gd name="connsiteX623" fmla="*/ 207688 w 2992697"/>
                <a:gd name="connsiteY623" fmla="*/ 358565 h 1030680"/>
                <a:gd name="connsiteX624" fmla="*/ 211724 w 2992697"/>
                <a:gd name="connsiteY624" fmla="*/ 357634 h 1030680"/>
                <a:gd name="connsiteX625" fmla="*/ 213897 w 2992697"/>
                <a:gd name="connsiteY625" fmla="*/ 353287 h 1030680"/>
                <a:gd name="connsiteX626" fmla="*/ 217002 w 2992697"/>
                <a:gd name="connsiteY626" fmla="*/ 348010 h 1030680"/>
                <a:gd name="connsiteX627" fmla="*/ 209551 w 2992697"/>
                <a:gd name="connsiteY627" fmla="*/ 345837 h 1030680"/>
                <a:gd name="connsiteX628" fmla="*/ 204273 w 2992697"/>
                <a:gd name="connsiteY628" fmla="*/ 342732 h 1030680"/>
                <a:gd name="connsiteX629" fmla="*/ 200238 w 2992697"/>
                <a:gd name="connsiteY629" fmla="*/ 336523 h 1030680"/>
                <a:gd name="connsiteX630" fmla="*/ 199306 w 2992697"/>
                <a:gd name="connsiteY630" fmla="*/ 331246 h 1030680"/>
                <a:gd name="connsiteX631" fmla="*/ 197133 w 2992697"/>
                <a:gd name="connsiteY631" fmla="*/ 323795 h 1030680"/>
                <a:gd name="connsiteX632" fmla="*/ 204584 w 2992697"/>
                <a:gd name="connsiteY632" fmla="*/ 323795 h 1030680"/>
                <a:gd name="connsiteX633" fmla="*/ 217002 w 2992697"/>
                <a:gd name="connsiteY633" fmla="*/ 320691 h 1030680"/>
                <a:gd name="connsiteX634" fmla="*/ 231593 w 2992697"/>
                <a:gd name="connsiteY634" fmla="*/ 323795 h 1030680"/>
                <a:gd name="connsiteX635" fmla="*/ 244010 w 2992697"/>
                <a:gd name="connsiteY635" fmla="*/ 329073 h 1030680"/>
                <a:gd name="connsiteX636" fmla="*/ 256428 w 2992697"/>
                <a:gd name="connsiteY636" fmla="*/ 335281 h 1030680"/>
                <a:gd name="connsiteX637" fmla="*/ 256428 w 2992697"/>
                <a:gd name="connsiteY637" fmla="*/ 327831 h 1030680"/>
                <a:gd name="connsiteX638" fmla="*/ 244010 w 2992697"/>
                <a:gd name="connsiteY638" fmla="*/ 321622 h 1030680"/>
                <a:gd name="connsiteX639" fmla="*/ 233455 w 2992697"/>
                <a:gd name="connsiteY639" fmla="*/ 316344 h 1030680"/>
                <a:gd name="connsiteX640" fmla="*/ 224142 w 2992697"/>
                <a:gd name="connsiteY640" fmla="*/ 306720 h 1030680"/>
                <a:gd name="connsiteX641" fmla="*/ 227246 w 2992697"/>
                <a:gd name="connsiteY641" fmla="*/ 306720 h 1030680"/>
                <a:gd name="connsiteX642" fmla="*/ 236560 w 2992697"/>
                <a:gd name="connsiteY642" fmla="*/ 293061 h 1030680"/>
                <a:gd name="connsiteX643" fmla="*/ 248046 w 2992697"/>
                <a:gd name="connsiteY643" fmla="*/ 283437 h 1030680"/>
                <a:gd name="connsiteX644" fmla="*/ 262637 w 2992697"/>
                <a:gd name="connsiteY644" fmla="*/ 275986 h 1030680"/>
                <a:gd name="connsiteX645" fmla="*/ 280333 w 2992697"/>
                <a:gd name="connsiteY645" fmla="*/ 270709 h 1030680"/>
                <a:gd name="connsiteX646" fmla="*/ 280333 w 2992697"/>
                <a:gd name="connsiteY646" fmla="*/ 266983 h 1030680"/>
                <a:gd name="connsiteX647" fmla="*/ 263568 w 2992697"/>
                <a:gd name="connsiteY647" fmla="*/ 261706 h 1030680"/>
                <a:gd name="connsiteX648" fmla="*/ 251151 w 2992697"/>
                <a:gd name="connsiteY648" fmla="*/ 252082 h 1030680"/>
                <a:gd name="connsiteX649" fmla="*/ 240595 w 2992697"/>
                <a:gd name="connsiteY649" fmla="*/ 239354 h 1030680"/>
                <a:gd name="connsiteX650" fmla="*/ 231282 w 2992697"/>
                <a:gd name="connsiteY650" fmla="*/ 226625 h 1030680"/>
                <a:gd name="connsiteX651" fmla="*/ 236560 w 2992697"/>
                <a:gd name="connsiteY651" fmla="*/ 224452 h 1030680"/>
                <a:gd name="connsiteX652" fmla="*/ 240595 w 2992697"/>
                <a:gd name="connsiteY652" fmla="*/ 224452 h 1030680"/>
                <a:gd name="connsiteX653" fmla="*/ 245873 w 2992697"/>
                <a:gd name="connsiteY653" fmla="*/ 222279 h 1030680"/>
                <a:gd name="connsiteX654" fmla="*/ 251151 w 2992697"/>
                <a:gd name="connsiteY654" fmla="*/ 222279 h 1030680"/>
                <a:gd name="connsiteX655" fmla="*/ 258601 w 2992697"/>
                <a:gd name="connsiteY655" fmla="*/ 227557 h 1030680"/>
                <a:gd name="connsiteX656" fmla="*/ 263879 w 2992697"/>
                <a:gd name="connsiteY656" fmla="*/ 233766 h 1030680"/>
                <a:gd name="connsiteX657" fmla="*/ 271330 w 2992697"/>
                <a:gd name="connsiteY657" fmla="*/ 239043 h 1030680"/>
                <a:gd name="connsiteX658" fmla="*/ 271330 w 2992697"/>
                <a:gd name="connsiteY658" fmla="*/ 234697 h 1030680"/>
                <a:gd name="connsiteX659" fmla="*/ 270398 w 2992697"/>
                <a:gd name="connsiteY659" fmla="*/ 231593 h 1030680"/>
                <a:gd name="connsiteX660" fmla="*/ 268225 w 2992697"/>
                <a:gd name="connsiteY660" fmla="*/ 231593 h 1030680"/>
                <a:gd name="connsiteX661" fmla="*/ 268225 w 2992697"/>
                <a:gd name="connsiteY661" fmla="*/ 229419 h 1030680"/>
                <a:gd name="connsiteX662" fmla="*/ 266052 w 2992697"/>
                <a:gd name="connsiteY662" fmla="*/ 227246 h 1030680"/>
                <a:gd name="connsiteX663" fmla="*/ 266052 w 2992697"/>
                <a:gd name="connsiteY663" fmla="*/ 226315 h 1030680"/>
                <a:gd name="connsiteX664" fmla="*/ 263879 w 2992697"/>
                <a:gd name="connsiteY664" fmla="*/ 221969 h 1030680"/>
                <a:gd name="connsiteX665" fmla="*/ 267915 w 2992697"/>
                <a:gd name="connsiteY665" fmla="*/ 221969 h 1030680"/>
                <a:gd name="connsiteX666" fmla="*/ 267915 w 2992697"/>
                <a:gd name="connsiteY666" fmla="*/ 218864 h 1030680"/>
                <a:gd name="connsiteX667" fmla="*/ 284679 w 2992697"/>
                <a:gd name="connsiteY667" fmla="*/ 212655 h 1030680"/>
                <a:gd name="connsiteX668" fmla="*/ 300201 w 2992697"/>
                <a:gd name="connsiteY668" fmla="*/ 209551 h 1030680"/>
                <a:gd name="connsiteX669" fmla="*/ 316965 w 2992697"/>
                <a:gd name="connsiteY669" fmla="*/ 207378 h 1030680"/>
                <a:gd name="connsiteX670" fmla="*/ 336834 w 2992697"/>
                <a:gd name="connsiteY670" fmla="*/ 209551 h 1030680"/>
                <a:gd name="connsiteX671" fmla="*/ 327520 w 2992697"/>
                <a:gd name="connsiteY671" fmla="*/ 198064 h 1030680"/>
                <a:gd name="connsiteX672" fmla="*/ 339007 w 2992697"/>
                <a:gd name="connsiteY672" fmla="*/ 194960 h 1030680"/>
                <a:gd name="connsiteX673" fmla="*/ 351425 w 2992697"/>
                <a:gd name="connsiteY673" fmla="*/ 189682 h 1030680"/>
                <a:gd name="connsiteX674" fmla="*/ 363842 w 2992697"/>
                <a:gd name="connsiteY674" fmla="*/ 184405 h 1030680"/>
                <a:gd name="connsiteX675" fmla="*/ 371293 w 2992697"/>
                <a:gd name="connsiteY675" fmla="*/ 178196 h 1030680"/>
                <a:gd name="connsiteX676" fmla="*/ 377502 w 2992697"/>
                <a:gd name="connsiteY676" fmla="*/ 178196 h 1030680"/>
                <a:gd name="connsiteX677" fmla="*/ 377502 w 2992697"/>
                <a:gd name="connsiteY677" fmla="*/ 175091 h 1030680"/>
                <a:gd name="connsiteX678" fmla="*/ 368189 w 2992697"/>
                <a:gd name="connsiteY678" fmla="*/ 175091 h 1030680"/>
                <a:gd name="connsiteX679" fmla="*/ 364153 w 2992697"/>
                <a:gd name="connsiteY679" fmla="*/ 177265 h 1030680"/>
                <a:gd name="connsiteX680" fmla="*/ 361048 w 2992697"/>
                <a:gd name="connsiteY680" fmla="*/ 178196 h 1030680"/>
                <a:gd name="connsiteX681" fmla="*/ 358875 w 2992697"/>
                <a:gd name="connsiteY681" fmla="*/ 178196 h 1030680"/>
                <a:gd name="connsiteX682" fmla="*/ 356702 w 2992697"/>
                <a:gd name="connsiteY682" fmla="*/ 178196 h 1030680"/>
                <a:gd name="connsiteX683" fmla="*/ 355771 w 2992697"/>
                <a:gd name="connsiteY683" fmla="*/ 178196 h 1030680"/>
                <a:gd name="connsiteX684" fmla="*/ 353598 w 2992697"/>
                <a:gd name="connsiteY684" fmla="*/ 177265 h 1030680"/>
                <a:gd name="connsiteX685" fmla="*/ 351425 w 2992697"/>
                <a:gd name="connsiteY685" fmla="*/ 175091 h 1030680"/>
                <a:gd name="connsiteX686" fmla="*/ 348320 w 2992697"/>
                <a:gd name="connsiteY686" fmla="*/ 175091 h 1030680"/>
                <a:gd name="connsiteX687" fmla="*/ 344284 w 2992697"/>
                <a:gd name="connsiteY687" fmla="*/ 178196 h 1030680"/>
                <a:gd name="connsiteX688" fmla="*/ 339007 w 2992697"/>
                <a:gd name="connsiteY688" fmla="*/ 184405 h 1030680"/>
                <a:gd name="connsiteX689" fmla="*/ 333729 w 2992697"/>
                <a:gd name="connsiteY689" fmla="*/ 189682 h 1030680"/>
                <a:gd name="connsiteX690" fmla="*/ 329693 w 2992697"/>
                <a:gd name="connsiteY690" fmla="*/ 194960 h 1030680"/>
                <a:gd name="connsiteX691" fmla="*/ 324416 w 2992697"/>
                <a:gd name="connsiteY691" fmla="*/ 198064 h 1030680"/>
                <a:gd name="connsiteX692" fmla="*/ 304547 w 2992697"/>
                <a:gd name="connsiteY692" fmla="*/ 204273 h 1030680"/>
                <a:gd name="connsiteX693" fmla="*/ 285610 w 2992697"/>
                <a:gd name="connsiteY693" fmla="*/ 204273 h 1030680"/>
                <a:gd name="connsiteX694" fmla="*/ 267915 w 2992697"/>
                <a:gd name="connsiteY694" fmla="*/ 199927 h 1030680"/>
                <a:gd name="connsiteX695" fmla="*/ 251151 w 2992697"/>
                <a:gd name="connsiteY695" fmla="*/ 192476 h 1030680"/>
                <a:gd name="connsiteX696" fmla="*/ 248978 w 2992697"/>
                <a:gd name="connsiteY696" fmla="*/ 192476 h 1030680"/>
                <a:gd name="connsiteX697" fmla="*/ 245873 w 2992697"/>
                <a:gd name="connsiteY697" fmla="*/ 194650 h 1030680"/>
                <a:gd name="connsiteX698" fmla="*/ 240595 w 2992697"/>
                <a:gd name="connsiteY698" fmla="*/ 196823 h 1030680"/>
                <a:gd name="connsiteX699" fmla="*/ 236560 w 2992697"/>
                <a:gd name="connsiteY699" fmla="*/ 197754 h 1030680"/>
                <a:gd name="connsiteX700" fmla="*/ 233455 w 2992697"/>
                <a:gd name="connsiteY700" fmla="*/ 199927 h 1030680"/>
                <a:gd name="connsiteX701" fmla="*/ 227246 w 2992697"/>
                <a:gd name="connsiteY701" fmla="*/ 202100 h 1030680"/>
                <a:gd name="connsiteX702" fmla="*/ 224142 w 2992697"/>
                <a:gd name="connsiteY702" fmla="*/ 192476 h 1030680"/>
                <a:gd name="connsiteX703" fmla="*/ 227246 w 2992697"/>
                <a:gd name="connsiteY703" fmla="*/ 191545 h 1030680"/>
                <a:gd name="connsiteX704" fmla="*/ 227246 w 2992697"/>
                <a:gd name="connsiteY704" fmla="*/ 191545 h 1030680"/>
                <a:gd name="connsiteX705" fmla="*/ 229419 w 2992697"/>
                <a:gd name="connsiteY705" fmla="*/ 189372 h 1030680"/>
                <a:gd name="connsiteX706" fmla="*/ 231593 w 2992697"/>
                <a:gd name="connsiteY706" fmla="*/ 185026 h 1030680"/>
                <a:gd name="connsiteX707" fmla="*/ 221037 w 2992697"/>
                <a:gd name="connsiteY707" fmla="*/ 185026 h 1030680"/>
                <a:gd name="connsiteX708" fmla="*/ 217002 w 2992697"/>
                <a:gd name="connsiteY708" fmla="*/ 187199 h 1030680"/>
                <a:gd name="connsiteX709" fmla="*/ 211724 w 2992697"/>
                <a:gd name="connsiteY709" fmla="*/ 189372 h 1030680"/>
                <a:gd name="connsiteX710" fmla="*/ 206446 w 2992697"/>
                <a:gd name="connsiteY710" fmla="*/ 189372 h 1030680"/>
                <a:gd name="connsiteX711" fmla="*/ 200238 w 2992697"/>
                <a:gd name="connsiteY711" fmla="*/ 189372 h 1030680"/>
                <a:gd name="connsiteX712" fmla="*/ 197133 w 2992697"/>
                <a:gd name="connsiteY712" fmla="*/ 177885 h 1030680"/>
                <a:gd name="connsiteX713" fmla="*/ 200238 w 2992697"/>
                <a:gd name="connsiteY713" fmla="*/ 176954 h 1030680"/>
                <a:gd name="connsiteX714" fmla="*/ 202411 w 2992697"/>
                <a:gd name="connsiteY714" fmla="*/ 176954 h 1030680"/>
                <a:gd name="connsiteX715" fmla="*/ 204584 w 2992697"/>
                <a:gd name="connsiteY715" fmla="*/ 176954 h 1030680"/>
                <a:gd name="connsiteX716" fmla="*/ 206757 w 2992697"/>
                <a:gd name="connsiteY716" fmla="*/ 174781 h 1030680"/>
                <a:gd name="connsiteX717" fmla="*/ 207688 w 2992697"/>
                <a:gd name="connsiteY717" fmla="*/ 174781 h 1030680"/>
                <a:gd name="connsiteX718" fmla="*/ 184715 w 2992697"/>
                <a:gd name="connsiteY718" fmla="*/ 177885 h 1030680"/>
                <a:gd name="connsiteX719" fmla="*/ 182542 w 2992697"/>
                <a:gd name="connsiteY719" fmla="*/ 172608 h 1030680"/>
                <a:gd name="connsiteX720" fmla="*/ 178506 w 2992697"/>
                <a:gd name="connsiteY720" fmla="*/ 169503 h 1030680"/>
                <a:gd name="connsiteX721" fmla="*/ 177575 w 2992697"/>
                <a:gd name="connsiteY721" fmla="*/ 167330 h 1030680"/>
                <a:gd name="connsiteX722" fmla="*/ 175402 w 2992697"/>
                <a:gd name="connsiteY722" fmla="*/ 162984 h 1030680"/>
                <a:gd name="connsiteX723" fmla="*/ 171366 w 2992697"/>
                <a:gd name="connsiteY723" fmla="*/ 157706 h 1030680"/>
                <a:gd name="connsiteX724" fmla="*/ 177575 w 2992697"/>
                <a:gd name="connsiteY724" fmla="*/ 155533 h 1030680"/>
                <a:gd name="connsiteX725" fmla="*/ 180679 w 2992697"/>
                <a:gd name="connsiteY725" fmla="*/ 155533 h 1030680"/>
                <a:gd name="connsiteX726" fmla="*/ 182853 w 2992697"/>
                <a:gd name="connsiteY726" fmla="*/ 155533 h 1030680"/>
                <a:gd name="connsiteX727" fmla="*/ 185026 w 2992697"/>
                <a:gd name="connsiteY727" fmla="*/ 155533 h 1030680"/>
                <a:gd name="connsiteX728" fmla="*/ 185026 w 2992697"/>
                <a:gd name="connsiteY728" fmla="*/ 155223 h 1030680"/>
                <a:gd name="connsiteX729" fmla="*/ 185957 w 2992697"/>
                <a:gd name="connsiteY729" fmla="*/ 153050 h 1030680"/>
                <a:gd name="connsiteX730" fmla="*/ 188130 w 2992697"/>
                <a:gd name="connsiteY730" fmla="*/ 148704 h 1030680"/>
                <a:gd name="connsiteX731" fmla="*/ 180679 w 2992697"/>
                <a:gd name="connsiteY731" fmla="*/ 147772 h 1030680"/>
                <a:gd name="connsiteX732" fmla="*/ 173229 w 2992697"/>
                <a:gd name="connsiteY732" fmla="*/ 145599 h 1030680"/>
                <a:gd name="connsiteX733" fmla="*/ 170124 w 2992697"/>
                <a:gd name="connsiteY733" fmla="*/ 141253 h 1030680"/>
                <a:gd name="connsiteX734" fmla="*/ 163915 w 2992697"/>
                <a:gd name="connsiteY734" fmla="*/ 138148 h 1030680"/>
                <a:gd name="connsiteX735" fmla="*/ 167951 w 2992697"/>
                <a:gd name="connsiteY735" fmla="*/ 138148 h 1030680"/>
                <a:gd name="connsiteX736" fmla="*/ 167951 w 2992697"/>
                <a:gd name="connsiteY736" fmla="*/ 132871 h 1030680"/>
                <a:gd name="connsiteX737" fmla="*/ 185647 w 2992697"/>
                <a:gd name="connsiteY737" fmla="*/ 135975 h 1030680"/>
                <a:gd name="connsiteX738" fmla="*/ 194960 w 2992697"/>
                <a:gd name="connsiteY738" fmla="*/ 133802 h 1030680"/>
                <a:gd name="connsiteX739" fmla="*/ 202411 w 2992697"/>
                <a:gd name="connsiteY739" fmla="*/ 130698 h 1030680"/>
                <a:gd name="connsiteX740" fmla="*/ 206446 w 2992697"/>
                <a:gd name="connsiteY740" fmla="*/ 125420 h 1030680"/>
                <a:gd name="connsiteX741" fmla="*/ 211724 w 2992697"/>
                <a:gd name="connsiteY741" fmla="*/ 117969 h 1030680"/>
                <a:gd name="connsiteX742" fmla="*/ 221037 w 2992697"/>
                <a:gd name="connsiteY742" fmla="*/ 113623 h 1030680"/>
                <a:gd name="connsiteX743" fmla="*/ 231593 w 2992697"/>
                <a:gd name="connsiteY743" fmla="*/ 110519 h 1030680"/>
                <a:gd name="connsiteX744" fmla="*/ 239043 w 2992697"/>
                <a:gd name="connsiteY744" fmla="*/ 113623 h 1030680"/>
                <a:gd name="connsiteX745" fmla="*/ 248357 w 2992697"/>
                <a:gd name="connsiteY745" fmla="*/ 117969 h 1030680"/>
                <a:gd name="connsiteX746" fmla="*/ 255807 w 2992697"/>
                <a:gd name="connsiteY746" fmla="*/ 118901 h 1030680"/>
                <a:gd name="connsiteX747" fmla="*/ 264189 w 2992697"/>
                <a:gd name="connsiteY747" fmla="*/ 117969 h 1030680"/>
                <a:gd name="connsiteX748" fmla="*/ 261085 w 2992697"/>
                <a:gd name="connsiteY748" fmla="*/ 115796 h 1030680"/>
                <a:gd name="connsiteX749" fmla="*/ 257049 w 2992697"/>
                <a:gd name="connsiteY749" fmla="*/ 113623 h 1030680"/>
                <a:gd name="connsiteX750" fmla="*/ 256118 w 2992697"/>
                <a:gd name="connsiteY750" fmla="*/ 113623 h 1030680"/>
                <a:gd name="connsiteX751" fmla="*/ 256118 w 2992697"/>
                <a:gd name="connsiteY751" fmla="*/ 111760 h 1030680"/>
                <a:gd name="connsiteX752" fmla="*/ 253945 w 2992697"/>
                <a:gd name="connsiteY752" fmla="*/ 110829 h 1030680"/>
                <a:gd name="connsiteX753" fmla="*/ 253945 w 2992697"/>
                <a:gd name="connsiteY753" fmla="*/ 106483 h 1030680"/>
                <a:gd name="connsiteX754" fmla="*/ 251772 w 2992697"/>
                <a:gd name="connsiteY754" fmla="*/ 101205 h 1030680"/>
                <a:gd name="connsiteX755" fmla="*/ 257049 w 2992697"/>
                <a:gd name="connsiteY755" fmla="*/ 99032 h 1030680"/>
                <a:gd name="connsiteX756" fmla="*/ 261085 w 2992697"/>
                <a:gd name="connsiteY756" fmla="*/ 96859 h 1030680"/>
                <a:gd name="connsiteX757" fmla="*/ 264189 w 2992697"/>
                <a:gd name="connsiteY757" fmla="*/ 96859 h 1030680"/>
                <a:gd name="connsiteX758" fmla="*/ 266363 w 2992697"/>
                <a:gd name="connsiteY758" fmla="*/ 95928 h 1030680"/>
                <a:gd name="connsiteX759" fmla="*/ 270398 w 2992697"/>
                <a:gd name="connsiteY759" fmla="*/ 93755 h 1030680"/>
                <a:gd name="connsiteX760" fmla="*/ 277849 w 2992697"/>
                <a:gd name="connsiteY760" fmla="*/ 93755 h 1030680"/>
                <a:gd name="connsiteX761" fmla="*/ 280953 w 2992697"/>
                <a:gd name="connsiteY761" fmla="*/ 95928 h 1030680"/>
                <a:gd name="connsiteX762" fmla="*/ 284989 w 2992697"/>
                <a:gd name="connsiteY762" fmla="*/ 99032 h 1030680"/>
                <a:gd name="connsiteX763" fmla="*/ 288094 w 2992697"/>
                <a:gd name="connsiteY763" fmla="*/ 101205 h 1030680"/>
                <a:gd name="connsiteX764" fmla="*/ 288094 w 2992697"/>
                <a:gd name="connsiteY764" fmla="*/ 96859 h 1030680"/>
                <a:gd name="connsiteX765" fmla="*/ 285921 w 2992697"/>
                <a:gd name="connsiteY765" fmla="*/ 95928 h 1030680"/>
                <a:gd name="connsiteX766" fmla="*/ 285921 w 2992697"/>
                <a:gd name="connsiteY766" fmla="*/ 93755 h 1030680"/>
                <a:gd name="connsiteX767" fmla="*/ 285921 w 2992697"/>
                <a:gd name="connsiteY767" fmla="*/ 93755 h 1030680"/>
                <a:gd name="connsiteX768" fmla="*/ 285921 w 2992697"/>
                <a:gd name="connsiteY768" fmla="*/ 91582 h 1030680"/>
                <a:gd name="connsiteX769" fmla="*/ 284989 w 2992697"/>
                <a:gd name="connsiteY769" fmla="*/ 88477 h 1030680"/>
                <a:gd name="connsiteX770" fmla="*/ 290267 w 2992697"/>
                <a:gd name="connsiteY770" fmla="*/ 86304 h 1030680"/>
                <a:gd name="connsiteX771" fmla="*/ 293371 w 2992697"/>
                <a:gd name="connsiteY771" fmla="*/ 84131 h 1030680"/>
                <a:gd name="connsiteX772" fmla="*/ 299580 w 2992697"/>
                <a:gd name="connsiteY772" fmla="*/ 81026 h 1030680"/>
                <a:gd name="connsiteX773" fmla="*/ 302685 w 2992697"/>
                <a:gd name="connsiteY773" fmla="*/ 76680 h 1030680"/>
                <a:gd name="connsiteX774" fmla="*/ 304858 w 2992697"/>
                <a:gd name="connsiteY774" fmla="*/ 76680 h 1030680"/>
                <a:gd name="connsiteX775" fmla="*/ 312308 w 2992697"/>
                <a:gd name="connsiteY775" fmla="*/ 76680 h 1030680"/>
                <a:gd name="connsiteX776" fmla="*/ 317586 w 2992697"/>
                <a:gd name="connsiteY776" fmla="*/ 78853 h 1030680"/>
                <a:gd name="connsiteX777" fmla="*/ 321622 w 2992697"/>
                <a:gd name="connsiteY777" fmla="*/ 83199 h 1030680"/>
                <a:gd name="connsiteX778" fmla="*/ 327831 w 2992697"/>
                <a:gd name="connsiteY778" fmla="*/ 83199 h 1030680"/>
                <a:gd name="connsiteX779" fmla="*/ 337144 w 2992697"/>
                <a:gd name="connsiteY779" fmla="*/ 81026 h 1030680"/>
                <a:gd name="connsiteX780" fmla="*/ 341180 w 2992697"/>
                <a:gd name="connsiteY780" fmla="*/ 68298 h 1030680"/>
                <a:gd name="connsiteX781" fmla="*/ 346458 w 2992697"/>
                <a:gd name="connsiteY781" fmla="*/ 66125 h 1030680"/>
                <a:gd name="connsiteX782" fmla="*/ 351735 w 2992697"/>
                <a:gd name="connsiteY782" fmla="*/ 66125 h 1030680"/>
                <a:gd name="connsiteX783" fmla="*/ 357013 w 2992697"/>
                <a:gd name="connsiteY783" fmla="*/ 66125 h 1030680"/>
                <a:gd name="connsiteX784" fmla="*/ 361048 w 2992697"/>
                <a:gd name="connsiteY784" fmla="*/ 68298 h 1030680"/>
                <a:gd name="connsiteX785" fmla="*/ 364153 w 2992697"/>
                <a:gd name="connsiteY785" fmla="*/ 68298 h 1030680"/>
                <a:gd name="connsiteX786" fmla="*/ 371604 w 2992697"/>
                <a:gd name="connsiteY786" fmla="*/ 56812 h 1030680"/>
                <a:gd name="connsiteX787" fmla="*/ 383090 w 2992697"/>
                <a:gd name="connsiteY787" fmla="*/ 54638 h 1030680"/>
                <a:gd name="connsiteX788" fmla="*/ 390541 w 2992697"/>
                <a:gd name="connsiteY788" fmla="*/ 58985 h 1030680"/>
                <a:gd name="connsiteX789" fmla="*/ 397992 w 2992697"/>
                <a:gd name="connsiteY789" fmla="*/ 62089 h 1030680"/>
                <a:gd name="connsiteX790" fmla="*/ 405442 w 2992697"/>
                <a:gd name="connsiteY790" fmla="*/ 64262 h 1030680"/>
                <a:gd name="connsiteX791" fmla="*/ 414756 w 2992697"/>
                <a:gd name="connsiteY791" fmla="*/ 61158 h 1030680"/>
                <a:gd name="connsiteX792" fmla="*/ 427173 w 2992697"/>
                <a:gd name="connsiteY792" fmla="*/ 53707 h 1030680"/>
                <a:gd name="connsiteX793" fmla="*/ 439281 w 2992697"/>
                <a:gd name="connsiteY793" fmla="*/ 47498 h 1030680"/>
                <a:gd name="connsiteX794" fmla="*/ 439281 w 2992697"/>
                <a:gd name="connsiteY794" fmla="*/ 47498 h 1030680"/>
                <a:gd name="connsiteX795" fmla="*/ 439281 w 2992697"/>
                <a:gd name="connsiteY795" fmla="*/ 47498 h 1030680"/>
                <a:gd name="connsiteX796" fmla="*/ 2195472 w 2992697"/>
                <a:gd name="connsiteY796" fmla="*/ 44394 h 1030680"/>
                <a:gd name="connsiteX797" fmla="*/ 2202923 w 2992697"/>
                <a:gd name="connsiteY797" fmla="*/ 46567 h 1030680"/>
                <a:gd name="connsiteX798" fmla="*/ 2210374 w 2992697"/>
                <a:gd name="connsiteY798" fmla="*/ 49671 h 1030680"/>
                <a:gd name="connsiteX799" fmla="*/ 2213478 w 2992697"/>
                <a:gd name="connsiteY799" fmla="*/ 54018 h 1030680"/>
                <a:gd name="connsiteX800" fmla="*/ 2218756 w 2992697"/>
                <a:gd name="connsiteY800" fmla="*/ 57122 h 1030680"/>
                <a:gd name="connsiteX801" fmla="*/ 2224965 w 2992697"/>
                <a:gd name="connsiteY801" fmla="*/ 61468 h 1030680"/>
                <a:gd name="connsiteX802" fmla="*/ 2220929 w 2992697"/>
                <a:gd name="connsiteY802" fmla="*/ 72023 h 1030680"/>
                <a:gd name="connsiteX803" fmla="*/ 2198888 w 2992697"/>
                <a:gd name="connsiteY803" fmla="*/ 84752 h 1030680"/>
                <a:gd name="connsiteX804" fmla="*/ 2182123 w 2992697"/>
                <a:gd name="connsiteY804" fmla="*/ 99653 h 1030680"/>
                <a:gd name="connsiteX805" fmla="*/ 2167532 w 2992697"/>
                <a:gd name="connsiteY805" fmla="*/ 118590 h 1030680"/>
                <a:gd name="connsiteX806" fmla="*/ 2164428 w 2992697"/>
                <a:gd name="connsiteY806" fmla="*/ 118590 h 1030680"/>
                <a:gd name="connsiteX807" fmla="*/ 2164428 w 2992697"/>
                <a:gd name="connsiteY807" fmla="*/ 114244 h 1030680"/>
                <a:gd name="connsiteX808" fmla="*/ 2159150 w 2992697"/>
                <a:gd name="connsiteY808" fmla="*/ 111140 h 1030680"/>
                <a:gd name="connsiteX809" fmla="*/ 2155115 w 2992697"/>
                <a:gd name="connsiteY809" fmla="*/ 106793 h 1030680"/>
                <a:gd name="connsiteX810" fmla="*/ 2152942 w 2992697"/>
                <a:gd name="connsiteY810" fmla="*/ 103689 h 1030680"/>
                <a:gd name="connsiteX811" fmla="*/ 2149837 w 2992697"/>
                <a:gd name="connsiteY811" fmla="*/ 99343 h 1030680"/>
                <a:gd name="connsiteX812" fmla="*/ 2147664 w 2992697"/>
                <a:gd name="connsiteY812" fmla="*/ 94065 h 1030680"/>
                <a:gd name="connsiteX813" fmla="*/ 2151700 w 2992697"/>
                <a:gd name="connsiteY813" fmla="*/ 86614 h 1030680"/>
                <a:gd name="connsiteX814" fmla="*/ 2152631 w 2992697"/>
                <a:gd name="connsiteY814" fmla="*/ 81337 h 1030680"/>
                <a:gd name="connsiteX815" fmla="*/ 2154804 w 2992697"/>
                <a:gd name="connsiteY815" fmla="*/ 71713 h 1030680"/>
                <a:gd name="connsiteX816" fmla="*/ 2127795 w 2992697"/>
                <a:gd name="connsiteY816" fmla="*/ 71713 h 1030680"/>
                <a:gd name="connsiteX817" fmla="*/ 2127795 w 2992697"/>
                <a:gd name="connsiteY817" fmla="*/ 64262 h 1030680"/>
                <a:gd name="connsiteX818" fmla="*/ 2142386 w 2992697"/>
                <a:gd name="connsiteY818" fmla="*/ 58985 h 1030680"/>
                <a:gd name="connsiteX819" fmla="*/ 2156977 w 2992697"/>
                <a:gd name="connsiteY819" fmla="*/ 54638 h 1030680"/>
                <a:gd name="connsiteX820" fmla="*/ 2174673 w 2992697"/>
                <a:gd name="connsiteY820" fmla="*/ 51534 h 1030680"/>
                <a:gd name="connsiteX821" fmla="*/ 2176846 w 2992697"/>
                <a:gd name="connsiteY821" fmla="*/ 56812 h 1030680"/>
                <a:gd name="connsiteX822" fmla="*/ 2179019 w 2992697"/>
                <a:gd name="connsiteY822" fmla="*/ 58985 h 1030680"/>
                <a:gd name="connsiteX823" fmla="*/ 2179019 w 2992697"/>
                <a:gd name="connsiteY823" fmla="*/ 61158 h 1030680"/>
                <a:gd name="connsiteX824" fmla="*/ 2181192 w 2992697"/>
                <a:gd name="connsiteY824" fmla="*/ 61158 h 1030680"/>
                <a:gd name="connsiteX825" fmla="*/ 2181192 w 2992697"/>
                <a:gd name="connsiteY825" fmla="*/ 62089 h 1030680"/>
                <a:gd name="connsiteX826" fmla="*/ 2184297 w 2992697"/>
                <a:gd name="connsiteY826" fmla="*/ 64262 h 1030680"/>
                <a:gd name="connsiteX827" fmla="*/ 2186470 w 2992697"/>
                <a:gd name="connsiteY827" fmla="*/ 58985 h 1030680"/>
                <a:gd name="connsiteX828" fmla="*/ 2188643 w 2992697"/>
                <a:gd name="connsiteY828" fmla="*/ 54638 h 1030680"/>
                <a:gd name="connsiteX829" fmla="*/ 2189574 w 2992697"/>
                <a:gd name="connsiteY829" fmla="*/ 51534 h 1030680"/>
                <a:gd name="connsiteX830" fmla="*/ 2193610 w 2992697"/>
                <a:gd name="connsiteY830" fmla="*/ 47188 h 1030680"/>
                <a:gd name="connsiteX831" fmla="*/ 2195472 w 2992697"/>
                <a:gd name="connsiteY831" fmla="*/ 44394 h 1030680"/>
                <a:gd name="connsiteX832" fmla="*/ 2195472 w 2992697"/>
                <a:gd name="connsiteY832" fmla="*/ 44394 h 1030680"/>
                <a:gd name="connsiteX833" fmla="*/ 2195472 w 2992697"/>
                <a:gd name="connsiteY833" fmla="*/ 44394 h 1030680"/>
                <a:gd name="connsiteX834" fmla="*/ 2240487 w 2992697"/>
                <a:gd name="connsiteY834" fmla="*/ 24215 h 1030680"/>
                <a:gd name="connsiteX835" fmla="*/ 2244523 w 2992697"/>
                <a:gd name="connsiteY835" fmla="*/ 25146 h 1030680"/>
                <a:gd name="connsiteX836" fmla="*/ 2245454 w 2992697"/>
                <a:gd name="connsiteY836" fmla="*/ 25146 h 1030680"/>
                <a:gd name="connsiteX837" fmla="*/ 2247628 w 2992697"/>
                <a:gd name="connsiteY837" fmla="*/ 27319 h 1030680"/>
                <a:gd name="connsiteX838" fmla="*/ 2247628 w 2992697"/>
                <a:gd name="connsiteY838" fmla="*/ 27319 h 1030680"/>
                <a:gd name="connsiteX839" fmla="*/ 2249800 w 2992697"/>
                <a:gd name="connsiteY839" fmla="*/ 29492 h 1030680"/>
                <a:gd name="connsiteX840" fmla="*/ 2251974 w 2992697"/>
                <a:gd name="connsiteY840" fmla="*/ 32597 h 1030680"/>
                <a:gd name="connsiteX841" fmla="*/ 2255078 w 2992697"/>
                <a:gd name="connsiteY841" fmla="*/ 38806 h 1030680"/>
                <a:gd name="connsiteX842" fmla="*/ 2259114 w 2992697"/>
                <a:gd name="connsiteY842" fmla="*/ 44083 h 1030680"/>
                <a:gd name="connsiteX843" fmla="*/ 2260045 w 2992697"/>
                <a:gd name="connsiteY843" fmla="*/ 51534 h 1030680"/>
                <a:gd name="connsiteX844" fmla="*/ 2251663 w 2992697"/>
                <a:gd name="connsiteY844" fmla="*/ 51534 h 1030680"/>
                <a:gd name="connsiteX845" fmla="*/ 2251663 w 2992697"/>
                <a:gd name="connsiteY845" fmla="*/ 47188 h 1030680"/>
                <a:gd name="connsiteX846" fmla="*/ 2247628 w 2992697"/>
                <a:gd name="connsiteY846" fmla="*/ 44083 h 1030680"/>
                <a:gd name="connsiteX847" fmla="*/ 2244523 w 2992697"/>
                <a:gd name="connsiteY847" fmla="*/ 39737 h 1030680"/>
                <a:gd name="connsiteX848" fmla="*/ 2242350 w 2992697"/>
                <a:gd name="connsiteY848" fmla="*/ 36633 h 1030680"/>
                <a:gd name="connsiteX849" fmla="*/ 2240177 w 2992697"/>
                <a:gd name="connsiteY849" fmla="*/ 31355 h 1030680"/>
                <a:gd name="connsiteX850" fmla="*/ 2240177 w 2992697"/>
                <a:gd name="connsiteY850" fmla="*/ 24215 h 1030680"/>
                <a:gd name="connsiteX851" fmla="*/ 2240487 w 2992697"/>
                <a:gd name="connsiteY851" fmla="*/ 24215 h 1030680"/>
                <a:gd name="connsiteX852" fmla="*/ 2240487 w 2992697"/>
                <a:gd name="connsiteY852" fmla="*/ 24215 h 1030680"/>
                <a:gd name="connsiteX853" fmla="*/ 984113 w 2992697"/>
                <a:gd name="connsiteY853" fmla="*/ 20179 h 1030680"/>
                <a:gd name="connsiteX854" fmla="*/ 1009259 w 2992697"/>
                <a:gd name="connsiteY854" fmla="*/ 20179 h 1030680"/>
                <a:gd name="connsiteX855" fmla="*/ 1035337 w 2992697"/>
                <a:gd name="connsiteY855" fmla="*/ 24525 h 1030680"/>
                <a:gd name="connsiteX856" fmla="*/ 1058310 w 2992697"/>
                <a:gd name="connsiteY856" fmla="*/ 27630 h 1030680"/>
                <a:gd name="connsiteX857" fmla="*/ 1079110 w 2992697"/>
                <a:gd name="connsiteY857" fmla="*/ 32907 h 1030680"/>
                <a:gd name="connsiteX858" fmla="*/ 1109223 w 2992697"/>
                <a:gd name="connsiteY858" fmla="*/ 27630 h 1030680"/>
                <a:gd name="connsiteX859" fmla="*/ 1113259 w 2992697"/>
                <a:gd name="connsiteY859" fmla="*/ 31976 h 1030680"/>
                <a:gd name="connsiteX860" fmla="*/ 1116363 w 2992697"/>
                <a:gd name="connsiteY860" fmla="*/ 32907 h 1030680"/>
                <a:gd name="connsiteX861" fmla="*/ 1120399 w 2992697"/>
                <a:gd name="connsiteY861" fmla="*/ 39116 h 1030680"/>
                <a:gd name="connsiteX862" fmla="*/ 1122572 w 2992697"/>
                <a:gd name="connsiteY862" fmla="*/ 42221 h 1030680"/>
                <a:gd name="connsiteX863" fmla="*/ 1125676 w 2992697"/>
                <a:gd name="connsiteY863" fmla="*/ 44394 h 1030680"/>
                <a:gd name="connsiteX864" fmla="*/ 1143372 w 2992697"/>
                <a:gd name="connsiteY864" fmla="*/ 51844 h 1030680"/>
                <a:gd name="connsiteX865" fmla="*/ 1164172 w 2992697"/>
                <a:gd name="connsiteY865" fmla="*/ 57122 h 1030680"/>
                <a:gd name="connsiteX866" fmla="*/ 1181867 w 2992697"/>
                <a:gd name="connsiteY866" fmla="*/ 61468 h 1030680"/>
                <a:gd name="connsiteX867" fmla="*/ 1181867 w 2992697"/>
                <a:gd name="connsiteY867" fmla="*/ 68919 h 1030680"/>
                <a:gd name="connsiteX868" fmla="*/ 1152685 w 2992697"/>
                <a:gd name="connsiteY868" fmla="*/ 68919 h 1030680"/>
                <a:gd name="connsiteX869" fmla="*/ 1140267 w 2992697"/>
                <a:gd name="connsiteY869" fmla="*/ 62710 h 1030680"/>
                <a:gd name="connsiteX870" fmla="*/ 1125676 w 2992697"/>
                <a:gd name="connsiteY870" fmla="*/ 62710 h 1030680"/>
                <a:gd name="connsiteX871" fmla="*/ 1108912 w 2992697"/>
                <a:gd name="connsiteY871" fmla="*/ 64883 h 1030680"/>
                <a:gd name="connsiteX872" fmla="*/ 1093390 w 2992697"/>
                <a:gd name="connsiteY872" fmla="*/ 69229 h 1030680"/>
                <a:gd name="connsiteX873" fmla="*/ 1093390 w 2992697"/>
                <a:gd name="connsiteY873" fmla="*/ 77611 h 1030680"/>
                <a:gd name="connsiteX874" fmla="*/ 1113259 w 2992697"/>
                <a:gd name="connsiteY874" fmla="*/ 77611 h 1030680"/>
                <a:gd name="connsiteX875" fmla="*/ 1127850 w 2992697"/>
                <a:gd name="connsiteY875" fmla="*/ 74507 h 1030680"/>
                <a:gd name="connsiteX876" fmla="*/ 1145545 w 2992697"/>
                <a:gd name="connsiteY876" fmla="*/ 72334 h 1030680"/>
                <a:gd name="connsiteX877" fmla="*/ 1167587 w 2992697"/>
                <a:gd name="connsiteY877" fmla="*/ 72334 h 1030680"/>
                <a:gd name="connsiteX878" fmla="*/ 1189628 w 2992697"/>
                <a:gd name="connsiteY878" fmla="*/ 72334 h 1030680"/>
                <a:gd name="connsiteX879" fmla="*/ 1206392 w 2992697"/>
                <a:gd name="connsiteY879" fmla="*/ 72334 h 1030680"/>
                <a:gd name="connsiteX880" fmla="*/ 1220983 w 2992697"/>
                <a:gd name="connsiteY880" fmla="*/ 87235 h 1030680"/>
                <a:gd name="connsiteX881" fmla="*/ 1238679 w 2992697"/>
                <a:gd name="connsiteY881" fmla="*/ 97790 h 1030680"/>
                <a:gd name="connsiteX882" fmla="*/ 1233401 w 2992697"/>
                <a:gd name="connsiteY882" fmla="*/ 109277 h 1030680"/>
                <a:gd name="connsiteX883" fmla="*/ 1222846 w 2992697"/>
                <a:gd name="connsiteY883" fmla="*/ 116728 h 1030680"/>
                <a:gd name="connsiteX884" fmla="*/ 1213533 w 2992697"/>
                <a:gd name="connsiteY884" fmla="*/ 122005 h 1030680"/>
                <a:gd name="connsiteX885" fmla="*/ 1201115 w 2992697"/>
                <a:gd name="connsiteY885" fmla="*/ 126351 h 1030680"/>
                <a:gd name="connsiteX886" fmla="*/ 1182178 w 2992697"/>
                <a:gd name="connsiteY886" fmla="*/ 126351 h 1030680"/>
                <a:gd name="connsiteX887" fmla="*/ 1165413 w 2992697"/>
                <a:gd name="connsiteY887" fmla="*/ 131629 h 1030680"/>
                <a:gd name="connsiteX888" fmla="*/ 1147718 w 2992697"/>
                <a:gd name="connsiteY888" fmla="*/ 131629 h 1030680"/>
                <a:gd name="connsiteX889" fmla="*/ 1127850 w 2992697"/>
                <a:gd name="connsiteY889" fmla="*/ 129456 h 1030680"/>
                <a:gd name="connsiteX890" fmla="*/ 1108912 w 2992697"/>
                <a:gd name="connsiteY890" fmla="*/ 127283 h 1030680"/>
                <a:gd name="connsiteX891" fmla="*/ 1091527 w 2992697"/>
                <a:gd name="connsiteY891" fmla="*/ 127283 h 1030680"/>
                <a:gd name="connsiteX892" fmla="*/ 1076936 w 2992697"/>
                <a:gd name="connsiteY892" fmla="*/ 131629 h 1030680"/>
                <a:gd name="connsiteX893" fmla="*/ 1065450 w 2992697"/>
                <a:gd name="connsiteY893" fmla="*/ 142184 h 1030680"/>
                <a:gd name="connsiteX894" fmla="*/ 1109223 w 2992697"/>
                <a:gd name="connsiteY894" fmla="*/ 142184 h 1030680"/>
                <a:gd name="connsiteX895" fmla="*/ 1122882 w 2992697"/>
                <a:gd name="connsiteY895" fmla="*/ 139080 h 1030680"/>
                <a:gd name="connsiteX896" fmla="*/ 1138405 w 2992697"/>
                <a:gd name="connsiteY896" fmla="*/ 136907 h 1030680"/>
                <a:gd name="connsiteX897" fmla="*/ 1157342 w 2992697"/>
                <a:gd name="connsiteY897" fmla="*/ 139080 h 1030680"/>
                <a:gd name="connsiteX898" fmla="*/ 1169760 w 2992697"/>
                <a:gd name="connsiteY898" fmla="*/ 142184 h 1030680"/>
                <a:gd name="connsiteX899" fmla="*/ 1172864 w 2992697"/>
                <a:gd name="connsiteY899" fmla="*/ 155844 h 1030680"/>
                <a:gd name="connsiteX900" fmla="*/ 1179073 w 2992697"/>
                <a:gd name="connsiteY900" fmla="*/ 153671 h 1030680"/>
                <a:gd name="connsiteX901" fmla="*/ 1187455 w 2992697"/>
                <a:gd name="connsiteY901" fmla="*/ 148393 h 1030680"/>
                <a:gd name="connsiteX902" fmla="*/ 1198942 w 2992697"/>
                <a:gd name="connsiteY902" fmla="*/ 144047 h 1030680"/>
                <a:gd name="connsiteX903" fmla="*/ 1209497 w 2992697"/>
                <a:gd name="connsiteY903" fmla="*/ 141874 h 1030680"/>
                <a:gd name="connsiteX904" fmla="*/ 1211670 w 2992697"/>
                <a:gd name="connsiteY904" fmla="*/ 148083 h 1030680"/>
                <a:gd name="connsiteX905" fmla="*/ 1213843 w 2992697"/>
                <a:gd name="connsiteY905" fmla="*/ 151187 h 1030680"/>
                <a:gd name="connsiteX906" fmla="*/ 1216016 w 2992697"/>
                <a:gd name="connsiteY906" fmla="*/ 153360 h 1030680"/>
                <a:gd name="connsiteX907" fmla="*/ 1219121 w 2992697"/>
                <a:gd name="connsiteY907" fmla="*/ 155533 h 1030680"/>
                <a:gd name="connsiteX908" fmla="*/ 1223156 w 2992697"/>
                <a:gd name="connsiteY908" fmla="*/ 158638 h 1030680"/>
                <a:gd name="connsiteX909" fmla="*/ 1206392 w 2992697"/>
                <a:gd name="connsiteY909" fmla="*/ 189993 h 1030680"/>
                <a:gd name="connsiteX910" fmla="*/ 1213843 w 2992697"/>
                <a:gd name="connsiteY910" fmla="*/ 189993 h 1030680"/>
                <a:gd name="connsiteX911" fmla="*/ 1226261 w 2992697"/>
                <a:gd name="connsiteY911" fmla="*/ 182542 h 1030680"/>
                <a:gd name="connsiteX912" fmla="*/ 1243025 w 2992697"/>
                <a:gd name="connsiteY912" fmla="*/ 172918 h 1030680"/>
                <a:gd name="connsiteX913" fmla="*/ 1262893 w 2992697"/>
                <a:gd name="connsiteY913" fmla="*/ 165468 h 1030680"/>
                <a:gd name="connsiteX914" fmla="*/ 1284935 w 2992697"/>
                <a:gd name="connsiteY914" fmla="*/ 158017 h 1030680"/>
                <a:gd name="connsiteX915" fmla="*/ 1308839 w 2992697"/>
                <a:gd name="connsiteY915" fmla="*/ 152739 h 1030680"/>
                <a:gd name="connsiteX916" fmla="*/ 1329639 w 2992697"/>
                <a:gd name="connsiteY916" fmla="*/ 152739 h 1030680"/>
                <a:gd name="connsiteX917" fmla="*/ 1350439 w 2992697"/>
                <a:gd name="connsiteY917" fmla="*/ 154912 h 1030680"/>
                <a:gd name="connsiteX918" fmla="*/ 1365030 w 2992697"/>
                <a:gd name="connsiteY918" fmla="*/ 163294 h 1030680"/>
                <a:gd name="connsiteX919" fmla="*/ 1373412 w 2992697"/>
                <a:gd name="connsiteY919" fmla="*/ 178196 h 1030680"/>
                <a:gd name="connsiteX920" fmla="*/ 1379621 w 2992697"/>
                <a:gd name="connsiteY920" fmla="*/ 178196 h 1030680"/>
                <a:gd name="connsiteX921" fmla="*/ 1379621 w 2992697"/>
                <a:gd name="connsiteY921" fmla="*/ 180369 h 1030680"/>
                <a:gd name="connsiteX922" fmla="*/ 1379621 w 2992697"/>
                <a:gd name="connsiteY922" fmla="*/ 180369 h 1030680"/>
                <a:gd name="connsiteX923" fmla="*/ 1377448 w 2992697"/>
                <a:gd name="connsiteY923" fmla="*/ 182542 h 1030680"/>
                <a:gd name="connsiteX924" fmla="*/ 1375275 w 2992697"/>
                <a:gd name="connsiteY924" fmla="*/ 182542 h 1030680"/>
                <a:gd name="connsiteX925" fmla="*/ 1375275 w 2992697"/>
                <a:gd name="connsiteY925" fmla="*/ 182542 h 1030680"/>
                <a:gd name="connsiteX926" fmla="*/ 1373102 w 2992697"/>
                <a:gd name="connsiteY926" fmla="*/ 182542 h 1030680"/>
                <a:gd name="connsiteX927" fmla="*/ 1369997 w 2992697"/>
                <a:gd name="connsiteY927" fmla="*/ 185647 h 1030680"/>
                <a:gd name="connsiteX928" fmla="*/ 1364720 w 2992697"/>
                <a:gd name="connsiteY928" fmla="*/ 187820 h 1030680"/>
                <a:gd name="connsiteX929" fmla="*/ 1358511 w 2992697"/>
                <a:gd name="connsiteY929" fmla="*/ 189993 h 1030680"/>
                <a:gd name="connsiteX930" fmla="*/ 1351060 w 2992697"/>
                <a:gd name="connsiteY930" fmla="*/ 192166 h 1030680"/>
                <a:gd name="connsiteX931" fmla="*/ 1345783 w 2992697"/>
                <a:gd name="connsiteY931" fmla="*/ 193097 h 1030680"/>
                <a:gd name="connsiteX932" fmla="*/ 1333365 w 2992697"/>
                <a:gd name="connsiteY932" fmla="*/ 213276 h 1030680"/>
                <a:gd name="connsiteX933" fmla="*/ 1309460 w 2992697"/>
                <a:gd name="connsiteY933" fmla="*/ 228178 h 1030680"/>
                <a:gd name="connsiteX934" fmla="*/ 1282452 w 2992697"/>
                <a:gd name="connsiteY934" fmla="*/ 237801 h 1030680"/>
                <a:gd name="connsiteX935" fmla="*/ 1250165 w 2992697"/>
                <a:gd name="connsiteY935" fmla="*/ 243079 h 1030680"/>
                <a:gd name="connsiteX936" fmla="*/ 1250165 w 2992697"/>
                <a:gd name="connsiteY936" fmla="*/ 249288 h 1030680"/>
                <a:gd name="connsiteX937" fmla="*/ 1250165 w 2992697"/>
                <a:gd name="connsiteY937" fmla="*/ 252392 h 1030680"/>
                <a:gd name="connsiteX938" fmla="*/ 1250165 w 2992697"/>
                <a:gd name="connsiteY938" fmla="*/ 254566 h 1030680"/>
                <a:gd name="connsiteX939" fmla="*/ 1247992 w 2992697"/>
                <a:gd name="connsiteY939" fmla="*/ 256739 h 1030680"/>
                <a:gd name="connsiteX940" fmla="*/ 1250165 w 2992697"/>
                <a:gd name="connsiteY940" fmla="*/ 257670 h 1030680"/>
                <a:gd name="connsiteX941" fmla="*/ 1250165 w 2992697"/>
                <a:gd name="connsiteY941" fmla="*/ 259843 h 1030680"/>
                <a:gd name="connsiteX942" fmla="*/ 1253270 w 2992697"/>
                <a:gd name="connsiteY942" fmla="*/ 264189 h 1030680"/>
                <a:gd name="connsiteX943" fmla="*/ 1258547 w 2992697"/>
                <a:gd name="connsiteY943" fmla="*/ 267294 h 1030680"/>
                <a:gd name="connsiteX944" fmla="*/ 1262583 w 2992697"/>
                <a:gd name="connsiteY944" fmla="*/ 269467 h 1030680"/>
                <a:gd name="connsiteX945" fmla="*/ 1265687 w 2992697"/>
                <a:gd name="connsiteY945" fmla="*/ 272571 h 1030680"/>
                <a:gd name="connsiteX946" fmla="*/ 1269723 w 2992697"/>
                <a:gd name="connsiteY946" fmla="*/ 274745 h 1030680"/>
                <a:gd name="connsiteX947" fmla="*/ 1272828 w 2992697"/>
                <a:gd name="connsiteY947" fmla="*/ 280022 h 1030680"/>
                <a:gd name="connsiteX948" fmla="*/ 1269723 w 2992697"/>
                <a:gd name="connsiteY948" fmla="*/ 287473 h 1030680"/>
                <a:gd name="connsiteX949" fmla="*/ 1265687 w 2992697"/>
                <a:gd name="connsiteY949" fmla="*/ 304237 h 1030680"/>
                <a:gd name="connsiteX950" fmla="*/ 1262583 w 2992697"/>
                <a:gd name="connsiteY950" fmla="*/ 324416 h 1030680"/>
                <a:gd name="connsiteX951" fmla="*/ 1258547 w 2992697"/>
                <a:gd name="connsiteY951" fmla="*/ 344595 h 1030680"/>
                <a:gd name="connsiteX952" fmla="*/ 1258547 w 2992697"/>
                <a:gd name="connsiteY952" fmla="*/ 361359 h 1030680"/>
                <a:gd name="connsiteX953" fmla="*/ 1262583 w 2992697"/>
                <a:gd name="connsiteY953" fmla="*/ 359186 h 1030680"/>
                <a:gd name="connsiteX954" fmla="*/ 1265687 w 2992697"/>
                <a:gd name="connsiteY954" fmla="*/ 359186 h 1030680"/>
                <a:gd name="connsiteX955" fmla="*/ 1267861 w 2992697"/>
                <a:gd name="connsiteY955" fmla="*/ 359186 h 1030680"/>
                <a:gd name="connsiteX956" fmla="*/ 1271896 w 2992697"/>
                <a:gd name="connsiteY956" fmla="*/ 359186 h 1030680"/>
                <a:gd name="connsiteX957" fmla="*/ 1272828 w 2992697"/>
                <a:gd name="connsiteY957" fmla="*/ 359186 h 1030680"/>
                <a:gd name="connsiteX958" fmla="*/ 1279037 w 2992697"/>
                <a:gd name="connsiteY958" fmla="*/ 361359 h 1030680"/>
                <a:gd name="connsiteX959" fmla="*/ 1276864 w 2992697"/>
                <a:gd name="connsiteY959" fmla="*/ 366636 h 1030680"/>
                <a:gd name="connsiteX960" fmla="*/ 1276864 w 2992697"/>
                <a:gd name="connsiteY960" fmla="*/ 368810 h 1030680"/>
                <a:gd name="connsiteX961" fmla="*/ 1276864 w 2992697"/>
                <a:gd name="connsiteY961" fmla="*/ 373156 h 1030680"/>
                <a:gd name="connsiteX962" fmla="*/ 1276864 w 2992697"/>
                <a:gd name="connsiteY962" fmla="*/ 374087 h 1030680"/>
                <a:gd name="connsiteX963" fmla="*/ 1276864 w 2992697"/>
                <a:gd name="connsiteY963" fmla="*/ 378433 h 1030680"/>
                <a:gd name="connsiteX964" fmla="*/ 1279037 w 2992697"/>
                <a:gd name="connsiteY964" fmla="*/ 385884 h 1030680"/>
                <a:gd name="connsiteX965" fmla="*/ 1272828 w 2992697"/>
                <a:gd name="connsiteY965" fmla="*/ 385884 h 1030680"/>
                <a:gd name="connsiteX966" fmla="*/ 1272828 w 2992697"/>
                <a:gd name="connsiteY966" fmla="*/ 388989 h 1030680"/>
                <a:gd name="connsiteX967" fmla="*/ 1269723 w 2992697"/>
                <a:gd name="connsiteY967" fmla="*/ 388057 h 1030680"/>
                <a:gd name="connsiteX968" fmla="*/ 1265687 w 2992697"/>
                <a:gd name="connsiteY968" fmla="*/ 383711 h 1030680"/>
                <a:gd name="connsiteX969" fmla="*/ 1264756 w 2992697"/>
                <a:gd name="connsiteY969" fmla="*/ 381538 h 1030680"/>
                <a:gd name="connsiteX970" fmla="*/ 1260720 w 2992697"/>
                <a:gd name="connsiteY970" fmla="*/ 380607 h 1030680"/>
                <a:gd name="connsiteX971" fmla="*/ 1257616 w 2992697"/>
                <a:gd name="connsiteY971" fmla="*/ 378433 h 1030680"/>
                <a:gd name="connsiteX972" fmla="*/ 1250165 w 2992697"/>
                <a:gd name="connsiteY972" fmla="*/ 378433 h 1030680"/>
                <a:gd name="connsiteX973" fmla="*/ 1246129 w 2992697"/>
                <a:gd name="connsiteY973" fmla="*/ 380607 h 1030680"/>
                <a:gd name="connsiteX974" fmla="*/ 1243025 w 2992697"/>
                <a:gd name="connsiteY974" fmla="*/ 381538 h 1030680"/>
                <a:gd name="connsiteX975" fmla="*/ 1238989 w 2992697"/>
                <a:gd name="connsiteY975" fmla="*/ 383711 h 1030680"/>
                <a:gd name="connsiteX976" fmla="*/ 1236816 w 2992697"/>
                <a:gd name="connsiteY976" fmla="*/ 385884 h 1030680"/>
                <a:gd name="connsiteX977" fmla="*/ 1233711 w 2992697"/>
                <a:gd name="connsiteY977" fmla="*/ 388057 h 1030680"/>
                <a:gd name="connsiteX978" fmla="*/ 1231538 w 2992697"/>
                <a:gd name="connsiteY978" fmla="*/ 391162 h 1030680"/>
                <a:gd name="connsiteX979" fmla="*/ 1229365 w 2992697"/>
                <a:gd name="connsiteY979" fmla="*/ 398612 h 1030680"/>
                <a:gd name="connsiteX980" fmla="*/ 1253270 w 2992697"/>
                <a:gd name="connsiteY980" fmla="*/ 406063 h 1030680"/>
                <a:gd name="connsiteX981" fmla="*/ 1258547 w 2992697"/>
                <a:gd name="connsiteY981" fmla="*/ 438660 h 1030680"/>
                <a:gd name="connsiteX982" fmla="*/ 1253270 w 2992697"/>
                <a:gd name="connsiteY982" fmla="*/ 438660 h 1030680"/>
                <a:gd name="connsiteX983" fmla="*/ 1250165 w 2992697"/>
                <a:gd name="connsiteY983" fmla="*/ 438660 h 1030680"/>
                <a:gd name="connsiteX984" fmla="*/ 1246129 w 2992697"/>
                <a:gd name="connsiteY984" fmla="*/ 440833 h 1030680"/>
                <a:gd name="connsiteX985" fmla="*/ 1243025 w 2992697"/>
                <a:gd name="connsiteY985" fmla="*/ 443006 h 1030680"/>
                <a:gd name="connsiteX986" fmla="*/ 1243025 w 2992697"/>
                <a:gd name="connsiteY986" fmla="*/ 450457 h 1030680"/>
                <a:gd name="connsiteX987" fmla="*/ 1251407 w 2992697"/>
                <a:gd name="connsiteY987" fmla="*/ 455734 h 1030680"/>
                <a:gd name="connsiteX988" fmla="*/ 1257616 w 2992697"/>
                <a:gd name="connsiteY988" fmla="*/ 463185 h 1030680"/>
                <a:gd name="connsiteX989" fmla="*/ 1260720 w 2992697"/>
                <a:gd name="connsiteY989" fmla="*/ 472809 h 1030680"/>
                <a:gd name="connsiteX990" fmla="*/ 1262893 w 2992697"/>
                <a:gd name="connsiteY990" fmla="*/ 487710 h 1030680"/>
                <a:gd name="connsiteX991" fmla="*/ 1253580 w 2992697"/>
                <a:gd name="connsiteY991" fmla="*/ 487710 h 1030680"/>
                <a:gd name="connsiteX992" fmla="*/ 1251407 w 2992697"/>
                <a:gd name="connsiteY992" fmla="*/ 487710 h 1030680"/>
                <a:gd name="connsiteX993" fmla="*/ 1246129 w 2992697"/>
                <a:gd name="connsiteY993" fmla="*/ 485537 h 1030680"/>
                <a:gd name="connsiteX994" fmla="*/ 1243025 w 2992697"/>
                <a:gd name="connsiteY994" fmla="*/ 487710 h 1030680"/>
                <a:gd name="connsiteX995" fmla="*/ 1236816 w 2992697"/>
                <a:gd name="connsiteY995" fmla="*/ 487710 h 1030680"/>
                <a:gd name="connsiteX996" fmla="*/ 1233711 w 2992697"/>
                <a:gd name="connsiteY996" fmla="*/ 490815 h 1030680"/>
                <a:gd name="connsiteX997" fmla="*/ 1229676 w 2992697"/>
                <a:gd name="connsiteY997" fmla="*/ 495161 h 1030680"/>
                <a:gd name="connsiteX998" fmla="*/ 1235885 w 2992697"/>
                <a:gd name="connsiteY998" fmla="*/ 498266 h 1030680"/>
                <a:gd name="connsiteX999" fmla="*/ 1238989 w 2992697"/>
                <a:gd name="connsiteY999" fmla="*/ 500439 h 1030680"/>
                <a:gd name="connsiteX1000" fmla="*/ 1241162 w 2992697"/>
                <a:gd name="connsiteY1000" fmla="*/ 502612 h 1030680"/>
                <a:gd name="connsiteX1001" fmla="*/ 1243335 w 2992697"/>
                <a:gd name="connsiteY1001" fmla="*/ 503543 h 1030680"/>
                <a:gd name="connsiteX1002" fmla="*/ 1244267 w 2992697"/>
                <a:gd name="connsiteY1002" fmla="*/ 509752 h 1030680"/>
                <a:gd name="connsiteX1003" fmla="*/ 1246440 w 2992697"/>
                <a:gd name="connsiteY1003" fmla="*/ 515030 h 1030680"/>
                <a:gd name="connsiteX1004" fmla="*/ 1244267 w 2992697"/>
                <a:gd name="connsiteY1004" fmla="*/ 517203 h 1030680"/>
                <a:gd name="connsiteX1005" fmla="*/ 1244267 w 2992697"/>
                <a:gd name="connsiteY1005" fmla="*/ 518134 h 1030680"/>
                <a:gd name="connsiteX1006" fmla="*/ 1244267 w 2992697"/>
                <a:gd name="connsiteY1006" fmla="*/ 518134 h 1030680"/>
                <a:gd name="connsiteX1007" fmla="*/ 1243335 w 2992697"/>
                <a:gd name="connsiteY1007" fmla="*/ 520307 h 1030680"/>
                <a:gd name="connsiteX1008" fmla="*/ 1243335 w 2992697"/>
                <a:gd name="connsiteY1008" fmla="*/ 524653 h 1030680"/>
                <a:gd name="connsiteX1009" fmla="*/ 1228124 w 2992697"/>
                <a:gd name="connsiteY1009" fmla="*/ 524653 h 1030680"/>
                <a:gd name="connsiteX1010" fmla="*/ 1213533 w 2992697"/>
                <a:gd name="connsiteY1010" fmla="*/ 527758 h 1030680"/>
                <a:gd name="connsiteX1011" fmla="*/ 1202046 w 2992697"/>
                <a:gd name="connsiteY1011" fmla="*/ 532104 h 1030680"/>
                <a:gd name="connsiteX1012" fmla="*/ 1206082 w 2992697"/>
                <a:gd name="connsiteY1012" fmla="*/ 532104 h 1030680"/>
                <a:gd name="connsiteX1013" fmla="*/ 1211359 w 2992697"/>
                <a:gd name="connsiteY1013" fmla="*/ 535209 h 1030680"/>
                <a:gd name="connsiteX1014" fmla="*/ 1215395 w 2992697"/>
                <a:gd name="connsiteY1014" fmla="*/ 537382 h 1030680"/>
                <a:gd name="connsiteX1015" fmla="*/ 1218500 w 2992697"/>
                <a:gd name="connsiteY1015" fmla="*/ 537382 h 1030680"/>
                <a:gd name="connsiteX1016" fmla="*/ 1222536 w 2992697"/>
                <a:gd name="connsiteY1016" fmla="*/ 539555 h 1030680"/>
                <a:gd name="connsiteX1017" fmla="*/ 1225640 w 2992697"/>
                <a:gd name="connsiteY1017" fmla="*/ 542659 h 1030680"/>
                <a:gd name="connsiteX1018" fmla="*/ 1228744 w 2992697"/>
                <a:gd name="connsiteY1018" fmla="*/ 547937 h 1030680"/>
                <a:gd name="connsiteX1019" fmla="*/ 1222536 w 2992697"/>
                <a:gd name="connsiteY1019" fmla="*/ 557561 h 1030680"/>
                <a:gd name="connsiteX1020" fmla="*/ 1218500 w 2992697"/>
                <a:gd name="connsiteY1020" fmla="*/ 569047 h 1030680"/>
                <a:gd name="connsiteX1021" fmla="*/ 1213222 w 2992697"/>
                <a:gd name="connsiteY1021" fmla="*/ 581775 h 1030680"/>
                <a:gd name="connsiteX1022" fmla="*/ 1211049 w 2992697"/>
                <a:gd name="connsiteY1022" fmla="*/ 576498 h 1030680"/>
                <a:gd name="connsiteX1023" fmla="*/ 1207945 w 2992697"/>
                <a:gd name="connsiteY1023" fmla="*/ 572152 h 1030680"/>
                <a:gd name="connsiteX1024" fmla="*/ 1205771 w 2992697"/>
                <a:gd name="connsiteY1024" fmla="*/ 569979 h 1030680"/>
                <a:gd name="connsiteX1025" fmla="*/ 1201736 w 2992697"/>
                <a:gd name="connsiteY1025" fmla="*/ 569979 h 1030680"/>
                <a:gd name="connsiteX1026" fmla="*/ 1196458 w 2992697"/>
                <a:gd name="connsiteY1026" fmla="*/ 569047 h 1030680"/>
                <a:gd name="connsiteX1027" fmla="*/ 1189007 w 2992697"/>
                <a:gd name="connsiteY1027" fmla="*/ 569047 h 1030680"/>
                <a:gd name="connsiteX1028" fmla="*/ 1189007 w 2992697"/>
                <a:gd name="connsiteY1028" fmla="*/ 572152 h 1030680"/>
                <a:gd name="connsiteX1029" fmla="*/ 1193043 w 2992697"/>
                <a:gd name="connsiteY1029" fmla="*/ 572152 h 1030680"/>
                <a:gd name="connsiteX1030" fmla="*/ 1205461 w 2992697"/>
                <a:gd name="connsiteY1030" fmla="*/ 584880 h 1030680"/>
                <a:gd name="connsiteX1031" fmla="*/ 1216016 w 2992697"/>
                <a:gd name="connsiteY1031" fmla="*/ 599781 h 1030680"/>
                <a:gd name="connsiteX1032" fmla="*/ 1222225 w 2992697"/>
                <a:gd name="connsiteY1032" fmla="*/ 618719 h 1030680"/>
                <a:gd name="connsiteX1033" fmla="*/ 1225329 w 2992697"/>
                <a:gd name="connsiteY1033" fmla="*/ 640760 h 1030680"/>
                <a:gd name="connsiteX1034" fmla="*/ 1222225 w 2992697"/>
                <a:gd name="connsiteY1034" fmla="*/ 640760 h 1030680"/>
                <a:gd name="connsiteX1035" fmla="*/ 1222225 w 2992697"/>
                <a:gd name="connsiteY1035" fmla="*/ 646038 h 1030680"/>
                <a:gd name="connsiteX1036" fmla="*/ 1193043 w 2992697"/>
                <a:gd name="connsiteY1036" fmla="*/ 649142 h 1030680"/>
                <a:gd name="connsiteX1037" fmla="*/ 1193043 w 2992697"/>
                <a:gd name="connsiteY1037" fmla="*/ 628963 h 1030680"/>
                <a:gd name="connsiteX1038" fmla="*/ 1189007 w 2992697"/>
                <a:gd name="connsiteY1038" fmla="*/ 625859 h 1030680"/>
                <a:gd name="connsiteX1039" fmla="*/ 1185903 w 2992697"/>
                <a:gd name="connsiteY1039" fmla="*/ 623686 h 1030680"/>
                <a:gd name="connsiteX1040" fmla="*/ 1183730 w 2992697"/>
                <a:gd name="connsiteY1040" fmla="*/ 621513 h 1030680"/>
                <a:gd name="connsiteX1041" fmla="*/ 1178452 w 2992697"/>
                <a:gd name="connsiteY1041" fmla="*/ 618408 h 1030680"/>
                <a:gd name="connsiteX1042" fmla="*/ 1172243 w 2992697"/>
                <a:gd name="connsiteY1042" fmla="*/ 616235 h 1030680"/>
                <a:gd name="connsiteX1043" fmla="*/ 1163861 w 2992697"/>
                <a:gd name="connsiteY1043" fmla="*/ 621513 h 1030680"/>
                <a:gd name="connsiteX1044" fmla="*/ 1152375 w 2992697"/>
                <a:gd name="connsiteY1044" fmla="*/ 625859 h 1030680"/>
                <a:gd name="connsiteX1045" fmla="*/ 1139957 w 2992697"/>
                <a:gd name="connsiteY1045" fmla="*/ 626790 h 1030680"/>
                <a:gd name="connsiteX1046" fmla="*/ 1128470 w 2992697"/>
                <a:gd name="connsiteY1046" fmla="*/ 631136 h 1030680"/>
                <a:gd name="connsiteX1047" fmla="*/ 1122262 w 2992697"/>
                <a:gd name="connsiteY1047" fmla="*/ 636414 h 1030680"/>
                <a:gd name="connsiteX1048" fmla="*/ 1128470 w 2992697"/>
                <a:gd name="connsiteY1048" fmla="*/ 636414 h 1030680"/>
                <a:gd name="connsiteX1049" fmla="*/ 1137784 w 2992697"/>
                <a:gd name="connsiteY1049" fmla="*/ 636414 h 1030680"/>
                <a:gd name="connsiteX1050" fmla="*/ 1152375 w 2992697"/>
                <a:gd name="connsiteY1050" fmla="*/ 634241 h 1030680"/>
                <a:gd name="connsiteX1051" fmla="*/ 1169139 w 2992697"/>
                <a:gd name="connsiteY1051" fmla="*/ 633309 h 1030680"/>
                <a:gd name="connsiteX1052" fmla="*/ 1169139 w 2992697"/>
                <a:gd name="connsiteY1052" fmla="*/ 640760 h 1030680"/>
                <a:gd name="connsiteX1053" fmla="*/ 1132506 w 2992697"/>
                <a:gd name="connsiteY1053" fmla="*/ 653488 h 1030680"/>
                <a:gd name="connsiteX1054" fmla="*/ 1132506 w 2992697"/>
                <a:gd name="connsiteY1054" fmla="*/ 656593 h 1030680"/>
                <a:gd name="connsiteX1055" fmla="*/ 1141820 w 2992697"/>
                <a:gd name="connsiteY1055" fmla="*/ 656593 h 1030680"/>
                <a:gd name="connsiteX1056" fmla="*/ 1147097 w 2992697"/>
                <a:gd name="connsiteY1056" fmla="*/ 655662 h 1030680"/>
                <a:gd name="connsiteX1057" fmla="*/ 1154548 w 2992697"/>
                <a:gd name="connsiteY1057" fmla="*/ 653488 h 1030680"/>
                <a:gd name="connsiteX1058" fmla="*/ 1161999 w 2992697"/>
                <a:gd name="connsiteY1058" fmla="*/ 651315 h 1030680"/>
                <a:gd name="connsiteX1059" fmla="*/ 1169449 w 2992697"/>
                <a:gd name="connsiteY1059" fmla="*/ 649142 h 1030680"/>
                <a:gd name="connsiteX1060" fmla="*/ 1171622 w 2992697"/>
                <a:gd name="connsiteY1060" fmla="*/ 658766 h 1030680"/>
                <a:gd name="connsiteX1061" fmla="*/ 1179073 w 2992697"/>
                <a:gd name="connsiteY1061" fmla="*/ 663112 h 1030680"/>
                <a:gd name="connsiteX1062" fmla="*/ 1186524 w 2992697"/>
                <a:gd name="connsiteY1062" fmla="*/ 664044 h 1030680"/>
                <a:gd name="connsiteX1063" fmla="*/ 1198942 w 2992697"/>
                <a:gd name="connsiteY1063" fmla="*/ 663112 h 1030680"/>
                <a:gd name="connsiteX1064" fmla="*/ 1213533 w 2992697"/>
                <a:gd name="connsiteY1064" fmla="*/ 663112 h 1030680"/>
                <a:gd name="connsiteX1065" fmla="*/ 1213533 w 2992697"/>
                <a:gd name="connsiteY1065" fmla="*/ 666217 h 1030680"/>
                <a:gd name="connsiteX1066" fmla="*/ 1209497 w 2992697"/>
                <a:gd name="connsiteY1066" fmla="*/ 666217 h 1030680"/>
                <a:gd name="connsiteX1067" fmla="*/ 1189628 w 2992697"/>
                <a:gd name="connsiteY1067" fmla="*/ 685154 h 1030680"/>
                <a:gd name="connsiteX1068" fmla="*/ 1167587 w 2992697"/>
                <a:gd name="connsiteY1068" fmla="*/ 703160 h 1030680"/>
                <a:gd name="connsiteX1069" fmla="*/ 1145545 w 2992697"/>
                <a:gd name="connsiteY1069" fmla="*/ 718061 h 1030680"/>
                <a:gd name="connsiteX1070" fmla="*/ 1120399 w 2992697"/>
                <a:gd name="connsiteY1070" fmla="*/ 730789 h 1030680"/>
                <a:gd name="connsiteX1071" fmla="*/ 1093390 w 2992697"/>
                <a:gd name="connsiteY1071" fmla="*/ 736067 h 1030680"/>
                <a:gd name="connsiteX1072" fmla="*/ 1062035 w 2992697"/>
                <a:gd name="connsiteY1072" fmla="*/ 735136 h 1030680"/>
                <a:gd name="connsiteX1073" fmla="*/ 1062035 w 2992697"/>
                <a:gd name="connsiteY1073" fmla="*/ 740413 h 1030680"/>
                <a:gd name="connsiteX1074" fmla="*/ 1062035 w 2992697"/>
                <a:gd name="connsiteY1074" fmla="*/ 745691 h 1030680"/>
                <a:gd name="connsiteX1075" fmla="*/ 1059862 w 2992697"/>
                <a:gd name="connsiteY1075" fmla="*/ 750037 h 1030680"/>
                <a:gd name="connsiteX1076" fmla="*/ 1057689 w 2992697"/>
                <a:gd name="connsiteY1076" fmla="*/ 750968 h 1030680"/>
                <a:gd name="connsiteX1077" fmla="*/ 1056757 w 2992697"/>
                <a:gd name="connsiteY1077" fmla="*/ 750968 h 1030680"/>
                <a:gd name="connsiteX1078" fmla="*/ 1054584 w 2992697"/>
                <a:gd name="connsiteY1078" fmla="*/ 753142 h 1030680"/>
                <a:gd name="connsiteX1079" fmla="*/ 1050548 w 2992697"/>
                <a:gd name="connsiteY1079" fmla="*/ 755315 h 1030680"/>
                <a:gd name="connsiteX1080" fmla="*/ 1047444 w 2992697"/>
                <a:gd name="connsiteY1080" fmla="*/ 757488 h 1030680"/>
                <a:gd name="connsiteX1081" fmla="*/ 1045271 w 2992697"/>
                <a:gd name="connsiteY1081" fmla="*/ 758419 h 1030680"/>
                <a:gd name="connsiteX1082" fmla="*/ 1042166 w 2992697"/>
                <a:gd name="connsiteY1082" fmla="*/ 762765 h 1030680"/>
                <a:gd name="connsiteX1083" fmla="*/ 1038131 w 2992697"/>
                <a:gd name="connsiteY1083" fmla="*/ 773321 h 1030680"/>
                <a:gd name="connsiteX1084" fmla="*/ 1035957 w 2992697"/>
                <a:gd name="connsiteY1084" fmla="*/ 786980 h 1030680"/>
                <a:gd name="connsiteX1085" fmla="*/ 1032853 w 2992697"/>
                <a:gd name="connsiteY1085" fmla="*/ 795362 h 1030680"/>
                <a:gd name="connsiteX1086" fmla="*/ 1023540 w 2992697"/>
                <a:gd name="connsiteY1086" fmla="*/ 804986 h 1030680"/>
                <a:gd name="connsiteX1087" fmla="*/ 1008017 w 2992697"/>
                <a:gd name="connsiteY1087" fmla="*/ 815541 h 1030680"/>
                <a:gd name="connsiteX1088" fmla="*/ 987218 w 2992697"/>
                <a:gd name="connsiteY1088" fmla="*/ 825165 h 1030680"/>
                <a:gd name="connsiteX1089" fmla="*/ 969522 w 2992697"/>
                <a:gd name="connsiteY1089" fmla="*/ 832616 h 1030680"/>
                <a:gd name="connsiteX1090" fmla="*/ 952758 w 2992697"/>
                <a:gd name="connsiteY1090" fmla="*/ 836962 h 1030680"/>
                <a:gd name="connsiteX1091" fmla="*/ 952758 w 2992697"/>
                <a:gd name="connsiteY1091" fmla="*/ 832616 h 1030680"/>
                <a:gd name="connsiteX1092" fmla="*/ 952758 w 2992697"/>
                <a:gd name="connsiteY1092" fmla="*/ 829511 h 1030680"/>
                <a:gd name="connsiteX1093" fmla="*/ 950585 w 2992697"/>
                <a:gd name="connsiteY1093" fmla="*/ 829511 h 1030680"/>
                <a:gd name="connsiteX1094" fmla="*/ 950585 w 2992697"/>
                <a:gd name="connsiteY1094" fmla="*/ 827338 h 1030680"/>
                <a:gd name="connsiteX1095" fmla="*/ 949654 w 2992697"/>
                <a:gd name="connsiteY1095" fmla="*/ 825165 h 1030680"/>
                <a:gd name="connsiteX1096" fmla="*/ 947480 w 2992697"/>
                <a:gd name="connsiteY1096" fmla="*/ 840066 h 1030680"/>
                <a:gd name="connsiteX1097" fmla="*/ 942203 w 2992697"/>
                <a:gd name="connsiteY1097" fmla="*/ 852795 h 1030680"/>
                <a:gd name="connsiteX1098" fmla="*/ 938167 w 2992697"/>
                <a:gd name="connsiteY1098" fmla="*/ 864281 h 1030680"/>
                <a:gd name="connsiteX1099" fmla="*/ 932890 w 2992697"/>
                <a:gd name="connsiteY1099" fmla="*/ 874836 h 1030680"/>
                <a:gd name="connsiteX1100" fmla="*/ 928854 w 2992697"/>
                <a:gd name="connsiteY1100" fmla="*/ 889738 h 1030680"/>
                <a:gd name="connsiteX1101" fmla="*/ 932890 w 2992697"/>
                <a:gd name="connsiteY1101" fmla="*/ 891911 h 1030680"/>
                <a:gd name="connsiteX1102" fmla="*/ 932890 w 2992697"/>
                <a:gd name="connsiteY1102" fmla="*/ 894084 h 1030680"/>
                <a:gd name="connsiteX1103" fmla="*/ 935063 w 2992697"/>
                <a:gd name="connsiteY1103" fmla="*/ 894084 h 1030680"/>
                <a:gd name="connsiteX1104" fmla="*/ 935063 w 2992697"/>
                <a:gd name="connsiteY1104" fmla="*/ 894084 h 1030680"/>
                <a:gd name="connsiteX1105" fmla="*/ 935063 w 2992697"/>
                <a:gd name="connsiteY1105" fmla="*/ 896257 h 1030680"/>
                <a:gd name="connsiteX1106" fmla="*/ 932890 w 2992697"/>
                <a:gd name="connsiteY1106" fmla="*/ 897188 h 1030680"/>
                <a:gd name="connsiteX1107" fmla="*/ 928854 w 2992697"/>
                <a:gd name="connsiteY1107" fmla="*/ 901535 h 1030680"/>
                <a:gd name="connsiteX1108" fmla="*/ 925749 w 2992697"/>
                <a:gd name="connsiteY1108" fmla="*/ 903708 h 1030680"/>
                <a:gd name="connsiteX1109" fmla="*/ 922645 w 2992697"/>
                <a:gd name="connsiteY1109" fmla="*/ 906812 h 1030680"/>
                <a:gd name="connsiteX1110" fmla="*/ 918609 w 2992697"/>
                <a:gd name="connsiteY1110" fmla="*/ 908985 h 1030680"/>
                <a:gd name="connsiteX1111" fmla="*/ 916436 w 2992697"/>
                <a:gd name="connsiteY1111" fmla="*/ 912090 h 1030680"/>
                <a:gd name="connsiteX1112" fmla="*/ 913331 w 2992697"/>
                <a:gd name="connsiteY1112" fmla="*/ 917367 h 1030680"/>
                <a:gd name="connsiteX1113" fmla="*/ 905881 w 2992697"/>
                <a:gd name="connsiteY1113" fmla="*/ 938478 h 1030680"/>
                <a:gd name="connsiteX1114" fmla="*/ 900603 w 2992697"/>
                <a:gd name="connsiteY1114" fmla="*/ 960519 h 1030680"/>
                <a:gd name="connsiteX1115" fmla="*/ 898430 w 2992697"/>
                <a:gd name="connsiteY1115" fmla="*/ 985976 h 1030680"/>
                <a:gd name="connsiteX1116" fmla="*/ 894394 w 2992697"/>
                <a:gd name="connsiteY1116" fmla="*/ 1010191 h 1030680"/>
                <a:gd name="connsiteX1117" fmla="*/ 889117 w 2992697"/>
                <a:gd name="connsiteY1117" fmla="*/ 1032232 h 1030680"/>
                <a:gd name="connsiteX1118" fmla="*/ 886012 w 2992697"/>
                <a:gd name="connsiteY1118" fmla="*/ 1030059 h 1030680"/>
                <a:gd name="connsiteX1119" fmla="*/ 886012 w 2992697"/>
                <a:gd name="connsiteY1119" fmla="*/ 1030059 h 1030680"/>
                <a:gd name="connsiteX1120" fmla="*/ 883839 w 2992697"/>
                <a:gd name="connsiteY1120" fmla="*/ 1030059 h 1030680"/>
                <a:gd name="connsiteX1121" fmla="*/ 883839 w 2992697"/>
                <a:gd name="connsiteY1121" fmla="*/ 1027886 h 1030680"/>
                <a:gd name="connsiteX1122" fmla="*/ 881666 w 2992697"/>
                <a:gd name="connsiteY1122" fmla="*/ 1027886 h 1030680"/>
                <a:gd name="connsiteX1123" fmla="*/ 876388 w 2992697"/>
                <a:gd name="connsiteY1123" fmla="*/ 1024782 h 1030680"/>
                <a:gd name="connsiteX1124" fmla="*/ 867075 w 2992697"/>
                <a:gd name="connsiteY1124" fmla="*/ 1017331 h 1030680"/>
                <a:gd name="connsiteX1125" fmla="*/ 852484 w 2992697"/>
                <a:gd name="connsiteY1125" fmla="*/ 1005844 h 1030680"/>
                <a:gd name="connsiteX1126" fmla="*/ 835720 w 2992697"/>
                <a:gd name="connsiteY1126" fmla="*/ 996221 h 1030680"/>
                <a:gd name="connsiteX1127" fmla="*/ 820198 w 2992697"/>
                <a:gd name="connsiteY1127" fmla="*/ 985665 h 1030680"/>
                <a:gd name="connsiteX1128" fmla="*/ 807780 w 2992697"/>
                <a:gd name="connsiteY1128" fmla="*/ 976042 h 1030680"/>
                <a:gd name="connsiteX1129" fmla="*/ 796294 w 2992697"/>
                <a:gd name="connsiteY1129" fmla="*/ 970764 h 1030680"/>
                <a:gd name="connsiteX1130" fmla="*/ 793189 w 2992697"/>
                <a:gd name="connsiteY1130" fmla="*/ 968591 h 1030680"/>
                <a:gd name="connsiteX1131" fmla="*/ 789153 w 2992697"/>
                <a:gd name="connsiteY1131" fmla="*/ 928543 h 1030680"/>
                <a:gd name="connsiteX1132" fmla="*/ 786980 w 2992697"/>
                <a:gd name="connsiteY1132" fmla="*/ 924197 h 1030680"/>
                <a:gd name="connsiteX1133" fmla="*/ 781703 w 2992697"/>
                <a:gd name="connsiteY1133" fmla="*/ 921093 h 1030680"/>
                <a:gd name="connsiteX1134" fmla="*/ 778598 w 2992697"/>
                <a:gd name="connsiteY1134" fmla="*/ 918920 h 1030680"/>
                <a:gd name="connsiteX1135" fmla="*/ 772389 w 2992697"/>
                <a:gd name="connsiteY1135" fmla="*/ 914573 h 1030680"/>
                <a:gd name="connsiteX1136" fmla="*/ 769285 w 2992697"/>
                <a:gd name="connsiteY1136" fmla="*/ 911469 h 1030680"/>
                <a:gd name="connsiteX1137" fmla="*/ 772389 w 2992697"/>
                <a:gd name="connsiteY1137" fmla="*/ 909296 h 1030680"/>
                <a:gd name="connsiteX1138" fmla="*/ 772389 w 2992697"/>
                <a:gd name="connsiteY1138" fmla="*/ 907123 h 1030680"/>
                <a:gd name="connsiteX1139" fmla="*/ 774562 w 2992697"/>
                <a:gd name="connsiteY1139" fmla="*/ 906191 h 1030680"/>
                <a:gd name="connsiteX1140" fmla="*/ 774562 w 2992697"/>
                <a:gd name="connsiteY1140" fmla="*/ 906191 h 1030680"/>
                <a:gd name="connsiteX1141" fmla="*/ 776735 w 2992697"/>
                <a:gd name="connsiteY1141" fmla="*/ 901845 h 1030680"/>
                <a:gd name="connsiteX1142" fmla="*/ 778908 w 2992697"/>
                <a:gd name="connsiteY1142" fmla="*/ 898741 h 1030680"/>
                <a:gd name="connsiteX1143" fmla="*/ 769595 w 2992697"/>
                <a:gd name="connsiteY1143" fmla="*/ 898741 h 1030680"/>
                <a:gd name="connsiteX1144" fmla="*/ 764317 w 2992697"/>
                <a:gd name="connsiteY1144" fmla="*/ 898741 h 1030680"/>
                <a:gd name="connsiteX1145" fmla="*/ 760282 w 2992697"/>
                <a:gd name="connsiteY1145" fmla="*/ 898741 h 1030680"/>
                <a:gd name="connsiteX1146" fmla="*/ 758109 w 2992697"/>
                <a:gd name="connsiteY1146" fmla="*/ 896567 h 1030680"/>
                <a:gd name="connsiteX1147" fmla="*/ 757177 w 2992697"/>
                <a:gd name="connsiteY1147" fmla="*/ 893463 h 1030680"/>
                <a:gd name="connsiteX1148" fmla="*/ 753141 w 2992697"/>
                <a:gd name="connsiteY1148" fmla="*/ 887254 h 1030680"/>
                <a:gd name="connsiteX1149" fmla="*/ 750968 w 2992697"/>
                <a:gd name="connsiteY1149" fmla="*/ 884150 h 1030680"/>
                <a:gd name="connsiteX1150" fmla="*/ 750968 w 2992697"/>
                <a:gd name="connsiteY1150" fmla="*/ 879803 h 1030680"/>
                <a:gd name="connsiteX1151" fmla="*/ 750968 w 2992697"/>
                <a:gd name="connsiteY1151" fmla="*/ 878872 h 1030680"/>
                <a:gd name="connsiteX1152" fmla="*/ 750968 w 2992697"/>
                <a:gd name="connsiteY1152" fmla="*/ 874526 h 1030680"/>
                <a:gd name="connsiteX1153" fmla="*/ 753141 w 2992697"/>
                <a:gd name="connsiteY1153" fmla="*/ 871421 h 1030680"/>
                <a:gd name="connsiteX1154" fmla="*/ 753141 w 2992697"/>
                <a:gd name="connsiteY1154" fmla="*/ 867075 h 1030680"/>
                <a:gd name="connsiteX1155" fmla="*/ 742586 w 2992697"/>
                <a:gd name="connsiteY1155" fmla="*/ 867075 h 1030680"/>
                <a:gd name="connsiteX1156" fmla="*/ 742586 w 2992697"/>
                <a:gd name="connsiteY1156" fmla="*/ 861798 h 1030680"/>
                <a:gd name="connsiteX1157" fmla="*/ 743518 w 2992697"/>
                <a:gd name="connsiteY1157" fmla="*/ 856520 h 1030680"/>
                <a:gd name="connsiteX1158" fmla="*/ 745691 w 2992697"/>
                <a:gd name="connsiteY1158" fmla="*/ 854347 h 1030680"/>
                <a:gd name="connsiteX1159" fmla="*/ 745691 w 2992697"/>
                <a:gd name="connsiteY1159" fmla="*/ 850622 h 1030680"/>
                <a:gd name="connsiteX1160" fmla="*/ 747864 w 2992697"/>
                <a:gd name="connsiteY1160" fmla="*/ 847517 h 1030680"/>
                <a:gd name="connsiteX1161" fmla="*/ 750037 w 2992697"/>
                <a:gd name="connsiteY1161" fmla="*/ 842239 h 1030680"/>
                <a:gd name="connsiteX1162" fmla="*/ 743828 w 2992697"/>
                <a:gd name="connsiteY1162" fmla="*/ 842239 h 1030680"/>
                <a:gd name="connsiteX1163" fmla="*/ 737619 w 2992697"/>
                <a:gd name="connsiteY1163" fmla="*/ 842239 h 1030680"/>
                <a:gd name="connsiteX1164" fmla="*/ 734515 w 2992697"/>
                <a:gd name="connsiteY1164" fmla="*/ 840066 h 1030680"/>
                <a:gd name="connsiteX1165" fmla="*/ 728306 w 2992697"/>
                <a:gd name="connsiteY1165" fmla="*/ 837893 h 1030680"/>
                <a:gd name="connsiteX1166" fmla="*/ 727375 w 2992697"/>
                <a:gd name="connsiteY1166" fmla="*/ 810574 h 1030680"/>
                <a:gd name="connsiteX1167" fmla="*/ 725201 w 2992697"/>
                <a:gd name="connsiteY1167" fmla="*/ 785117 h 1030680"/>
                <a:gd name="connsiteX1168" fmla="*/ 725201 w 2992697"/>
                <a:gd name="connsiteY1168" fmla="*/ 760903 h 1030680"/>
                <a:gd name="connsiteX1169" fmla="*/ 732652 w 2992697"/>
                <a:gd name="connsiteY1169" fmla="*/ 736688 h 1030680"/>
                <a:gd name="connsiteX1170" fmla="*/ 740103 w 2992697"/>
                <a:gd name="connsiteY1170" fmla="*/ 726133 h 1030680"/>
                <a:gd name="connsiteX1171" fmla="*/ 749416 w 2992697"/>
                <a:gd name="connsiteY1171" fmla="*/ 718682 h 1030680"/>
                <a:gd name="connsiteX1172" fmla="*/ 756867 w 2992697"/>
                <a:gd name="connsiteY1172" fmla="*/ 712473 h 1030680"/>
                <a:gd name="connsiteX1173" fmla="*/ 762144 w 2992697"/>
                <a:gd name="connsiteY1173" fmla="*/ 704091 h 1030680"/>
                <a:gd name="connsiteX1174" fmla="*/ 767422 w 2992697"/>
                <a:gd name="connsiteY1174" fmla="*/ 692605 h 1030680"/>
                <a:gd name="connsiteX1175" fmla="*/ 769595 w 2992697"/>
                <a:gd name="connsiteY1175" fmla="*/ 672426 h 1030680"/>
                <a:gd name="connsiteX1176" fmla="*/ 765559 w 2992697"/>
                <a:gd name="connsiteY1176" fmla="*/ 672426 h 1030680"/>
                <a:gd name="connsiteX1177" fmla="*/ 762455 w 2992697"/>
                <a:gd name="connsiteY1177" fmla="*/ 676772 h 1030680"/>
                <a:gd name="connsiteX1178" fmla="*/ 758419 w 2992697"/>
                <a:gd name="connsiteY1178" fmla="*/ 677703 h 1030680"/>
                <a:gd name="connsiteX1179" fmla="*/ 757488 w 2992697"/>
                <a:gd name="connsiteY1179" fmla="*/ 677703 h 1030680"/>
                <a:gd name="connsiteX1180" fmla="*/ 753452 w 2992697"/>
                <a:gd name="connsiteY1180" fmla="*/ 677703 h 1030680"/>
                <a:gd name="connsiteX1181" fmla="*/ 750347 w 2992697"/>
                <a:gd name="connsiteY1181" fmla="*/ 676772 h 1030680"/>
                <a:gd name="connsiteX1182" fmla="*/ 735757 w 2992697"/>
                <a:gd name="connsiteY1182" fmla="*/ 672426 h 1030680"/>
                <a:gd name="connsiteX1183" fmla="*/ 724270 w 2992697"/>
                <a:gd name="connsiteY1183" fmla="*/ 664975 h 1030680"/>
                <a:gd name="connsiteX1184" fmla="*/ 716819 w 2992697"/>
                <a:gd name="connsiteY1184" fmla="*/ 654420 h 1030680"/>
                <a:gd name="connsiteX1185" fmla="*/ 713715 w 2992697"/>
                <a:gd name="connsiteY1185" fmla="*/ 635483 h 1030680"/>
                <a:gd name="connsiteX1186" fmla="*/ 718992 w 2992697"/>
                <a:gd name="connsiteY1186" fmla="*/ 635483 h 1030680"/>
                <a:gd name="connsiteX1187" fmla="*/ 718992 w 2992697"/>
                <a:gd name="connsiteY1187" fmla="*/ 632378 h 1030680"/>
                <a:gd name="connsiteX1188" fmla="*/ 728306 w 2992697"/>
                <a:gd name="connsiteY1188" fmla="*/ 637656 h 1030680"/>
                <a:gd name="connsiteX1189" fmla="*/ 738861 w 2992697"/>
                <a:gd name="connsiteY1189" fmla="*/ 645106 h 1030680"/>
                <a:gd name="connsiteX1190" fmla="*/ 748174 w 2992697"/>
                <a:gd name="connsiteY1190" fmla="*/ 648211 h 1030680"/>
                <a:gd name="connsiteX1191" fmla="*/ 758729 w 2992697"/>
                <a:gd name="connsiteY1191" fmla="*/ 648211 h 1030680"/>
                <a:gd name="connsiteX1192" fmla="*/ 758729 w 2992697"/>
                <a:gd name="connsiteY1192" fmla="*/ 647280 h 1030680"/>
                <a:gd name="connsiteX1193" fmla="*/ 760903 w 2992697"/>
                <a:gd name="connsiteY1193" fmla="*/ 645106 h 1030680"/>
                <a:gd name="connsiteX1194" fmla="*/ 760903 w 2992697"/>
                <a:gd name="connsiteY1194" fmla="*/ 645106 h 1030680"/>
                <a:gd name="connsiteX1195" fmla="*/ 760903 w 2992697"/>
                <a:gd name="connsiteY1195" fmla="*/ 642623 h 1030680"/>
                <a:gd name="connsiteX1196" fmla="*/ 763076 w 2992697"/>
                <a:gd name="connsiteY1196" fmla="*/ 639518 h 1030680"/>
                <a:gd name="connsiteX1197" fmla="*/ 743207 w 2992697"/>
                <a:gd name="connsiteY1197" fmla="*/ 624617 h 1030680"/>
                <a:gd name="connsiteX1198" fmla="*/ 726443 w 2992697"/>
                <a:gd name="connsiteY1198" fmla="*/ 603507 h 1030680"/>
                <a:gd name="connsiteX1199" fmla="*/ 721166 w 2992697"/>
                <a:gd name="connsiteY1199" fmla="*/ 605680 h 1030680"/>
                <a:gd name="connsiteX1200" fmla="*/ 717130 w 2992697"/>
                <a:gd name="connsiteY1200" fmla="*/ 607853 h 1030680"/>
                <a:gd name="connsiteX1201" fmla="*/ 711852 w 2992697"/>
                <a:gd name="connsiteY1201" fmla="*/ 610026 h 1030680"/>
                <a:gd name="connsiteX1202" fmla="*/ 706575 w 2992697"/>
                <a:gd name="connsiteY1202" fmla="*/ 610957 h 1030680"/>
                <a:gd name="connsiteX1203" fmla="*/ 702539 w 2992697"/>
                <a:gd name="connsiteY1203" fmla="*/ 607853 h 1030680"/>
                <a:gd name="connsiteX1204" fmla="*/ 701608 w 2992697"/>
                <a:gd name="connsiteY1204" fmla="*/ 605680 h 1030680"/>
                <a:gd name="connsiteX1205" fmla="*/ 699434 w 2992697"/>
                <a:gd name="connsiteY1205" fmla="*/ 602575 h 1030680"/>
                <a:gd name="connsiteX1206" fmla="*/ 697261 w 2992697"/>
                <a:gd name="connsiteY1206" fmla="*/ 600402 h 1030680"/>
                <a:gd name="connsiteX1207" fmla="*/ 694157 w 2992697"/>
                <a:gd name="connsiteY1207" fmla="*/ 595125 h 1030680"/>
                <a:gd name="connsiteX1208" fmla="*/ 704712 w 2992697"/>
                <a:gd name="connsiteY1208" fmla="*/ 583638 h 1030680"/>
                <a:gd name="connsiteX1209" fmla="*/ 706885 w 2992697"/>
                <a:gd name="connsiteY1209" fmla="*/ 567805 h 1030680"/>
                <a:gd name="connsiteX1210" fmla="*/ 704712 w 2992697"/>
                <a:gd name="connsiteY1210" fmla="*/ 546695 h 1030680"/>
                <a:gd name="connsiteX1211" fmla="*/ 699434 w 2992697"/>
                <a:gd name="connsiteY1211" fmla="*/ 524653 h 1030680"/>
                <a:gd name="connsiteX1212" fmla="*/ 690121 w 2992697"/>
                <a:gd name="connsiteY1212" fmla="*/ 501370 h 1030680"/>
                <a:gd name="connsiteX1213" fmla="*/ 679566 w 2992697"/>
                <a:gd name="connsiteY1213" fmla="*/ 479328 h 1030680"/>
                <a:gd name="connsiteX1214" fmla="*/ 665906 w 2992697"/>
                <a:gd name="connsiteY1214" fmla="*/ 459149 h 1030680"/>
                <a:gd name="connsiteX1215" fmla="*/ 655351 w 2992697"/>
                <a:gd name="connsiteY1215" fmla="*/ 440212 h 1030680"/>
                <a:gd name="connsiteX1216" fmla="*/ 646038 w 2992697"/>
                <a:gd name="connsiteY1216" fmla="*/ 425311 h 1030680"/>
                <a:gd name="connsiteX1217" fmla="*/ 623996 w 2992697"/>
                <a:gd name="connsiteY1217" fmla="*/ 410409 h 1030680"/>
                <a:gd name="connsiteX1218" fmla="*/ 598850 w 2992697"/>
                <a:gd name="connsiteY1218" fmla="*/ 405132 h 1030680"/>
                <a:gd name="connsiteX1219" fmla="*/ 572772 w 2992697"/>
                <a:gd name="connsiteY1219" fmla="*/ 405132 h 1030680"/>
                <a:gd name="connsiteX1220" fmla="*/ 543591 w 2992697"/>
                <a:gd name="connsiteY1220" fmla="*/ 405132 h 1030680"/>
                <a:gd name="connsiteX1221" fmla="*/ 515340 w 2992697"/>
                <a:gd name="connsiteY1221" fmla="*/ 407305 h 1030680"/>
                <a:gd name="connsiteX1222" fmla="*/ 486158 w 2992697"/>
                <a:gd name="connsiteY1222" fmla="*/ 405132 h 1030680"/>
                <a:gd name="connsiteX1223" fmla="*/ 486158 w 2992697"/>
                <a:gd name="connsiteY1223" fmla="*/ 399854 h 1030680"/>
                <a:gd name="connsiteX1224" fmla="*/ 486158 w 2992697"/>
                <a:gd name="connsiteY1224" fmla="*/ 395508 h 1030680"/>
                <a:gd name="connsiteX1225" fmla="*/ 487089 w 2992697"/>
                <a:gd name="connsiteY1225" fmla="*/ 394577 h 1030680"/>
                <a:gd name="connsiteX1226" fmla="*/ 487089 w 2992697"/>
                <a:gd name="connsiteY1226" fmla="*/ 392404 h 1030680"/>
                <a:gd name="connsiteX1227" fmla="*/ 487089 w 2992697"/>
                <a:gd name="connsiteY1227" fmla="*/ 390230 h 1030680"/>
                <a:gd name="connsiteX1228" fmla="*/ 486158 w 2992697"/>
                <a:gd name="connsiteY1228" fmla="*/ 388057 h 1030680"/>
                <a:gd name="connsiteX1229" fmla="*/ 474672 w 2992697"/>
                <a:gd name="connsiteY1229" fmla="*/ 382780 h 1030680"/>
                <a:gd name="connsiteX1230" fmla="*/ 464116 w 2992697"/>
                <a:gd name="connsiteY1230" fmla="*/ 379675 h 1030680"/>
                <a:gd name="connsiteX1231" fmla="*/ 452630 w 2992697"/>
                <a:gd name="connsiteY1231" fmla="*/ 372225 h 1030680"/>
                <a:gd name="connsiteX1232" fmla="*/ 461943 w 2992697"/>
                <a:gd name="connsiteY1232" fmla="*/ 372225 h 1030680"/>
                <a:gd name="connsiteX1233" fmla="*/ 472499 w 2992697"/>
                <a:gd name="connsiteY1233" fmla="*/ 367878 h 1030680"/>
                <a:gd name="connsiteX1234" fmla="*/ 487089 w 2992697"/>
                <a:gd name="connsiteY1234" fmla="*/ 364774 h 1030680"/>
                <a:gd name="connsiteX1235" fmla="*/ 503854 w 2992697"/>
                <a:gd name="connsiteY1235" fmla="*/ 362601 h 1030680"/>
                <a:gd name="connsiteX1236" fmla="*/ 516271 w 2992697"/>
                <a:gd name="connsiteY1236" fmla="*/ 358254 h 1030680"/>
                <a:gd name="connsiteX1237" fmla="*/ 525585 w 2992697"/>
                <a:gd name="connsiteY1237" fmla="*/ 350804 h 1030680"/>
                <a:gd name="connsiteX1238" fmla="*/ 481812 w 2992697"/>
                <a:gd name="connsiteY1238" fmla="*/ 350804 h 1030680"/>
                <a:gd name="connsiteX1239" fmla="*/ 471257 w 2992697"/>
                <a:gd name="connsiteY1239" fmla="*/ 347699 h 1030680"/>
                <a:gd name="connsiteX1240" fmla="*/ 461943 w 2992697"/>
                <a:gd name="connsiteY1240" fmla="*/ 347699 h 1030680"/>
                <a:gd name="connsiteX1241" fmla="*/ 450457 w 2992697"/>
                <a:gd name="connsiteY1241" fmla="*/ 345526 h 1030680"/>
                <a:gd name="connsiteX1242" fmla="*/ 442075 w 2992697"/>
                <a:gd name="connsiteY1242" fmla="*/ 343353 h 1030680"/>
                <a:gd name="connsiteX1243" fmla="*/ 432761 w 2992697"/>
                <a:gd name="connsiteY1243" fmla="*/ 340249 h 1030680"/>
                <a:gd name="connsiteX1244" fmla="*/ 427484 w 2992697"/>
                <a:gd name="connsiteY1244" fmla="*/ 330625 h 1030680"/>
                <a:gd name="connsiteX1245" fmla="*/ 425311 w 2992697"/>
                <a:gd name="connsiteY1245" fmla="*/ 315723 h 1030680"/>
                <a:gd name="connsiteX1246" fmla="*/ 447352 w 2992697"/>
                <a:gd name="connsiteY1246" fmla="*/ 312619 h 1030680"/>
                <a:gd name="connsiteX1247" fmla="*/ 467221 w 2992697"/>
                <a:gd name="connsiteY1247" fmla="*/ 305168 h 1030680"/>
                <a:gd name="connsiteX1248" fmla="*/ 483985 w 2992697"/>
                <a:gd name="connsiteY1248" fmla="*/ 297718 h 1030680"/>
                <a:gd name="connsiteX1249" fmla="*/ 501680 w 2992697"/>
                <a:gd name="connsiteY1249" fmla="*/ 290267 h 1030680"/>
                <a:gd name="connsiteX1250" fmla="*/ 538313 w 2992697"/>
                <a:gd name="connsiteY1250" fmla="*/ 290267 h 1030680"/>
                <a:gd name="connsiteX1251" fmla="*/ 552904 w 2992697"/>
                <a:gd name="connsiteY1251" fmla="*/ 241837 h 1030680"/>
                <a:gd name="connsiteX1252" fmla="*/ 518444 w 2992697"/>
                <a:gd name="connsiteY1252" fmla="*/ 241837 h 1030680"/>
                <a:gd name="connsiteX1253" fmla="*/ 509131 w 2992697"/>
                <a:gd name="connsiteY1253" fmla="*/ 229109 h 1030680"/>
                <a:gd name="connsiteX1254" fmla="*/ 520618 w 2992697"/>
                <a:gd name="connsiteY1254" fmla="*/ 221658 h 1030680"/>
                <a:gd name="connsiteX1255" fmla="*/ 529000 w 2992697"/>
                <a:gd name="connsiteY1255" fmla="*/ 214208 h 1030680"/>
                <a:gd name="connsiteX1256" fmla="*/ 540486 w 2992697"/>
                <a:gd name="connsiteY1256" fmla="*/ 208930 h 1030680"/>
                <a:gd name="connsiteX1257" fmla="*/ 552904 w 2992697"/>
                <a:gd name="connsiteY1257" fmla="*/ 204584 h 1030680"/>
                <a:gd name="connsiteX1258" fmla="*/ 552904 w 2992697"/>
                <a:gd name="connsiteY1258" fmla="*/ 191856 h 1030680"/>
                <a:gd name="connsiteX1259" fmla="*/ 567495 w 2992697"/>
                <a:gd name="connsiteY1259" fmla="*/ 184405 h 1030680"/>
                <a:gd name="connsiteX1260" fmla="*/ 574946 w 2992697"/>
                <a:gd name="connsiteY1260" fmla="*/ 176023 h 1030680"/>
                <a:gd name="connsiteX1261" fmla="*/ 582396 w 2992697"/>
                <a:gd name="connsiteY1261" fmla="*/ 164536 h 1030680"/>
                <a:gd name="connsiteX1262" fmla="*/ 593883 w 2992697"/>
                <a:gd name="connsiteY1262" fmla="*/ 157086 h 1030680"/>
                <a:gd name="connsiteX1263" fmla="*/ 606301 w 2992697"/>
                <a:gd name="connsiteY1263" fmla="*/ 151808 h 1030680"/>
                <a:gd name="connsiteX1264" fmla="*/ 616856 w 2992697"/>
                <a:gd name="connsiteY1264" fmla="*/ 151808 h 1030680"/>
                <a:gd name="connsiteX1265" fmla="*/ 626169 w 2992697"/>
                <a:gd name="connsiteY1265" fmla="*/ 154912 h 1030680"/>
                <a:gd name="connsiteX1266" fmla="*/ 638587 w 2992697"/>
                <a:gd name="connsiteY1266" fmla="*/ 153981 h 1030680"/>
                <a:gd name="connsiteX1267" fmla="*/ 629274 w 2992697"/>
                <a:gd name="connsiteY1267" fmla="*/ 149635 h 1030680"/>
                <a:gd name="connsiteX1268" fmla="*/ 623996 w 2992697"/>
                <a:gd name="connsiteY1268" fmla="*/ 147462 h 1030680"/>
                <a:gd name="connsiteX1269" fmla="*/ 618718 w 2992697"/>
                <a:gd name="connsiteY1269" fmla="*/ 146530 h 1030680"/>
                <a:gd name="connsiteX1270" fmla="*/ 613441 w 2992697"/>
                <a:gd name="connsiteY1270" fmla="*/ 140322 h 1030680"/>
                <a:gd name="connsiteX1271" fmla="*/ 631136 w 2992697"/>
                <a:gd name="connsiteY1271" fmla="*/ 137217 h 1030680"/>
                <a:gd name="connsiteX1272" fmla="*/ 647900 w 2992697"/>
                <a:gd name="connsiteY1272" fmla="*/ 131939 h 1030680"/>
                <a:gd name="connsiteX1273" fmla="*/ 662491 w 2992697"/>
                <a:gd name="connsiteY1273" fmla="*/ 127593 h 1030680"/>
                <a:gd name="connsiteX1274" fmla="*/ 679255 w 2992697"/>
                <a:gd name="connsiteY1274" fmla="*/ 124489 h 1030680"/>
                <a:gd name="connsiteX1275" fmla="*/ 680187 w 2992697"/>
                <a:gd name="connsiteY1275" fmla="*/ 131939 h 1030680"/>
                <a:gd name="connsiteX1276" fmla="*/ 682360 w 2992697"/>
                <a:gd name="connsiteY1276" fmla="*/ 135044 h 1030680"/>
                <a:gd name="connsiteX1277" fmla="*/ 684533 w 2992697"/>
                <a:gd name="connsiteY1277" fmla="*/ 140322 h 1030680"/>
                <a:gd name="connsiteX1278" fmla="*/ 686706 w 2992697"/>
                <a:gd name="connsiteY1278" fmla="*/ 144668 h 1030680"/>
                <a:gd name="connsiteX1279" fmla="*/ 691984 w 2992697"/>
                <a:gd name="connsiteY1279" fmla="*/ 146841 h 1030680"/>
                <a:gd name="connsiteX1280" fmla="*/ 699434 w 2992697"/>
                <a:gd name="connsiteY1280" fmla="*/ 147772 h 1030680"/>
                <a:gd name="connsiteX1281" fmla="*/ 699434 w 2992697"/>
                <a:gd name="connsiteY1281" fmla="*/ 142495 h 1030680"/>
                <a:gd name="connsiteX1282" fmla="*/ 702539 w 2992697"/>
                <a:gd name="connsiteY1282" fmla="*/ 137217 h 1030680"/>
                <a:gd name="connsiteX1283" fmla="*/ 704712 w 2992697"/>
                <a:gd name="connsiteY1283" fmla="*/ 129766 h 1030680"/>
                <a:gd name="connsiteX1284" fmla="*/ 706885 w 2992697"/>
                <a:gd name="connsiteY1284" fmla="*/ 124489 h 1030680"/>
                <a:gd name="connsiteX1285" fmla="*/ 709989 w 2992697"/>
                <a:gd name="connsiteY1285" fmla="*/ 129766 h 1030680"/>
                <a:gd name="connsiteX1286" fmla="*/ 716198 w 2992697"/>
                <a:gd name="connsiteY1286" fmla="*/ 135044 h 1030680"/>
                <a:gd name="connsiteX1287" fmla="*/ 719303 w 2992697"/>
                <a:gd name="connsiteY1287" fmla="*/ 139390 h 1030680"/>
                <a:gd name="connsiteX1288" fmla="*/ 726754 w 2992697"/>
                <a:gd name="connsiteY1288" fmla="*/ 142495 h 1030680"/>
                <a:gd name="connsiteX1289" fmla="*/ 734204 w 2992697"/>
                <a:gd name="connsiteY1289" fmla="*/ 144668 h 1030680"/>
                <a:gd name="connsiteX1290" fmla="*/ 730168 w 2992697"/>
                <a:gd name="connsiteY1290" fmla="*/ 120453 h 1030680"/>
                <a:gd name="connsiteX1291" fmla="*/ 743828 w 2992697"/>
                <a:gd name="connsiteY1291" fmla="*/ 117349 h 1030680"/>
                <a:gd name="connsiteX1292" fmla="*/ 754383 w 2992697"/>
                <a:gd name="connsiteY1292" fmla="*/ 113002 h 1030680"/>
                <a:gd name="connsiteX1293" fmla="*/ 771147 w 2992697"/>
                <a:gd name="connsiteY1293" fmla="*/ 117349 h 1030680"/>
                <a:gd name="connsiteX1294" fmla="*/ 788843 w 2992697"/>
                <a:gd name="connsiteY1294" fmla="*/ 124799 h 1030680"/>
                <a:gd name="connsiteX1295" fmla="*/ 807780 w 2992697"/>
                <a:gd name="connsiteY1295" fmla="*/ 135354 h 1030680"/>
                <a:gd name="connsiteX1296" fmla="*/ 827648 w 2992697"/>
                <a:gd name="connsiteY1296" fmla="*/ 144978 h 1030680"/>
                <a:gd name="connsiteX1297" fmla="*/ 844413 w 2992697"/>
                <a:gd name="connsiteY1297" fmla="*/ 152429 h 1030680"/>
                <a:gd name="connsiteX1298" fmla="*/ 859935 w 2992697"/>
                <a:gd name="connsiteY1298" fmla="*/ 157706 h 1030680"/>
                <a:gd name="connsiteX1299" fmla="*/ 859935 w 2992697"/>
                <a:gd name="connsiteY1299" fmla="*/ 154602 h 1030680"/>
                <a:gd name="connsiteX1300" fmla="*/ 849380 w 2992697"/>
                <a:gd name="connsiteY1300" fmla="*/ 144978 h 1030680"/>
                <a:gd name="connsiteX1301" fmla="*/ 841929 w 2992697"/>
                <a:gd name="connsiteY1301" fmla="*/ 137527 h 1030680"/>
                <a:gd name="connsiteX1302" fmla="*/ 837893 w 2992697"/>
                <a:gd name="connsiteY1302" fmla="*/ 127904 h 1030680"/>
                <a:gd name="connsiteX1303" fmla="*/ 844102 w 2992697"/>
                <a:gd name="connsiteY1303" fmla="*/ 117349 h 1030680"/>
                <a:gd name="connsiteX1304" fmla="*/ 840066 w 2992697"/>
                <a:gd name="connsiteY1304" fmla="*/ 113002 h 1030680"/>
                <a:gd name="connsiteX1305" fmla="*/ 834789 w 2992697"/>
                <a:gd name="connsiteY1305" fmla="*/ 107725 h 1030680"/>
                <a:gd name="connsiteX1306" fmla="*/ 829511 w 2992697"/>
                <a:gd name="connsiteY1306" fmla="*/ 103378 h 1030680"/>
                <a:gd name="connsiteX1307" fmla="*/ 824234 w 2992697"/>
                <a:gd name="connsiteY1307" fmla="*/ 100274 h 1030680"/>
                <a:gd name="connsiteX1308" fmla="*/ 820198 w 2992697"/>
                <a:gd name="connsiteY1308" fmla="*/ 95928 h 1030680"/>
                <a:gd name="connsiteX1309" fmla="*/ 824234 w 2992697"/>
                <a:gd name="connsiteY1309" fmla="*/ 87546 h 1030680"/>
                <a:gd name="connsiteX1310" fmla="*/ 834789 w 2992697"/>
                <a:gd name="connsiteY1310" fmla="*/ 90650 h 1030680"/>
                <a:gd name="connsiteX1311" fmla="*/ 849380 w 2992697"/>
                <a:gd name="connsiteY1311" fmla="*/ 92823 h 1030680"/>
                <a:gd name="connsiteX1312" fmla="*/ 861797 w 2992697"/>
                <a:gd name="connsiteY1312" fmla="*/ 90650 h 1030680"/>
                <a:gd name="connsiteX1313" fmla="*/ 871111 w 2992697"/>
                <a:gd name="connsiteY1313" fmla="*/ 83199 h 1030680"/>
                <a:gd name="connsiteX1314" fmla="*/ 827338 w 2992697"/>
                <a:gd name="connsiteY1314" fmla="*/ 83199 h 1030680"/>
                <a:gd name="connsiteX1315" fmla="*/ 827338 w 2992697"/>
                <a:gd name="connsiteY1315" fmla="*/ 80095 h 1030680"/>
                <a:gd name="connsiteX1316" fmla="*/ 824234 w 2992697"/>
                <a:gd name="connsiteY1316" fmla="*/ 80095 h 1030680"/>
                <a:gd name="connsiteX1317" fmla="*/ 824234 w 2992697"/>
                <a:gd name="connsiteY1317" fmla="*/ 75749 h 1030680"/>
                <a:gd name="connsiteX1318" fmla="*/ 829511 w 2992697"/>
                <a:gd name="connsiteY1318" fmla="*/ 72644 h 1030680"/>
                <a:gd name="connsiteX1319" fmla="*/ 834789 w 2992697"/>
                <a:gd name="connsiteY1319" fmla="*/ 68298 h 1030680"/>
                <a:gd name="connsiteX1320" fmla="*/ 840066 w 2992697"/>
                <a:gd name="connsiteY1320" fmla="*/ 65194 h 1030680"/>
                <a:gd name="connsiteX1321" fmla="*/ 845344 w 2992697"/>
                <a:gd name="connsiteY1321" fmla="*/ 60847 h 1030680"/>
                <a:gd name="connsiteX1322" fmla="*/ 851553 w 2992697"/>
                <a:gd name="connsiteY1322" fmla="*/ 59916 h 1030680"/>
                <a:gd name="connsiteX1323" fmla="*/ 874526 w 2992697"/>
                <a:gd name="connsiteY1323" fmla="*/ 63020 h 1030680"/>
                <a:gd name="connsiteX1324" fmla="*/ 880735 w 2992697"/>
                <a:gd name="connsiteY1324" fmla="*/ 46256 h 1030680"/>
                <a:gd name="connsiteX1325" fmla="*/ 907743 w 2992697"/>
                <a:gd name="connsiteY1325" fmla="*/ 50603 h 1030680"/>
                <a:gd name="connsiteX1326" fmla="*/ 909917 w 2992697"/>
                <a:gd name="connsiteY1326" fmla="*/ 50603 h 1030680"/>
                <a:gd name="connsiteX1327" fmla="*/ 910848 w 2992697"/>
                <a:gd name="connsiteY1327" fmla="*/ 46256 h 1030680"/>
                <a:gd name="connsiteX1328" fmla="*/ 913021 w 2992697"/>
                <a:gd name="connsiteY1328" fmla="*/ 45325 h 1030680"/>
                <a:gd name="connsiteX1329" fmla="*/ 915194 w 2992697"/>
                <a:gd name="connsiteY1329" fmla="*/ 40979 h 1030680"/>
                <a:gd name="connsiteX1330" fmla="*/ 920472 w 2992697"/>
                <a:gd name="connsiteY1330" fmla="*/ 38806 h 1030680"/>
                <a:gd name="connsiteX1331" fmla="*/ 924508 w 2992697"/>
                <a:gd name="connsiteY1331" fmla="*/ 45015 h 1030680"/>
                <a:gd name="connsiteX1332" fmla="*/ 929785 w 2992697"/>
                <a:gd name="connsiteY1332" fmla="*/ 50292 h 1030680"/>
                <a:gd name="connsiteX1333" fmla="*/ 935063 w 2992697"/>
                <a:gd name="connsiteY1333" fmla="*/ 55570 h 1030680"/>
                <a:gd name="connsiteX1334" fmla="*/ 935063 w 2992697"/>
                <a:gd name="connsiteY1334" fmla="*/ 45946 h 1030680"/>
                <a:gd name="connsiteX1335" fmla="*/ 937236 w 2992697"/>
                <a:gd name="connsiteY1335" fmla="*/ 45015 h 1030680"/>
                <a:gd name="connsiteX1336" fmla="*/ 937236 w 2992697"/>
                <a:gd name="connsiteY1336" fmla="*/ 42842 h 1030680"/>
                <a:gd name="connsiteX1337" fmla="*/ 937236 w 2992697"/>
                <a:gd name="connsiteY1337" fmla="*/ 40668 h 1030680"/>
                <a:gd name="connsiteX1338" fmla="*/ 937236 w 2992697"/>
                <a:gd name="connsiteY1338" fmla="*/ 38495 h 1030680"/>
                <a:gd name="connsiteX1339" fmla="*/ 938167 w 2992697"/>
                <a:gd name="connsiteY1339" fmla="*/ 35391 h 1030680"/>
                <a:gd name="connsiteX1340" fmla="*/ 940340 w 2992697"/>
                <a:gd name="connsiteY1340" fmla="*/ 33218 h 1030680"/>
                <a:gd name="connsiteX1341" fmla="*/ 944376 w 2992697"/>
                <a:gd name="connsiteY1341" fmla="*/ 31045 h 1030680"/>
                <a:gd name="connsiteX1342" fmla="*/ 962071 w 2992697"/>
                <a:gd name="connsiteY1342" fmla="*/ 22663 h 1030680"/>
                <a:gd name="connsiteX1343" fmla="*/ 984113 w 2992697"/>
                <a:gd name="connsiteY1343" fmla="*/ 20179 h 1030680"/>
                <a:gd name="connsiteX1344" fmla="*/ 984113 w 2992697"/>
                <a:gd name="connsiteY1344" fmla="*/ 20179 h 1030680"/>
                <a:gd name="connsiteX1345" fmla="*/ 984113 w 2992697"/>
                <a:gd name="connsiteY1345" fmla="*/ 20179 h 1030680"/>
                <a:gd name="connsiteX1346" fmla="*/ 2301024 w 2992697"/>
                <a:gd name="connsiteY1346" fmla="*/ 16764 h 1030680"/>
                <a:gd name="connsiteX1347" fmla="*/ 2311579 w 2992697"/>
                <a:gd name="connsiteY1347" fmla="*/ 19869 h 1030680"/>
                <a:gd name="connsiteX1348" fmla="*/ 2311579 w 2992697"/>
                <a:gd name="connsiteY1348" fmla="*/ 27319 h 1030680"/>
                <a:gd name="connsiteX1349" fmla="*/ 2296057 w 2992697"/>
                <a:gd name="connsiteY1349" fmla="*/ 27319 h 1030680"/>
                <a:gd name="connsiteX1350" fmla="*/ 2301024 w 2992697"/>
                <a:gd name="connsiteY1350" fmla="*/ 16764 h 1030680"/>
                <a:gd name="connsiteX1351" fmla="*/ 2301024 w 2992697"/>
                <a:gd name="connsiteY1351" fmla="*/ 16764 h 1030680"/>
                <a:gd name="connsiteX1352" fmla="*/ 2301024 w 2992697"/>
                <a:gd name="connsiteY1352" fmla="*/ 16764 h 1030680"/>
                <a:gd name="connsiteX1353" fmla="*/ 2792460 w 2992697"/>
                <a:gd name="connsiteY1353" fmla="*/ 0 h 1030680"/>
                <a:gd name="connsiteX1354" fmla="*/ 2797737 w 2992697"/>
                <a:gd name="connsiteY1354" fmla="*/ 3104 h 1030680"/>
                <a:gd name="connsiteX1355" fmla="*/ 2801773 w 2992697"/>
                <a:gd name="connsiteY1355" fmla="*/ 7451 h 1030680"/>
                <a:gd name="connsiteX1356" fmla="*/ 2803946 w 2992697"/>
                <a:gd name="connsiteY1356" fmla="*/ 10555 h 1030680"/>
                <a:gd name="connsiteX1357" fmla="*/ 2804878 w 2992697"/>
                <a:gd name="connsiteY1357" fmla="*/ 16764 h 1030680"/>
                <a:gd name="connsiteX1358" fmla="*/ 2807051 w 2992697"/>
                <a:gd name="connsiteY1358" fmla="*/ 19869 h 1030680"/>
                <a:gd name="connsiteX1359" fmla="*/ 2809224 w 2992697"/>
                <a:gd name="connsiteY1359" fmla="*/ 25146 h 1030680"/>
                <a:gd name="connsiteX1360" fmla="*/ 2812328 w 2992697"/>
                <a:gd name="connsiteY1360" fmla="*/ 27319 h 1030680"/>
                <a:gd name="connsiteX1361" fmla="*/ 2823815 w 2992697"/>
                <a:gd name="connsiteY1361" fmla="*/ 32597 h 1030680"/>
                <a:gd name="connsiteX1362" fmla="*/ 2834370 w 2992697"/>
                <a:gd name="connsiteY1362" fmla="*/ 34770 h 1030680"/>
                <a:gd name="connsiteX1363" fmla="*/ 2841821 w 2992697"/>
                <a:gd name="connsiteY1363" fmla="*/ 34770 h 1030680"/>
                <a:gd name="connsiteX1364" fmla="*/ 2847098 w 2992697"/>
                <a:gd name="connsiteY1364" fmla="*/ 39116 h 1030680"/>
                <a:gd name="connsiteX1365" fmla="*/ 2851134 w 2992697"/>
                <a:gd name="connsiteY1365" fmla="*/ 46567 h 1030680"/>
                <a:gd name="connsiteX1366" fmla="*/ 2853307 w 2992697"/>
                <a:gd name="connsiteY1366" fmla="*/ 61468 h 1030680"/>
                <a:gd name="connsiteX1367" fmla="*/ 2851134 w 2992697"/>
                <a:gd name="connsiteY1367" fmla="*/ 62400 h 1030680"/>
                <a:gd name="connsiteX1368" fmla="*/ 2851134 w 2992697"/>
                <a:gd name="connsiteY1368" fmla="*/ 62400 h 1030680"/>
                <a:gd name="connsiteX1369" fmla="*/ 2851134 w 2992697"/>
                <a:gd name="connsiteY1369" fmla="*/ 64573 h 1030680"/>
                <a:gd name="connsiteX1370" fmla="*/ 2851134 w 2992697"/>
                <a:gd name="connsiteY1370" fmla="*/ 66746 h 1030680"/>
                <a:gd name="connsiteX1371" fmla="*/ 2848961 w 2992697"/>
                <a:gd name="connsiteY1371" fmla="*/ 68919 h 1030680"/>
                <a:gd name="connsiteX1372" fmla="*/ 2825988 w 2992697"/>
                <a:gd name="connsiteY1372" fmla="*/ 68919 h 1030680"/>
                <a:gd name="connsiteX1373" fmla="*/ 2802084 w 2992697"/>
                <a:gd name="connsiteY1373" fmla="*/ 68919 h 1030680"/>
                <a:gd name="connsiteX1374" fmla="*/ 2782215 w 2992697"/>
                <a:gd name="connsiteY1374" fmla="*/ 77301 h 1030680"/>
                <a:gd name="connsiteX1375" fmla="*/ 2778179 w 2992697"/>
                <a:gd name="connsiteY1375" fmla="*/ 79474 h 1030680"/>
                <a:gd name="connsiteX1376" fmla="*/ 2776006 w 2992697"/>
                <a:gd name="connsiteY1376" fmla="*/ 83820 h 1030680"/>
                <a:gd name="connsiteX1377" fmla="*/ 2775075 w 2992697"/>
                <a:gd name="connsiteY1377" fmla="*/ 84752 h 1030680"/>
                <a:gd name="connsiteX1378" fmla="*/ 2772902 w 2992697"/>
                <a:gd name="connsiteY1378" fmla="*/ 86925 h 1030680"/>
                <a:gd name="connsiteX1379" fmla="*/ 2770729 w 2992697"/>
                <a:gd name="connsiteY1379" fmla="*/ 89098 h 1030680"/>
                <a:gd name="connsiteX1380" fmla="*/ 2767624 w 2992697"/>
                <a:gd name="connsiteY1380" fmla="*/ 91271 h 1030680"/>
                <a:gd name="connsiteX1381" fmla="*/ 2761415 w 2992697"/>
                <a:gd name="connsiteY1381" fmla="*/ 94376 h 1030680"/>
                <a:gd name="connsiteX1382" fmla="*/ 2758311 w 2992697"/>
                <a:gd name="connsiteY1382" fmla="*/ 89098 h 1030680"/>
                <a:gd name="connsiteX1383" fmla="*/ 2756137 w 2992697"/>
                <a:gd name="connsiteY1383" fmla="*/ 84752 h 1030680"/>
                <a:gd name="connsiteX1384" fmla="*/ 2753033 w 2992697"/>
                <a:gd name="connsiteY1384" fmla="*/ 81647 h 1030680"/>
                <a:gd name="connsiteX1385" fmla="*/ 2765451 w 2992697"/>
                <a:gd name="connsiteY1385" fmla="*/ 49982 h 1030680"/>
                <a:gd name="connsiteX1386" fmla="*/ 2777869 w 2992697"/>
                <a:gd name="connsiteY1386" fmla="*/ 24525 h 1030680"/>
                <a:gd name="connsiteX1387" fmla="*/ 2792460 w 2992697"/>
                <a:gd name="connsiteY1387" fmla="*/ 0 h 1030680"/>
                <a:gd name="connsiteX1388" fmla="*/ 2792460 w 2992697"/>
                <a:gd name="connsiteY1388" fmla="*/ 0 h 1030680"/>
                <a:gd name="connsiteX1389" fmla="*/ 2792460 w 2992697"/>
                <a:gd name="connsiteY1389" fmla="*/ 0 h 1030680"/>
                <a:gd name="connsiteX1390" fmla="*/ 2665177 w 2992697"/>
                <a:gd name="connsiteY1390" fmla="*/ 0 h 1030680"/>
                <a:gd name="connsiteX1391" fmla="*/ 2674490 w 2992697"/>
                <a:gd name="connsiteY1391" fmla="*/ 9624 h 1030680"/>
                <a:gd name="connsiteX1392" fmla="*/ 2679768 w 2992697"/>
                <a:gd name="connsiteY1392" fmla="*/ 20179 h 1030680"/>
                <a:gd name="connsiteX1393" fmla="*/ 2685046 w 2992697"/>
                <a:gd name="connsiteY1393" fmla="*/ 32907 h 1030680"/>
                <a:gd name="connsiteX1394" fmla="*/ 2675732 w 2992697"/>
                <a:gd name="connsiteY1394" fmla="*/ 32907 h 1030680"/>
                <a:gd name="connsiteX1395" fmla="*/ 2675732 w 2992697"/>
                <a:gd name="connsiteY1395" fmla="*/ 27319 h 1030680"/>
                <a:gd name="connsiteX1396" fmla="*/ 2672628 w 2992697"/>
                <a:gd name="connsiteY1396" fmla="*/ 24215 h 1030680"/>
                <a:gd name="connsiteX1397" fmla="*/ 2668592 w 2992697"/>
                <a:gd name="connsiteY1397" fmla="*/ 19869 h 1030680"/>
                <a:gd name="connsiteX1398" fmla="*/ 2667660 w 2992697"/>
                <a:gd name="connsiteY1398" fmla="*/ 14591 h 1030680"/>
                <a:gd name="connsiteX1399" fmla="*/ 2665487 w 2992697"/>
                <a:gd name="connsiteY1399" fmla="*/ 9313 h 1030680"/>
                <a:gd name="connsiteX1400" fmla="*/ 2665487 w 2992697"/>
                <a:gd name="connsiteY1400" fmla="*/ 0 h 1030680"/>
                <a:gd name="connsiteX1401" fmla="*/ 2665177 w 2992697"/>
                <a:gd name="connsiteY1401" fmla="*/ 0 h 1030680"/>
                <a:gd name="connsiteX1402" fmla="*/ 2665177 w 2992697"/>
                <a:gd name="connsiteY1402" fmla="*/ 0 h 1030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</a:cxnLst>
              <a:rect l="l" t="t" r="r" b="b"/>
              <a:pathLst>
                <a:path w="2992697" h="1030680">
                  <a:moveTo>
                    <a:pt x="7140" y="256428"/>
                  </a:moveTo>
                  <a:lnTo>
                    <a:pt x="26077" y="261706"/>
                  </a:lnTo>
                  <a:lnTo>
                    <a:pt x="38495" y="271330"/>
                  </a:lnTo>
                  <a:lnTo>
                    <a:pt x="49050" y="279712"/>
                  </a:lnTo>
                  <a:lnTo>
                    <a:pt x="60537" y="291198"/>
                  </a:lnTo>
                  <a:lnTo>
                    <a:pt x="71092" y="299580"/>
                  </a:lnTo>
                  <a:lnTo>
                    <a:pt x="71092" y="296476"/>
                  </a:lnTo>
                  <a:lnTo>
                    <a:pt x="77301" y="296476"/>
                  </a:lnTo>
                  <a:lnTo>
                    <a:pt x="77301" y="299580"/>
                  </a:lnTo>
                  <a:lnTo>
                    <a:pt x="78232" y="303926"/>
                  </a:lnTo>
                  <a:lnTo>
                    <a:pt x="82268" y="309204"/>
                  </a:lnTo>
                  <a:lnTo>
                    <a:pt x="84441" y="316655"/>
                  </a:lnTo>
                  <a:lnTo>
                    <a:pt x="76991" y="316655"/>
                  </a:lnTo>
                  <a:lnTo>
                    <a:pt x="72955" y="316655"/>
                  </a:lnTo>
                  <a:lnTo>
                    <a:pt x="72955" y="318828"/>
                  </a:lnTo>
                  <a:lnTo>
                    <a:pt x="70782" y="318828"/>
                  </a:lnTo>
                  <a:lnTo>
                    <a:pt x="67677" y="318828"/>
                  </a:lnTo>
                  <a:lnTo>
                    <a:pt x="63641" y="321001"/>
                  </a:lnTo>
                  <a:lnTo>
                    <a:pt x="49050" y="309514"/>
                  </a:lnTo>
                  <a:lnTo>
                    <a:pt x="34460" y="304237"/>
                  </a:lnTo>
                  <a:lnTo>
                    <a:pt x="16764" y="299891"/>
                  </a:lnTo>
                  <a:lnTo>
                    <a:pt x="0" y="291509"/>
                  </a:lnTo>
                  <a:lnTo>
                    <a:pt x="6209" y="286231"/>
                  </a:lnTo>
                  <a:lnTo>
                    <a:pt x="7140" y="280022"/>
                  </a:lnTo>
                  <a:lnTo>
                    <a:pt x="6209" y="274745"/>
                  </a:lnTo>
                  <a:lnTo>
                    <a:pt x="6209" y="266983"/>
                  </a:lnTo>
                  <a:lnTo>
                    <a:pt x="7140" y="256428"/>
                  </a:lnTo>
                  <a:lnTo>
                    <a:pt x="7140" y="256428"/>
                  </a:lnTo>
                  <a:lnTo>
                    <a:pt x="7140" y="256428"/>
                  </a:lnTo>
                  <a:close/>
                  <a:moveTo>
                    <a:pt x="1275001" y="248978"/>
                  </a:moveTo>
                  <a:lnTo>
                    <a:pt x="1279037" y="248978"/>
                  </a:lnTo>
                  <a:lnTo>
                    <a:pt x="1282141" y="249909"/>
                  </a:lnTo>
                  <a:lnTo>
                    <a:pt x="1284314" y="252082"/>
                  </a:lnTo>
                  <a:lnTo>
                    <a:pt x="1286487" y="254255"/>
                  </a:lnTo>
                  <a:lnTo>
                    <a:pt x="1287419" y="256428"/>
                  </a:lnTo>
                  <a:lnTo>
                    <a:pt x="1287419" y="257670"/>
                  </a:lnTo>
                  <a:lnTo>
                    <a:pt x="1287419" y="259843"/>
                  </a:lnTo>
                  <a:lnTo>
                    <a:pt x="1289592" y="264189"/>
                  </a:lnTo>
                  <a:lnTo>
                    <a:pt x="1282141" y="264189"/>
                  </a:lnTo>
                  <a:lnTo>
                    <a:pt x="1279037" y="265121"/>
                  </a:lnTo>
                  <a:lnTo>
                    <a:pt x="1275001" y="265121"/>
                  </a:lnTo>
                  <a:lnTo>
                    <a:pt x="1271896" y="267294"/>
                  </a:lnTo>
                  <a:lnTo>
                    <a:pt x="1265687" y="267294"/>
                  </a:lnTo>
                  <a:lnTo>
                    <a:pt x="1265687" y="264189"/>
                  </a:lnTo>
                  <a:lnTo>
                    <a:pt x="1262583" y="264189"/>
                  </a:lnTo>
                  <a:lnTo>
                    <a:pt x="1262583" y="250530"/>
                  </a:lnTo>
                  <a:lnTo>
                    <a:pt x="1267861" y="250530"/>
                  </a:lnTo>
                  <a:lnTo>
                    <a:pt x="1273138" y="249598"/>
                  </a:lnTo>
                  <a:lnTo>
                    <a:pt x="1275001" y="249598"/>
                  </a:lnTo>
                  <a:lnTo>
                    <a:pt x="1275001" y="248978"/>
                  </a:lnTo>
                  <a:lnTo>
                    <a:pt x="1275001" y="248978"/>
                  </a:lnTo>
                  <a:close/>
                  <a:moveTo>
                    <a:pt x="63641" y="239664"/>
                  </a:moveTo>
                  <a:lnTo>
                    <a:pt x="80405" y="239664"/>
                  </a:lnTo>
                  <a:lnTo>
                    <a:pt x="80405" y="242769"/>
                  </a:lnTo>
                  <a:lnTo>
                    <a:pt x="77301" y="242769"/>
                  </a:lnTo>
                  <a:lnTo>
                    <a:pt x="73265" y="242769"/>
                  </a:lnTo>
                  <a:lnTo>
                    <a:pt x="71092" y="244942"/>
                  </a:lnTo>
                  <a:lnTo>
                    <a:pt x="70161" y="244942"/>
                  </a:lnTo>
                  <a:lnTo>
                    <a:pt x="70161" y="244942"/>
                  </a:lnTo>
                  <a:lnTo>
                    <a:pt x="67988" y="244942"/>
                  </a:lnTo>
                  <a:lnTo>
                    <a:pt x="65815" y="242769"/>
                  </a:lnTo>
                  <a:lnTo>
                    <a:pt x="63641" y="239664"/>
                  </a:lnTo>
                  <a:lnTo>
                    <a:pt x="63641" y="239664"/>
                  </a:lnTo>
                  <a:lnTo>
                    <a:pt x="63641" y="239664"/>
                  </a:lnTo>
                  <a:close/>
                  <a:moveTo>
                    <a:pt x="1790651" y="213276"/>
                  </a:moveTo>
                  <a:lnTo>
                    <a:pt x="1803069" y="213276"/>
                  </a:lnTo>
                  <a:lnTo>
                    <a:pt x="1807105" y="228178"/>
                  </a:lnTo>
                  <a:lnTo>
                    <a:pt x="1810209" y="237801"/>
                  </a:lnTo>
                  <a:lnTo>
                    <a:pt x="1817660" y="242148"/>
                  </a:lnTo>
                  <a:lnTo>
                    <a:pt x="1830078" y="247425"/>
                  </a:lnTo>
                  <a:lnTo>
                    <a:pt x="1824800" y="269467"/>
                  </a:lnTo>
                  <a:lnTo>
                    <a:pt x="1817350" y="291509"/>
                  </a:lnTo>
                  <a:lnTo>
                    <a:pt x="1806794" y="307341"/>
                  </a:lnTo>
                  <a:lnTo>
                    <a:pt x="1806794" y="287162"/>
                  </a:lnTo>
                  <a:lnTo>
                    <a:pt x="1782890" y="287162"/>
                  </a:lnTo>
                  <a:lnTo>
                    <a:pt x="1785063" y="263879"/>
                  </a:lnTo>
                  <a:lnTo>
                    <a:pt x="1787236" y="241837"/>
                  </a:lnTo>
                  <a:lnTo>
                    <a:pt x="1790651" y="213276"/>
                  </a:lnTo>
                  <a:lnTo>
                    <a:pt x="1790651" y="213276"/>
                  </a:lnTo>
                  <a:lnTo>
                    <a:pt x="1790651" y="213276"/>
                  </a:lnTo>
                  <a:close/>
                  <a:moveTo>
                    <a:pt x="2941784" y="165778"/>
                  </a:moveTo>
                  <a:lnTo>
                    <a:pt x="2945820" y="165778"/>
                  </a:lnTo>
                  <a:lnTo>
                    <a:pt x="2945820" y="170124"/>
                  </a:lnTo>
                  <a:lnTo>
                    <a:pt x="2946751" y="175402"/>
                  </a:lnTo>
                  <a:lnTo>
                    <a:pt x="2948925" y="177575"/>
                  </a:lnTo>
                  <a:lnTo>
                    <a:pt x="2951098" y="180679"/>
                  </a:lnTo>
                  <a:lnTo>
                    <a:pt x="2953271" y="182853"/>
                  </a:lnTo>
                  <a:lnTo>
                    <a:pt x="2956375" y="185957"/>
                  </a:lnTo>
                  <a:lnTo>
                    <a:pt x="2960411" y="182853"/>
                  </a:lnTo>
                  <a:lnTo>
                    <a:pt x="2961342" y="178506"/>
                  </a:lnTo>
                  <a:lnTo>
                    <a:pt x="2963515" y="177575"/>
                  </a:lnTo>
                  <a:lnTo>
                    <a:pt x="2967551" y="177575"/>
                  </a:lnTo>
                  <a:lnTo>
                    <a:pt x="2972829" y="175402"/>
                  </a:lnTo>
                  <a:lnTo>
                    <a:pt x="2975933" y="185957"/>
                  </a:lnTo>
                  <a:lnTo>
                    <a:pt x="2982142" y="193408"/>
                  </a:lnTo>
                  <a:lnTo>
                    <a:pt x="2987420" y="200858"/>
                  </a:lnTo>
                  <a:lnTo>
                    <a:pt x="2990524" y="210482"/>
                  </a:lnTo>
                  <a:lnTo>
                    <a:pt x="2992697" y="223211"/>
                  </a:lnTo>
                  <a:lnTo>
                    <a:pt x="2992697" y="225384"/>
                  </a:lnTo>
                  <a:lnTo>
                    <a:pt x="2990524" y="227557"/>
                  </a:lnTo>
                  <a:lnTo>
                    <a:pt x="2990524" y="228488"/>
                  </a:lnTo>
                  <a:lnTo>
                    <a:pt x="2990524" y="230661"/>
                  </a:lnTo>
                  <a:lnTo>
                    <a:pt x="2990524" y="232834"/>
                  </a:lnTo>
                  <a:lnTo>
                    <a:pt x="2989593" y="235939"/>
                  </a:lnTo>
                  <a:lnTo>
                    <a:pt x="2978106" y="243390"/>
                  </a:lnTo>
                  <a:lnTo>
                    <a:pt x="2961342" y="250840"/>
                  </a:lnTo>
                  <a:lnTo>
                    <a:pt x="2941474" y="255186"/>
                  </a:lnTo>
                  <a:lnTo>
                    <a:pt x="2921605" y="258291"/>
                  </a:lnTo>
                  <a:lnTo>
                    <a:pt x="2904841" y="260464"/>
                  </a:lnTo>
                  <a:lnTo>
                    <a:pt x="2907014" y="250840"/>
                  </a:lnTo>
                  <a:lnTo>
                    <a:pt x="2909187" y="247736"/>
                  </a:lnTo>
                  <a:lnTo>
                    <a:pt x="2911360" y="243390"/>
                  </a:lnTo>
                  <a:lnTo>
                    <a:pt x="2912292" y="242458"/>
                  </a:lnTo>
                  <a:lnTo>
                    <a:pt x="2914465" y="242458"/>
                  </a:lnTo>
                  <a:lnTo>
                    <a:pt x="2918501" y="240285"/>
                  </a:lnTo>
                  <a:lnTo>
                    <a:pt x="2919432" y="240285"/>
                  </a:lnTo>
                  <a:lnTo>
                    <a:pt x="2921605" y="238112"/>
                  </a:lnTo>
                  <a:lnTo>
                    <a:pt x="2925641" y="235939"/>
                  </a:lnTo>
                  <a:lnTo>
                    <a:pt x="2930919" y="221037"/>
                  </a:lnTo>
                  <a:lnTo>
                    <a:pt x="2930919" y="206136"/>
                  </a:lnTo>
                  <a:lnTo>
                    <a:pt x="2928746" y="192476"/>
                  </a:lnTo>
                  <a:lnTo>
                    <a:pt x="2931850" y="180990"/>
                  </a:lnTo>
                  <a:lnTo>
                    <a:pt x="2941163" y="170435"/>
                  </a:lnTo>
                  <a:lnTo>
                    <a:pt x="2941163" y="165778"/>
                  </a:lnTo>
                  <a:lnTo>
                    <a:pt x="2941784" y="165778"/>
                  </a:lnTo>
                  <a:lnTo>
                    <a:pt x="2941784" y="165778"/>
                  </a:lnTo>
                  <a:close/>
                  <a:moveTo>
                    <a:pt x="148083" y="158327"/>
                  </a:moveTo>
                  <a:lnTo>
                    <a:pt x="167951" y="180369"/>
                  </a:lnTo>
                  <a:lnTo>
                    <a:pt x="193097" y="197133"/>
                  </a:lnTo>
                  <a:lnTo>
                    <a:pt x="224452" y="209861"/>
                  </a:lnTo>
                  <a:lnTo>
                    <a:pt x="226625" y="227867"/>
                  </a:lnTo>
                  <a:lnTo>
                    <a:pt x="231903" y="241527"/>
                  </a:lnTo>
                  <a:lnTo>
                    <a:pt x="237181" y="248978"/>
                  </a:lnTo>
                  <a:lnTo>
                    <a:pt x="244631" y="256428"/>
                  </a:lnTo>
                  <a:lnTo>
                    <a:pt x="252082" y="266983"/>
                  </a:lnTo>
                  <a:lnTo>
                    <a:pt x="239664" y="269157"/>
                  </a:lnTo>
                  <a:lnTo>
                    <a:pt x="227246" y="271330"/>
                  </a:lnTo>
                  <a:lnTo>
                    <a:pt x="215760" y="276607"/>
                  </a:lnTo>
                  <a:lnTo>
                    <a:pt x="208309" y="284058"/>
                  </a:lnTo>
                  <a:lnTo>
                    <a:pt x="207378" y="287162"/>
                  </a:lnTo>
                  <a:lnTo>
                    <a:pt x="205205" y="291509"/>
                  </a:lnTo>
                  <a:lnTo>
                    <a:pt x="203032" y="294613"/>
                  </a:lnTo>
                  <a:lnTo>
                    <a:pt x="200858" y="296786"/>
                  </a:lnTo>
                  <a:lnTo>
                    <a:pt x="197754" y="299891"/>
                  </a:lnTo>
                  <a:lnTo>
                    <a:pt x="186267" y="302064"/>
                  </a:lnTo>
                  <a:lnTo>
                    <a:pt x="170745" y="304237"/>
                  </a:lnTo>
                  <a:lnTo>
                    <a:pt x="151808" y="302064"/>
                  </a:lnTo>
                  <a:lnTo>
                    <a:pt x="137217" y="299891"/>
                  </a:lnTo>
                  <a:lnTo>
                    <a:pt x="134113" y="289335"/>
                  </a:lnTo>
                  <a:lnTo>
                    <a:pt x="131939" y="281885"/>
                  </a:lnTo>
                  <a:lnTo>
                    <a:pt x="129766" y="276607"/>
                  </a:lnTo>
                  <a:lnTo>
                    <a:pt x="124489" y="266983"/>
                  </a:lnTo>
                  <a:lnTo>
                    <a:pt x="148393" y="259533"/>
                  </a:lnTo>
                  <a:lnTo>
                    <a:pt x="148393" y="256428"/>
                  </a:lnTo>
                  <a:lnTo>
                    <a:pt x="129456" y="254255"/>
                  </a:lnTo>
                  <a:lnTo>
                    <a:pt x="117038" y="249909"/>
                  </a:lnTo>
                  <a:lnTo>
                    <a:pt x="107725" y="242458"/>
                  </a:lnTo>
                  <a:lnTo>
                    <a:pt x="106793" y="237181"/>
                  </a:lnTo>
                  <a:lnTo>
                    <a:pt x="102758" y="231903"/>
                  </a:lnTo>
                  <a:lnTo>
                    <a:pt x="100584" y="226625"/>
                  </a:lnTo>
                  <a:lnTo>
                    <a:pt x="100584" y="220417"/>
                  </a:lnTo>
                  <a:lnTo>
                    <a:pt x="100584" y="217312"/>
                  </a:lnTo>
                  <a:lnTo>
                    <a:pt x="100584" y="212966"/>
                  </a:lnTo>
                  <a:lnTo>
                    <a:pt x="102758" y="212966"/>
                  </a:lnTo>
                  <a:lnTo>
                    <a:pt x="104931" y="212034"/>
                  </a:lnTo>
                  <a:lnTo>
                    <a:pt x="107104" y="212034"/>
                  </a:lnTo>
                  <a:lnTo>
                    <a:pt x="108035" y="212034"/>
                  </a:lnTo>
                  <a:lnTo>
                    <a:pt x="112071" y="209861"/>
                  </a:lnTo>
                  <a:lnTo>
                    <a:pt x="113623" y="204894"/>
                  </a:lnTo>
                  <a:lnTo>
                    <a:pt x="113623" y="198685"/>
                  </a:lnTo>
                  <a:lnTo>
                    <a:pt x="113623" y="195581"/>
                  </a:lnTo>
                  <a:lnTo>
                    <a:pt x="114554" y="193408"/>
                  </a:lnTo>
                  <a:lnTo>
                    <a:pt x="116728" y="190303"/>
                  </a:lnTo>
                  <a:lnTo>
                    <a:pt x="118901" y="190303"/>
                  </a:lnTo>
                  <a:lnTo>
                    <a:pt x="121074" y="188130"/>
                  </a:lnTo>
                  <a:lnTo>
                    <a:pt x="122005" y="188130"/>
                  </a:lnTo>
                  <a:lnTo>
                    <a:pt x="124178" y="188130"/>
                  </a:lnTo>
                  <a:lnTo>
                    <a:pt x="127283" y="185957"/>
                  </a:lnTo>
                  <a:lnTo>
                    <a:pt x="129456" y="178506"/>
                  </a:lnTo>
                  <a:lnTo>
                    <a:pt x="131629" y="173229"/>
                  </a:lnTo>
                  <a:lnTo>
                    <a:pt x="133802" y="167951"/>
                  </a:lnTo>
                  <a:lnTo>
                    <a:pt x="136907" y="162674"/>
                  </a:lnTo>
                  <a:lnTo>
                    <a:pt x="139080" y="160500"/>
                  </a:lnTo>
                  <a:lnTo>
                    <a:pt x="141253" y="160500"/>
                  </a:lnTo>
                  <a:lnTo>
                    <a:pt x="142184" y="158327"/>
                  </a:lnTo>
                  <a:lnTo>
                    <a:pt x="144357" y="158327"/>
                  </a:lnTo>
                  <a:lnTo>
                    <a:pt x="148083" y="158327"/>
                  </a:lnTo>
                  <a:lnTo>
                    <a:pt x="148083" y="158327"/>
                  </a:lnTo>
                  <a:lnTo>
                    <a:pt x="148083" y="158327"/>
                  </a:lnTo>
                  <a:close/>
                  <a:moveTo>
                    <a:pt x="1222846" y="138148"/>
                  </a:moveTo>
                  <a:lnTo>
                    <a:pt x="1228124" y="140322"/>
                  </a:lnTo>
                  <a:lnTo>
                    <a:pt x="1233401" y="141253"/>
                  </a:lnTo>
                  <a:lnTo>
                    <a:pt x="1236506" y="143426"/>
                  </a:lnTo>
                  <a:lnTo>
                    <a:pt x="1242714" y="145599"/>
                  </a:lnTo>
                  <a:lnTo>
                    <a:pt x="1242714" y="150877"/>
                  </a:lnTo>
                  <a:lnTo>
                    <a:pt x="1243646" y="155223"/>
                  </a:lnTo>
                  <a:lnTo>
                    <a:pt x="1243646" y="158327"/>
                  </a:lnTo>
                  <a:lnTo>
                    <a:pt x="1245819" y="162674"/>
                  </a:lnTo>
                  <a:lnTo>
                    <a:pt x="1233401" y="162674"/>
                  </a:lnTo>
                  <a:lnTo>
                    <a:pt x="1231228" y="158327"/>
                  </a:lnTo>
                  <a:lnTo>
                    <a:pt x="1229055" y="155223"/>
                  </a:lnTo>
                  <a:lnTo>
                    <a:pt x="1225950" y="150877"/>
                  </a:lnTo>
                  <a:lnTo>
                    <a:pt x="1223777" y="148704"/>
                  </a:lnTo>
                  <a:lnTo>
                    <a:pt x="1223777" y="143426"/>
                  </a:lnTo>
                  <a:lnTo>
                    <a:pt x="1222846" y="138148"/>
                  </a:lnTo>
                  <a:lnTo>
                    <a:pt x="1222846" y="138148"/>
                  </a:lnTo>
                  <a:lnTo>
                    <a:pt x="1222846" y="138148"/>
                  </a:lnTo>
                  <a:close/>
                  <a:moveTo>
                    <a:pt x="1730114" y="113934"/>
                  </a:moveTo>
                  <a:lnTo>
                    <a:pt x="1736323" y="123557"/>
                  </a:lnTo>
                  <a:lnTo>
                    <a:pt x="1741601" y="141563"/>
                  </a:lnTo>
                  <a:lnTo>
                    <a:pt x="1749051" y="158327"/>
                  </a:lnTo>
                  <a:lnTo>
                    <a:pt x="1758365" y="175091"/>
                  </a:lnTo>
                  <a:lnTo>
                    <a:pt x="1763642" y="182542"/>
                  </a:lnTo>
                  <a:lnTo>
                    <a:pt x="1766747" y="178196"/>
                  </a:lnTo>
                  <a:lnTo>
                    <a:pt x="1768920" y="177265"/>
                  </a:lnTo>
                  <a:lnTo>
                    <a:pt x="1772956" y="177265"/>
                  </a:lnTo>
                  <a:lnTo>
                    <a:pt x="1776060" y="175091"/>
                  </a:lnTo>
                  <a:lnTo>
                    <a:pt x="1783511" y="175091"/>
                  </a:lnTo>
                  <a:lnTo>
                    <a:pt x="1783511" y="178196"/>
                  </a:lnTo>
                  <a:lnTo>
                    <a:pt x="1787547" y="178196"/>
                  </a:lnTo>
                  <a:lnTo>
                    <a:pt x="1787547" y="189682"/>
                  </a:lnTo>
                  <a:lnTo>
                    <a:pt x="1759296" y="192787"/>
                  </a:lnTo>
                  <a:lnTo>
                    <a:pt x="1756192" y="222279"/>
                  </a:lnTo>
                  <a:lnTo>
                    <a:pt x="1746878" y="246494"/>
                  </a:lnTo>
                  <a:lnTo>
                    <a:pt x="1739428" y="270709"/>
                  </a:lnTo>
                  <a:lnTo>
                    <a:pt x="1736323" y="290888"/>
                  </a:lnTo>
                  <a:lnTo>
                    <a:pt x="1734150" y="311067"/>
                  </a:lnTo>
                  <a:lnTo>
                    <a:pt x="1734150" y="327831"/>
                  </a:lnTo>
                  <a:lnTo>
                    <a:pt x="1730114" y="343664"/>
                  </a:lnTo>
                  <a:lnTo>
                    <a:pt x="1727010" y="343664"/>
                  </a:lnTo>
                  <a:lnTo>
                    <a:pt x="1727010" y="340559"/>
                  </a:lnTo>
                  <a:lnTo>
                    <a:pt x="1721732" y="333108"/>
                  </a:lnTo>
                  <a:lnTo>
                    <a:pt x="1712419" y="323485"/>
                  </a:lnTo>
                  <a:lnTo>
                    <a:pt x="1701864" y="310756"/>
                  </a:lnTo>
                  <a:lnTo>
                    <a:pt x="1692550" y="298028"/>
                  </a:lnTo>
                  <a:lnTo>
                    <a:pt x="1685100" y="285300"/>
                  </a:lnTo>
                  <a:lnTo>
                    <a:pt x="1681064" y="273813"/>
                  </a:lnTo>
                  <a:lnTo>
                    <a:pt x="1683237" y="266363"/>
                  </a:lnTo>
                  <a:lnTo>
                    <a:pt x="1687273" y="264189"/>
                  </a:lnTo>
                  <a:lnTo>
                    <a:pt x="1690377" y="264189"/>
                  </a:lnTo>
                  <a:lnTo>
                    <a:pt x="1692550" y="264189"/>
                  </a:lnTo>
                  <a:lnTo>
                    <a:pt x="1694723" y="264189"/>
                  </a:lnTo>
                  <a:lnTo>
                    <a:pt x="1695655" y="264189"/>
                  </a:lnTo>
                  <a:lnTo>
                    <a:pt x="1697828" y="264189"/>
                  </a:lnTo>
                  <a:lnTo>
                    <a:pt x="1700001" y="263879"/>
                  </a:lnTo>
                  <a:lnTo>
                    <a:pt x="1703106" y="259533"/>
                  </a:lnTo>
                  <a:lnTo>
                    <a:pt x="1700001" y="259533"/>
                  </a:lnTo>
                  <a:lnTo>
                    <a:pt x="1700001" y="256428"/>
                  </a:lnTo>
                  <a:lnTo>
                    <a:pt x="1683237" y="254255"/>
                  </a:lnTo>
                  <a:lnTo>
                    <a:pt x="1673924" y="248978"/>
                  </a:lnTo>
                  <a:lnTo>
                    <a:pt x="1666473" y="239354"/>
                  </a:lnTo>
                  <a:lnTo>
                    <a:pt x="1673924" y="237181"/>
                  </a:lnTo>
                  <a:lnTo>
                    <a:pt x="1680132" y="235007"/>
                  </a:lnTo>
                  <a:lnTo>
                    <a:pt x="1683237" y="234076"/>
                  </a:lnTo>
                  <a:lnTo>
                    <a:pt x="1687273" y="231903"/>
                  </a:lnTo>
                  <a:lnTo>
                    <a:pt x="1690377" y="229730"/>
                  </a:lnTo>
                  <a:lnTo>
                    <a:pt x="1694413" y="226625"/>
                  </a:lnTo>
                  <a:lnTo>
                    <a:pt x="1694413" y="222279"/>
                  </a:lnTo>
                  <a:lnTo>
                    <a:pt x="1679822" y="222279"/>
                  </a:lnTo>
                  <a:lnTo>
                    <a:pt x="1675786" y="224452"/>
                  </a:lnTo>
                  <a:lnTo>
                    <a:pt x="1672682" y="224452"/>
                  </a:lnTo>
                  <a:lnTo>
                    <a:pt x="1668646" y="226625"/>
                  </a:lnTo>
                  <a:lnTo>
                    <a:pt x="1663369" y="226625"/>
                  </a:lnTo>
                  <a:lnTo>
                    <a:pt x="1654055" y="209861"/>
                  </a:lnTo>
                  <a:lnTo>
                    <a:pt x="1643500" y="193097"/>
                  </a:lnTo>
                  <a:lnTo>
                    <a:pt x="1644431" y="187820"/>
                  </a:lnTo>
                  <a:lnTo>
                    <a:pt x="1644431" y="184715"/>
                  </a:lnTo>
                  <a:lnTo>
                    <a:pt x="1646604" y="182542"/>
                  </a:lnTo>
                  <a:lnTo>
                    <a:pt x="1648778" y="178196"/>
                  </a:lnTo>
                  <a:lnTo>
                    <a:pt x="1648778" y="175091"/>
                  </a:lnTo>
                  <a:lnTo>
                    <a:pt x="1650951" y="169814"/>
                  </a:lnTo>
                  <a:lnTo>
                    <a:pt x="1646915" y="169814"/>
                  </a:lnTo>
                  <a:lnTo>
                    <a:pt x="1646915" y="165468"/>
                  </a:lnTo>
                  <a:lnTo>
                    <a:pt x="1643810" y="167641"/>
                  </a:lnTo>
                  <a:lnTo>
                    <a:pt x="1641637" y="167641"/>
                  </a:lnTo>
                  <a:lnTo>
                    <a:pt x="1639464" y="167641"/>
                  </a:lnTo>
                  <a:lnTo>
                    <a:pt x="1639464" y="167641"/>
                  </a:lnTo>
                  <a:lnTo>
                    <a:pt x="1637291" y="167641"/>
                  </a:lnTo>
                  <a:lnTo>
                    <a:pt x="1637291" y="165468"/>
                  </a:lnTo>
                  <a:lnTo>
                    <a:pt x="1634187" y="162363"/>
                  </a:lnTo>
                  <a:lnTo>
                    <a:pt x="1632013" y="158017"/>
                  </a:lnTo>
                  <a:lnTo>
                    <a:pt x="1629840" y="154912"/>
                  </a:lnTo>
                  <a:lnTo>
                    <a:pt x="1628909" y="152739"/>
                  </a:lnTo>
                  <a:lnTo>
                    <a:pt x="1628909" y="147462"/>
                  </a:lnTo>
                  <a:lnTo>
                    <a:pt x="1626736" y="141253"/>
                  </a:lnTo>
                  <a:lnTo>
                    <a:pt x="1646604" y="128525"/>
                  </a:lnTo>
                  <a:lnTo>
                    <a:pt x="1666473" y="117969"/>
                  </a:lnTo>
                  <a:lnTo>
                    <a:pt x="1668646" y="123247"/>
                  </a:lnTo>
                  <a:lnTo>
                    <a:pt x="1670819" y="128525"/>
                  </a:lnTo>
                  <a:lnTo>
                    <a:pt x="1672992" y="130698"/>
                  </a:lnTo>
                  <a:lnTo>
                    <a:pt x="1676097" y="132871"/>
                  </a:lnTo>
                  <a:lnTo>
                    <a:pt x="1678270" y="132871"/>
                  </a:lnTo>
                  <a:lnTo>
                    <a:pt x="1680443" y="133802"/>
                  </a:lnTo>
                  <a:lnTo>
                    <a:pt x="1683547" y="135975"/>
                  </a:lnTo>
                  <a:lnTo>
                    <a:pt x="1687583" y="138148"/>
                  </a:lnTo>
                  <a:lnTo>
                    <a:pt x="1690688" y="148704"/>
                  </a:lnTo>
                  <a:lnTo>
                    <a:pt x="1692861" y="162363"/>
                  </a:lnTo>
                  <a:lnTo>
                    <a:pt x="1695034" y="175091"/>
                  </a:lnTo>
                  <a:lnTo>
                    <a:pt x="1703416" y="175091"/>
                  </a:lnTo>
                  <a:lnTo>
                    <a:pt x="1703416" y="165468"/>
                  </a:lnTo>
                  <a:lnTo>
                    <a:pt x="1700311" y="154912"/>
                  </a:lnTo>
                  <a:lnTo>
                    <a:pt x="1700311" y="141253"/>
                  </a:lnTo>
                  <a:lnTo>
                    <a:pt x="1703416" y="128525"/>
                  </a:lnTo>
                  <a:lnTo>
                    <a:pt x="1707452" y="117969"/>
                  </a:lnTo>
                  <a:lnTo>
                    <a:pt x="1730114" y="113934"/>
                  </a:lnTo>
                  <a:lnTo>
                    <a:pt x="1730114" y="113934"/>
                  </a:lnTo>
                  <a:lnTo>
                    <a:pt x="1730114" y="113934"/>
                  </a:lnTo>
                  <a:close/>
                  <a:moveTo>
                    <a:pt x="2755827" y="104620"/>
                  </a:moveTo>
                  <a:lnTo>
                    <a:pt x="2761105" y="108966"/>
                  </a:lnTo>
                  <a:lnTo>
                    <a:pt x="2765140" y="112071"/>
                  </a:lnTo>
                  <a:lnTo>
                    <a:pt x="2770418" y="112071"/>
                  </a:lnTo>
                  <a:lnTo>
                    <a:pt x="2775696" y="112071"/>
                  </a:lnTo>
                  <a:lnTo>
                    <a:pt x="2785009" y="114244"/>
                  </a:lnTo>
                  <a:lnTo>
                    <a:pt x="2782836" y="118590"/>
                  </a:lnTo>
                  <a:lnTo>
                    <a:pt x="2782836" y="119522"/>
                  </a:lnTo>
                  <a:lnTo>
                    <a:pt x="2782836" y="121695"/>
                  </a:lnTo>
                  <a:lnTo>
                    <a:pt x="2781905" y="123868"/>
                  </a:lnTo>
                  <a:lnTo>
                    <a:pt x="2781905" y="126041"/>
                  </a:lnTo>
                  <a:lnTo>
                    <a:pt x="2768245" y="133492"/>
                  </a:lnTo>
                  <a:lnTo>
                    <a:pt x="2750550" y="136596"/>
                  </a:lnTo>
                  <a:lnTo>
                    <a:pt x="2731613" y="138769"/>
                  </a:lnTo>
                  <a:lnTo>
                    <a:pt x="2730681" y="134423"/>
                  </a:lnTo>
                  <a:lnTo>
                    <a:pt x="2730681" y="131319"/>
                  </a:lnTo>
                  <a:lnTo>
                    <a:pt x="2728508" y="126972"/>
                  </a:lnTo>
                  <a:lnTo>
                    <a:pt x="2728508" y="121695"/>
                  </a:lnTo>
                  <a:lnTo>
                    <a:pt x="2733786" y="118590"/>
                  </a:lnTo>
                  <a:lnTo>
                    <a:pt x="2737821" y="114244"/>
                  </a:lnTo>
                  <a:lnTo>
                    <a:pt x="2740926" y="112071"/>
                  </a:lnTo>
                  <a:lnTo>
                    <a:pt x="2744961" y="108966"/>
                  </a:lnTo>
                  <a:lnTo>
                    <a:pt x="2748066" y="106793"/>
                  </a:lnTo>
                  <a:lnTo>
                    <a:pt x="2755827" y="104620"/>
                  </a:lnTo>
                  <a:lnTo>
                    <a:pt x="2755827" y="104620"/>
                  </a:lnTo>
                  <a:lnTo>
                    <a:pt x="2755827" y="104620"/>
                  </a:lnTo>
                  <a:close/>
                  <a:moveTo>
                    <a:pt x="2195472" y="104620"/>
                  </a:moveTo>
                  <a:lnTo>
                    <a:pt x="2210063" y="106793"/>
                  </a:lnTo>
                  <a:lnTo>
                    <a:pt x="2220619" y="112071"/>
                  </a:lnTo>
                  <a:lnTo>
                    <a:pt x="2231174" y="118280"/>
                  </a:lnTo>
                  <a:lnTo>
                    <a:pt x="2228069" y="121384"/>
                  </a:lnTo>
                  <a:lnTo>
                    <a:pt x="2225896" y="126662"/>
                  </a:lnTo>
                  <a:lnTo>
                    <a:pt x="2222792" y="128835"/>
                  </a:lnTo>
                  <a:lnTo>
                    <a:pt x="2217514" y="131008"/>
                  </a:lnTo>
                  <a:lnTo>
                    <a:pt x="2211305" y="133181"/>
                  </a:lnTo>
                  <a:lnTo>
                    <a:pt x="2203855" y="133181"/>
                  </a:lnTo>
                  <a:lnTo>
                    <a:pt x="2198577" y="136286"/>
                  </a:lnTo>
                  <a:lnTo>
                    <a:pt x="2193300" y="136286"/>
                  </a:lnTo>
                  <a:lnTo>
                    <a:pt x="2188022" y="138459"/>
                  </a:lnTo>
                  <a:lnTo>
                    <a:pt x="2180571" y="138459"/>
                  </a:lnTo>
                  <a:lnTo>
                    <a:pt x="2180571" y="126972"/>
                  </a:lnTo>
                  <a:lnTo>
                    <a:pt x="2181502" y="119522"/>
                  </a:lnTo>
                  <a:lnTo>
                    <a:pt x="2188953" y="114244"/>
                  </a:lnTo>
                  <a:lnTo>
                    <a:pt x="2195472" y="104620"/>
                  </a:lnTo>
                  <a:lnTo>
                    <a:pt x="2195472" y="104620"/>
                  </a:lnTo>
                  <a:lnTo>
                    <a:pt x="2195472" y="104620"/>
                  </a:lnTo>
                  <a:close/>
                  <a:moveTo>
                    <a:pt x="798156" y="104620"/>
                  </a:moveTo>
                  <a:lnTo>
                    <a:pt x="812747" y="104620"/>
                  </a:lnTo>
                  <a:lnTo>
                    <a:pt x="815852" y="114244"/>
                  </a:lnTo>
                  <a:lnTo>
                    <a:pt x="819887" y="119522"/>
                  </a:lnTo>
                  <a:lnTo>
                    <a:pt x="822992" y="126972"/>
                  </a:lnTo>
                  <a:lnTo>
                    <a:pt x="825165" y="138459"/>
                  </a:lnTo>
                  <a:lnTo>
                    <a:pt x="822060" y="138459"/>
                  </a:lnTo>
                  <a:lnTo>
                    <a:pt x="810574" y="131008"/>
                  </a:lnTo>
                  <a:lnTo>
                    <a:pt x="803123" y="123557"/>
                  </a:lnTo>
                  <a:lnTo>
                    <a:pt x="797846" y="116107"/>
                  </a:lnTo>
                  <a:lnTo>
                    <a:pt x="797846" y="104620"/>
                  </a:lnTo>
                  <a:lnTo>
                    <a:pt x="798156" y="104620"/>
                  </a:lnTo>
                  <a:lnTo>
                    <a:pt x="798156" y="104620"/>
                  </a:lnTo>
                  <a:close/>
                  <a:moveTo>
                    <a:pt x="2852997" y="81337"/>
                  </a:moveTo>
                  <a:lnTo>
                    <a:pt x="2856101" y="81337"/>
                  </a:lnTo>
                  <a:lnTo>
                    <a:pt x="2860137" y="83510"/>
                  </a:lnTo>
                  <a:lnTo>
                    <a:pt x="2861068" y="83510"/>
                  </a:lnTo>
                  <a:lnTo>
                    <a:pt x="2863241" y="83510"/>
                  </a:lnTo>
                  <a:lnTo>
                    <a:pt x="2865415" y="84441"/>
                  </a:lnTo>
                  <a:lnTo>
                    <a:pt x="2861379" y="88788"/>
                  </a:lnTo>
                  <a:lnTo>
                    <a:pt x="2858274" y="91892"/>
                  </a:lnTo>
                  <a:lnTo>
                    <a:pt x="2856101" y="97170"/>
                  </a:lnTo>
                  <a:lnTo>
                    <a:pt x="2853928" y="101516"/>
                  </a:lnTo>
                  <a:lnTo>
                    <a:pt x="2852997" y="108966"/>
                  </a:lnTo>
                  <a:lnTo>
                    <a:pt x="2856101" y="108966"/>
                  </a:lnTo>
                  <a:lnTo>
                    <a:pt x="2860137" y="103689"/>
                  </a:lnTo>
                  <a:lnTo>
                    <a:pt x="2863241" y="99343"/>
                  </a:lnTo>
                  <a:lnTo>
                    <a:pt x="2867277" y="96238"/>
                  </a:lnTo>
                  <a:lnTo>
                    <a:pt x="2872555" y="94065"/>
                  </a:lnTo>
                  <a:lnTo>
                    <a:pt x="2883110" y="104620"/>
                  </a:lnTo>
                  <a:lnTo>
                    <a:pt x="2896770" y="114244"/>
                  </a:lnTo>
                  <a:lnTo>
                    <a:pt x="2905151" y="121695"/>
                  </a:lnTo>
                  <a:lnTo>
                    <a:pt x="2905151" y="145910"/>
                  </a:lnTo>
                  <a:lnTo>
                    <a:pt x="2911360" y="151187"/>
                  </a:lnTo>
                  <a:lnTo>
                    <a:pt x="2916638" y="155533"/>
                  </a:lnTo>
                  <a:lnTo>
                    <a:pt x="2921916" y="156465"/>
                  </a:lnTo>
                  <a:lnTo>
                    <a:pt x="2925952" y="163915"/>
                  </a:lnTo>
                  <a:lnTo>
                    <a:pt x="2929056" y="178817"/>
                  </a:lnTo>
                  <a:lnTo>
                    <a:pt x="2921605" y="188441"/>
                  </a:lnTo>
                  <a:lnTo>
                    <a:pt x="2918501" y="198064"/>
                  </a:lnTo>
                  <a:lnTo>
                    <a:pt x="2911050" y="203342"/>
                  </a:lnTo>
                  <a:lnTo>
                    <a:pt x="2901737" y="205515"/>
                  </a:lnTo>
                  <a:lnTo>
                    <a:pt x="2884972" y="206446"/>
                  </a:lnTo>
                  <a:lnTo>
                    <a:pt x="2872555" y="195891"/>
                  </a:lnTo>
                  <a:lnTo>
                    <a:pt x="2853618" y="186267"/>
                  </a:lnTo>
                  <a:lnTo>
                    <a:pt x="2833749" y="180990"/>
                  </a:lnTo>
                  <a:lnTo>
                    <a:pt x="2813881" y="173539"/>
                  </a:lnTo>
                  <a:lnTo>
                    <a:pt x="2796185" y="166089"/>
                  </a:lnTo>
                  <a:lnTo>
                    <a:pt x="2784699" y="155533"/>
                  </a:lnTo>
                  <a:lnTo>
                    <a:pt x="2792149" y="151187"/>
                  </a:lnTo>
                  <a:lnTo>
                    <a:pt x="2797427" y="148083"/>
                  </a:lnTo>
                  <a:lnTo>
                    <a:pt x="2801463" y="143736"/>
                  </a:lnTo>
                  <a:lnTo>
                    <a:pt x="2803636" y="138459"/>
                  </a:lnTo>
                  <a:lnTo>
                    <a:pt x="2804567" y="128835"/>
                  </a:lnTo>
                  <a:lnTo>
                    <a:pt x="2803636" y="125731"/>
                  </a:lnTo>
                  <a:lnTo>
                    <a:pt x="2801463" y="119522"/>
                  </a:lnTo>
                  <a:lnTo>
                    <a:pt x="2801463" y="111760"/>
                  </a:lnTo>
                  <a:lnTo>
                    <a:pt x="2801463" y="104310"/>
                  </a:lnTo>
                  <a:lnTo>
                    <a:pt x="2801463" y="103378"/>
                  </a:lnTo>
                  <a:lnTo>
                    <a:pt x="2803636" y="103378"/>
                  </a:lnTo>
                  <a:lnTo>
                    <a:pt x="2803636" y="103378"/>
                  </a:lnTo>
                  <a:lnTo>
                    <a:pt x="2803636" y="103378"/>
                  </a:lnTo>
                  <a:lnTo>
                    <a:pt x="2803636" y="103378"/>
                  </a:lnTo>
                  <a:lnTo>
                    <a:pt x="2804567" y="101205"/>
                  </a:lnTo>
                  <a:lnTo>
                    <a:pt x="2821331" y="96859"/>
                  </a:lnTo>
                  <a:lnTo>
                    <a:pt x="2839027" y="88477"/>
                  </a:lnTo>
                  <a:lnTo>
                    <a:pt x="2852997" y="81337"/>
                  </a:lnTo>
                  <a:lnTo>
                    <a:pt x="2852997" y="81337"/>
                  </a:lnTo>
                  <a:lnTo>
                    <a:pt x="2852997" y="81337"/>
                  </a:lnTo>
                  <a:close/>
                  <a:moveTo>
                    <a:pt x="2621404" y="76991"/>
                  </a:moveTo>
                  <a:lnTo>
                    <a:pt x="2631959" y="76991"/>
                  </a:lnTo>
                  <a:lnTo>
                    <a:pt x="2646550" y="91892"/>
                  </a:lnTo>
                  <a:lnTo>
                    <a:pt x="2665487" y="104620"/>
                  </a:lnTo>
                  <a:lnTo>
                    <a:pt x="2665487" y="108656"/>
                  </a:lnTo>
                  <a:lnTo>
                    <a:pt x="2661451" y="108656"/>
                  </a:lnTo>
                  <a:lnTo>
                    <a:pt x="2661451" y="113934"/>
                  </a:lnTo>
                  <a:lnTo>
                    <a:pt x="2643756" y="104310"/>
                  </a:lnTo>
                  <a:lnTo>
                    <a:pt x="2631338" y="91582"/>
                  </a:lnTo>
                  <a:lnTo>
                    <a:pt x="2621404" y="76991"/>
                  </a:lnTo>
                  <a:lnTo>
                    <a:pt x="2621404" y="76991"/>
                  </a:lnTo>
                  <a:lnTo>
                    <a:pt x="2621404" y="76991"/>
                  </a:lnTo>
                  <a:close/>
                  <a:moveTo>
                    <a:pt x="2255078" y="71713"/>
                  </a:moveTo>
                  <a:lnTo>
                    <a:pt x="2269669" y="76059"/>
                  </a:lnTo>
                  <a:lnTo>
                    <a:pt x="2281155" y="79164"/>
                  </a:lnTo>
                  <a:lnTo>
                    <a:pt x="2291711" y="84441"/>
                  </a:lnTo>
                  <a:lnTo>
                    <a:pt x="2291711" y="94065"/>
                  </a:lnTo>
                  <a:lnTo>
                    <a:pt x="2282397" y="96238"/>
                  </a:lnTo>
                  <a:lnTo>
                    <a:pt x="2274015" y="99343"/>
                  </a:lnTo>
                  <a:lnTo>
                    <a:pt x="2260356" y="101516"/>
                  </a:lnTo>
                  <a:lnTo>
                    <a:pt x="2255078" y="103689"/>
                  </a:lnTo>
                  <a:lnTo>
                    <a:pt x="2251974" y="104620"/>
                  </a:lnTo>
                  <a:lnTo>
                    <a:pt x="2245765" y="104620"/>
                  </a:lnTo>
                  <a:lnTo>
                    <a:pt x="2240487" y="104620"/>
                  </a:lnTo>
                  <a:lnTo>
                    <a:pt x="2240487" y="94065"/>
                  </a:lnTo>
                  <a:lnTo>
                    <a:pt x="2244523" y="88788"/>
                  </a:lnTo>
                  <a:lnTo>
                    <a:pt x="2249800" y="81337"/>
                  </a:lnTo>
                  <a:lnTo>
                    <a:pt x="2255078" y="71713"/>
                  </a:lnTo>
                  <a:lnTo>
                    <a:pt x="2255078" y="71713"/>
                  </a:lnTo>
                  <a:lnTo>
                    <a:pt x="2255078" y="71713"/>
                  </a:lnTo>
                  <a:close/>
                  <a:moveTo>
                    <a:pt x="1810520" y="61158"/>
                  </a:moveTo>
                  <a:lnTo>
                    <a:pt x="1810520" y="81337"/>
                  </a:lnTo>
                  <a:lnTo>
                    <a:pt x="1817970" y="81337"/>
                  </a:lnTo>
                  <a:lnTo>
                    <a:pt x="1822006" y="79164"/>
                  </a:lnTo>
                  <a:lnTo>
                    <a:pt x="1825111" y="79164"/>
                  </a:lnTo>
                  <a:lnTo>
                    <a:pt x="1829146" y="79164"/>
                  </a:lnTo>
                  <a:lnTo>
                    <a:pt x="1830078" y="79164"/>
                  </a:lnTo>
                  <a:lnTo>
                    <a:pt x="1834114" y="81337"/>
                  </a:lnTo>
                  <a:lnTo>
                    <a:pt x="1839391" y="84441"/>
                  </a:lnTo>
                  <a:lnTo>
                    <a:pt x="1839391" y="94065"/>
                  </a:lnTo>
                  <a:lnTo>
                    <a:pt x="1843427" y="96238"/>
                  </a:lnTo>
                  <a:lnTo>
                    <a:pt x="1848705" y="96238"/>
                  </a:lnTo>
                  <a:lnTo>
                    <a:pt x="1851809" y="94065"/>
                  </a:lnTo>
                  <a:lnTo>
                    <a:pt x="1858018" y="94065"/>
                  </a:lnTo>
                  <a:lnTo>
                    <a:pt x="1858949" y="91892"/>
                  </a:lnTo>
                  <a:lnTo>
                    <a:pt x="1862985" y="94065"/>
                  </a:lnTo>
                  <a:lnTo>
                    <a:pt x="1866090" y="97170"/>
                  </a:lnTo>
                  <a:lnTo>
                    <a:pt x="1870125" y="103378"/>
                  </a:lnTo>
                  <a:lnTo>
                    <a:pt x="1873230" y="108656"/>
                  </a:lnTo>
                  <a:lnTo>
                    <a:pt x="1867952" y="121384"/>
                  </a:lnTo>
                  <a:lnTo>
                    <a:pt x="1862675" y="134113"/>
                  </a:lnTo>
                  <a:lnTo>
                    <a:pt x="1858639" y="149014"/>
                  </a:lnTo>
                  <a:lnTo>
                    <a:pt x="1846221" y="149014"/>
                  </a:lnTo>
                  <a:lnTo>
                    <a:pt x="1836908" y="153360"/>
                  </a:lnTo>
                  <a:lnTo>
                    <a:pt x="1828526" y="158638"/>
                  </a:lnTo>
                  <a:lnTo>
                    <a:pt x="1813935" y="162984"/>
                  </a:lnTo>
                  <a:lnTo>
                    <a:pt x="1804621" y="155533"/>
                  </a:lnTo>
                  <a:lnTo>
                    <a:pt x="1792203" y="151187"/>
                  </a:lnTo>
                  <a:lnTo>
                    <a:pt x="1779786" y="145910"/>
                  </a:lnTo>
                  <a:lnTo>
                    <a:pt x="1777613" y="141563"/>
                  </a:lnTo>
                  <a:lnTo>
                    <a:pt x="1777613" y="138459"/>
                  </a:lnTo>
                  <a:lnTo>
                    <a:pt x="1775439" y="134113"/>
                  </a:lnTo>
                  <a:lnTo>
                    <a:pt x="1773266" y="128835"/>
                  </a:lnTo>
                  <a:lnTo>
                    <a:pt x="1767989" y="123557"/>
                  </a:lnTo>
                  <a:lnTo>
                    <a:pt x="1762711" y="118280"/>
                  </a:lnTo>
                  <a:lnTo>
                    <a:pt x="1758675" y="113934"/>
                  </a:lnTo>
                  <a:lnTo>
                    <a:pt x="1755571" y="106483"/>
                  </a:lnTo>
                  <a:lnTo>
                    <a:pt x="1753398" y="93755"/>
                  </a:lnTo>
                  <a:lnTo>
                    <a:pt x="1760848" y="84131"/>
                  </a:lnTo>
                  <a:lnTo>
                    <a:pt x="1766126" y="76680"/>
                  </a:lnTo>
                  <a:lnTo>
                    <a:pt x="1773577" y="76680"/>
                  </a:lnTo>
                  <a:lnTo>
                    <a:pt x="1779786" y="78853"/>
                  </a:lnTo>
                  <a:lnTo>
                    <a:pt x="1787236" y="81026"/>
                  </a:lnTo>
                  <a:lnTo>
                    <a:pt x="1794687" y="81026"/>
                  </a:lnTo>
                  <a:lnTo>
                    <a:pt x="1794687" y="68298"/>
                  </a:lnTo>
                  <a:lnTo>
                    <a:pt x="1797791" y="66125"/>
                  </a:lnTo>
                  <a:lnTo>
                    <a:pt x="1801827" y="63952"/>
                  </a:lnTo>
                  <a:lnTo>
                    <a:pt x="1802759" y="63952"/>
                  </a:lnTo>
                  <a:lnTo>
                    <a:pt x="1806794" y="61779"/>
                  </a:lnTo>
                  <a:lnTo>
                    <a:pt x="1810520" y="61158"/>
                  </a:lnTo>
                  <a:lnTo>
                    <a:pt x="1810520" y="61158"/>
                  </a:lnTo>
                  <a:lnTo>
                    <a:pt x="1810520" y="61158"/>
                  </a:lnTo>
                  <a:close/>
                  <a:moveTo>
                    <a:pt x="2281155" y="47498"/>
                  </a:moveTo>
                  <a:lnTo>
                    <a:pt x="2295747" y="47498"/>
                  </a:lnTo>
                  <a:lnTo>
                    <a:pt x="2304129" y="57122"/>
                  </a:lnTo>
                  <a:lnTo>
                    <a:pt x="2313442" y="62400"/>
                  </a:lnTo>
                  <a:lnTo>
                    <a:pt x="2320893" y="69850"/>
                  </a:lnTo>
                  <a:lnTo>
                    <a:pt x="2328343" y="81337"/>
                  </a:lnTo>
                  <a:lnTo>
                    <a:pt x="2311579" y="81337"/>
                  </a:lnTo>
                  <a:lnTo>
                    <a:pt x="2301024" y="69850"/>
                  </a:lnTo>
                  <a:lnTo>
                    <a:pt x="2289538" y="61468"/>
                  </a:lnTo>
                  <a:lnTo>
                    <a:pt x="2281155" y="47498"/>
                  </a:lnTo>
                  <a:lnTo>
                    <a:pt x="2281155" y="47498"/>
                  </a:lnTo>
                  <a:lnTo>
                    <a:pt x="2281155" y="47498"/>
                  </a:lnTo>
                  <a:close/>
                  <a:moveTo>
                    <a:pt x="439281" y="47498"/>
                  </a:moveTo>
                  <a:lnTo>
                    <a:pt x="451699" y="47498"/>
                  </a:lnTo>
                  <a:lnTo>
                    <a:pt x="456976" y="51844"/>
                  </a:lnTo>
                  <a:lnTo>
                    <a:pt x="461012" y="54949"/>
                  </a:lnTo>
                  <a:lnTo>
                    <a:pt x="463185" y="59295"/>
                  </a:lnTo>
                  <a:lnTo>
                    <a:pt x="466290" y="64573"/>
                  </a:lnTo>
                  <a:lnTo>
                    <a:pt x="468463" y="68919"/>
                  </a:lnTo>
                  <a:lnTo>
                    <a:pt x="477776" y="59295"/>
                  </a:lnTo>
                  <a:lnTo>
                    <a:pt x="488331" y="54949"/>
                  </a:lnTo>
                  <a:lnTo>
                    <a:pt x="505095" y="57122"/>
                  </a:lnTo>
                  <a:lnTo>
                    <a:pt x="505095" y="72023"/>
                  </a:lnTo>
                  <a:lnTo>
                    <a:pt x="528068" y="74197"/>
                  </a:lnTo>
                  <a:lnTo>
                    <a:pt x="548868" y="77301"/>
                  </a:lnTo>
                  <a:lnTo>
                    <a:pt x="566564" y="81647"/>
                  </a:lnTo>
                  <a:lnTo>
                    <a:pt x="586432" y="83820"/>
                  </a:lnTo>
                  <a:lnTo>
                    <a:pt x="608474" y="81647"/>
                  </a:lnTo>
                  <a:lnTo>
                    <a:pt x="608474" y="94376"/>
                  </a:lnTo>
                  <a:lnTo>
                    <a:pt x="612510" y="94376"/>
                  </a:lnTo>
                  <a:lnTo>
                    <a:pt x="615614" y="94376"/>
                  </a:lnTo>
                  <a:lnTo>
                    <a:pt x="617787" y="94376"/>
                  </a:lnTo>
                  <a:lnTo>
                    <a:pt x="619960" y="96549"/>
                  </a:lnTo>
                  <a:lnTo>
                    <a:pt x="622133" y="97480"/>
                  </a:lnTo>
                  <a:lnTo>
                    <a:pt x="618098" y="97480"/>
                  </a:lnTo>
                  <a:lnTo>
                    <a:pt x="601023" y="108656"/>
                  </a:lnTo>
                  <a:lnTo>
                    <a:pt x="581155" y="121384"/>
                  </a:lnTo>
                  <a:lnTo>
                    <a:pt x="557250" y="132871"/>
                  </a:lnTo>
                  <a:lnTo>
                    <a:pt x="535209" y="145599"/>
                  </a:lnTo>
                  <a:lnTo>
                    <a:pt x="519686" y="156154"/>
                  </a:lnTo>
                  <a:lnTo>
                    <a:pt x="508200" y="165778"/>
                  </a:lnTo>
                  <a:lnTo>
                    <a:pt x="524964" y="165778"/>
                  </a:lnTo>
                  <a:lnTo>
                    <a:pt x="530241" y="162674"/>
                  </a:lnTo>
                  <a:lnTo>
                    <a:pt x="535519" y="160500"/>
                  </a:lnTo>
                  <a:lnTo>
                    <a:pt x="541728" y="158327"/>
                  </a:lnTo>
                  <a:lnTo>
                    <a:pt x="549179" y="158327"/>
                  </a:lnTo>
                  <a:lnTo>
                    <a:pt x="549179" y="162674"/>
                  </a:lnTo>
                  <a:lnTo>
                    <a:pt x="527137" y="178506"/>
                  </a:lnTo>
                  <a:lnTo>
                    <a:pt x="508200" y="195270"/>
                  </a:lnTo>
                  <a:lnTo>
                    <a:pt x="492677" y="212034"/>
                  </a:lnTo>
                  <a:lnTo>
                    <a:pt x="473740" y="226936"/>
                  </a:lnTo>
                  <a:lnTo>
                    <a:pt x="453872" y="239664"/>
                  </a:lnTo>
                  <a:lnTo>
                    <a:pt x="427794" y="247115"/>
                  </a:lnTo>
                  <a:lnTo>
                    <a:pt x="427794" y="259843"/>
                  </a:lnTo>
                  <a:lnTo>
                    <a:pt x="415377" y="262016"/>
                  </a:lnTo>
                  <a:lnTo>
                    <a:pt x="400786" y="267294"/>
                  </a:lnTo>
                  <a:lnTo>
                    <a:pt x="392403" y="274745"/>
                  </a:lnTo>
                  <a:lnTo>
                    <a:pt x="397681" y="279091"/>
                  </a:lnTo>
                  <a:lnTo>
                    <a:pt x="400786" y="282195"/>
                  </a:lnTo>
                  <a:lnTo>
                    <a:pt x="402959" y="284368"/>
                  </a:lnTo>
                  <a:lnTo>
                    <a:pt x="402959" y="287473"/>
                  </a:lnTo>
                  <a:lnTo>
                    <a:pt x="402959" y="291819"/>
                  </a:lnTo>
                  <a:lnTo>
                    <a:pt x="400786" y="297097"/>
                  </a:lnTo>
                  <a:lnTo>
                    <a:pt x="400786" y="304547"/>
                  </a:lnTo>
                  <a:lnTo>
                    <a:pt x="361048" y="307652"/>
                  </a:lnTo>
                  <a:lnTo>
                    <a:pt x="361048" y="311998"/>
                  </a:lnTo>
                  <a:lnTo>
                    <a:pt x="366326" y="314171"/>
                  </a:lnTo>
                  <a:lnTo>
                    <a:pt x="368499" y="314171"/>
                  </a:lnTo>
                  <a:lnTo>
                    <a:pt x="371604" y="314171"/>
                  </a:lnTo>
                  <a:lnTo>
                    <a:pt x="371604" y="314171"/>
                  </a:lnTo>
                  <a:lnTo>
                    <a:pt x="373777" y="315103"/>
                  </a:lnTo>
                  <a:lnTo>
                    <a:pt x="373777" y="317276"/>
                  </a:lnTo>
                  <a:lnTo>
                    <a:pt x="377813" y="321622"/>
                  </a:lnTo>
                  <a:lnTo>
                    <a:pt x="371604" y="321622"/>
                  </a:lnTo>
                  <a:lnTo>
                    <a:pt x="363222" y="324726"/>
                  </a:lnTo>
                  <a:lnTo>
                    <a:pt x="351735" y="329073"/>
                  </a:lnTo>
                  <a:lnTo>
                    <a:pt x="341180" y="332177"/>
                  </a:lnTo>
                  <a:lnTo>
                    <a:pt x="344284" y="334350"/>
                  </a:lnTo>
                  <a:lnTo>
                    <a:pt x="346458" y="334350"/>
                  </a:lnTo>
                  <a:lnTo>
                    <a:pt x="348631" y="334350"/>
                  </a:lnTo>
                  <a:lnTo>
                    <a:pt x="349562" y="336523"/>
                  </a:lnTo>
                  <a:lnTo>
                    <a:pt x="351735" y="336523"/>
                  </a:lnTo>
                  <a:lnTo>
                    <a:pt x="349562" y="339628"/>
                  </a:lnTo>
                  <a:lnTo>
                    <a:pt x="348631" y="343974"/>
                  </a:lnTo>
                  <a:lnTo>
                    <a:pt x="346458" y="344905"/>
                  </a:lnTo>
                  <a:lnTo>
                    <a:pt x="348631" y="347078"/>
                  </a:lnTo>
                  <a:lnTo>
                    <a:pt x="348631" y="349252"/>
                  </a:lnTo>
                  <a:lnTo>
                    <a:pt x="349562" y="352356"/>
                  </a:lnTo>
                  <a:lnTo>
                    <a:pt x="351735" y="356702"/>
                  </a:lnTo>
                  <a:lnTo>
                    <a:pt x="344284" y="358875"/>
                  </a:lnTo>
                  <a:lnTo>
                    <a:pt x="339007" y="358875"/>
                  </a:lnTo>
                  <a:lnTo>
                    <a:pt x="333729" y="358875"/>
                  </a:lnTo>
                  <a:lnTo>
                    <a:pt x="327520" y="361980"/>
                  </a:lnTo>
                  <a:lnTo>
                    <a:pt x="346458" y="361980"/>
                  </a:lnTo>
                  <a:lnTo>
                    <a:pt x="361048" y="366326"/>
                  </a:lnTo>
                  <a:lnTo>
                    <a:pt x="361048" y="373777"/>
                  </a:lnTo>
                  <a:lnTo>
                    <a:pt x="337144" y="373777"/>
                  </a:lnTo>
                  <a:lnTo>
                    <a:pt x="334971" y="379054"/>
                  </a:lnTo>
                  <a:lnTo>
                    <a:pt x="334971" y="381227"/>
                  </a:lnTo>
                  <a:lnTo>
                    <a:pt x="334971" y="382159"/>
                  </a:lnTo>
                  <a:lnTo>
                    <a:pt x="334040" y="384332"/>
                  </a:lnTo>
                  <a:lnTo>
                    <a:pt x="331867" y="386505"/>
                  </a:lnTo>
                  <a:lnTo>
                    <a:pt x="322553" y="389609"/>
                  </a:lnTo>
                  <a:lnTo>
                    <a:pt x="310135" y="389609"/>
                  </a:lnTo>
                  <a:lnTo>
                    <a:pt x="297717" y="389609"/>
                  </a:lnTo>
                  <a:lnTo>
                    <a:pt x="285300" y="382159"/>
                  </a:lnTo>
                  <a:lnTo>
                    <a:pt x="268536" y="382159"/>
                  </a:lnTo>
                  <a:lnTo>
                    <a:pt x="251772" y="384332"/>
                  </a:lnTo>
                  <a:lnTo>
                    <a:pt x="234076" y="386505"/>
                  </a:lnTo>
                  <a:lnTo>
                    <a:pt x="217312" y="384332"/>
                  </a:lnTo>
                  <a:lnTo>
                    <a:pt x="200548" y="379054"/>
                  </a:lnTo>
                  <a:lnTo>
                    <a:pt x="199617" y="376881"/>
                  </a:lnTo>
                  <a:lnTo>
                    <a:pt x="199617" y="374708"/>
                  </a:lnTo>
                  <a:lnTo>
                    <a:pt x="197444" y="374708"/>
                  </a:lnTo>
                  <a:lnTo>
                    <a:pt x="197444" y="372535"/>
                  </a:lnTo>
                  <a:lnTo>
                    <a:pt x="197444" y="368189"/>
                  </a:lnTo>
                  <a:lnTo>
                    <a:pt x="200548" y="368189"/>
                  </a:lnTo>
                  <a:lnTo>
                    <a:pt x="202721" y="365084"/>
                  </a:lnTo>
                  <a:lnTo>
                    <a:pt x="206757" y="360738"/>
                  </a:lnTo>
                  <a:lnTo>
                    <a:pt x="207688" y="358565"/>
                  </a:lnTo>
                  <a:lnTo>
                    <a:pt x="211724" y="357634"/>
                  </a:lnTo>
                  <a:lnTo>
                    <a:pt x="213897" y="353287"/>
                  </a:lnTo>
                  <a:lnTo>
                    <a:pt x="217002" y="348010"/>
                  </a:lnTo>
                  <a:lnTo>
                    <a:pt x="209551" y="345837"/>
                  </a:lnTo>
                  <a:lnTo>
                    <a:pt x="204273" y="342732"/>
                  </a:lnTo>
                  <a:lnTo>
                    <a:pt x="200238" y="336523"/>
                  </a:lnTo>
                  <a:lnTo>
                    <a:pt x="199306" y="331246"/>
                  </a:lnTo>
                  <a:lnTo>
                    <a:pt x="197133" y="323795"/>
                  </a:lnTo>
                  <a:lnTo>
                    <a:pt x="204584" y="323795"/>
                  </a:lnTo>
                  <a:lnTo>
                    <a:pt x="217002" y="320691"/>
                  </a:lnTo>
                  <a:lnTo>
                    <a:pt x="231593" y="323795"/>
                  </a:lnTo>
                  <a:lnTo>
                    <a:pt x="244010" y="329073"/>
                  </a:lnTo>
                  <a:lnTo>
                    <a:pt x="256428" y="335281"/>
                  </a:lnTo>
                  <a:lnTo>
                    <a:pt x="256428" y="327831"/>
                  </a:lnTo>
                  <a:lnTo>
                    <a:pt x="244010" y="321622"/>
                  </a:lnTo>
                  <a:lnTo>
                    <a:pt x="233455" y="316344"/>
                  </a:lnTo>
                  <a:lnTo>
                    <a:pt x="224142" y="306720"/>
                  </a:lnTo>
                  <a:lnTo>
                    <a:pt x="227246" y="306720"/>
                  </a:lnTo>
                  <a:lnTo>
                    <a:pt x="236560" y="293061"/>
                  </a:lnTo>
                  <a:lnTo>
                    <a:pt x="248046" y="283437"/>
                  </a:lnTo>
                  <a:lnTo>
                    <a:pt x="262637" y="275986"/>
                  </a:lnTo>
                  <a:lnTo>
                    <a:pt x="280333" y="270709"/>
                  </a:lnTo>
                  <a:lnTo>
                    <a:pt x="280333" y="266983"/>
                  </a:lnTo>
                  <a:lnTo>
                    <a:pt x="263568" y="261706"/>
                  </a:lnTo>
                  <a:lnTo>
                    <a:pt x="251151" y="252082"/>
                  </a:lnTo>
                  <a:lnTo>
                    <a:pt x="240595" y="239354"/>
                  </a:lnTo>
                  <a:lnTo>
                    <a:pt x="231282" y="226625"/>
                  </a:lnTo>
                  <a:lnTo>
                    <a:pt x="236560" y="224452"/>
                  </a:lnTo>
                  <a:lnTo>
                    <a:pt x="240595" y="224452"/>
                  </a:lnTo>
                  <a:lnTo>
                    <a:pt x="245873" y="222279"/>
                  </a:lnTo>
                  <a:lnTo>
                    <a:pt x="251151" y="222279"/>
                  </a:lnTo>
                  <a:lnTo>
                    <a:pt x="258601" y="227557"/>
                  </a:lnTo>
                  <a:lnTo>
                    <a:pt x="263879" y="233766"/>
                  </a:lnTo>
                  <a:lnTo>
                    <a:pt x="271330" y="239043"/>
                  </a:lnTo>
                  <a:lnTo>
                    <a:pt x="271330" y="234697"/>
                  </a:lnTo>
                  <a:lnTo>
                    <a:pt x="270398" y="231593"/>
                  </a:lnTo>
                  <a:lnTo>
                    <a:pt x="268225" y="231593"/>
                  </a:lnTo>
                  <a:lnTo>
                    <a:pt x="268225" y="229419"/>
                  </a:lnTo>
                  <a:lnTo>
                    <a:pt x="266052" y="227246"/>
                  </a:lnTo>
                  <a:lnTo>
                    <a:pt x="266052" y="226315"/>
                  </a:lnTo>
                  <a:lnTo>
                    <a:pt x="263879" y="221969"/>
                  </a:lnTo>
                  <a:lnTo>
                    <a:pt x="267915" y="221969"/>
                  </a:lnTo>
                  <a:lnTo>
                    <a:pt x="267915" y="218864"/>
                  </a:lnTo>
                  <a:lnTo>
                    <a:pt x="284679" y="212655"/>
                  </a:lnTo>
                  <a:lnTo>
                    <a:pt x="300201" y="209551"/>
                  </a:lnTo>
                  <a:lnTo>
                    <a:pt x="316965" y="207378"/>
                  </a:lnTo>
                  <a:lnTo>
                    <a:pt x="336834" y="209551"/>
                  </a:lnTo>
                  <a:lnTo>
                    <a:pt x="327520" y="198064"/>
                  </a:lnTo>
                  <a:lnTo>
                    <a:pt x="339007" y="194960"/>
                  </a:lnTo>
                  <a:lnTo>
                    <a:pt x="351425" y="189682"/>
                  </a:lnTo>
                  <a:lnTo>
                    <a:pt x="363842" y="184405"/>
                  </a:lnTo>
                  <a:lnTo>
                    <a:pt x="371293" y="178196"/>
                  </a:lnTo>
                  <a:lnTo>
                    <a:pt x="377502" y="178196"/>
                  </a:lnTo>
                  <a:lnTo>
                    <a:pt x="377502" y="175091"/>
                  </a:lnTo>
                  <a:lnTo>
                    <a:pt x="368189" y="175091"/>
                  </a:lnTo>
                  <a:lnTo>
                    <a:pt x="364153" y="177265"/>
                  </a:lnTo>
                  <a:lnTo>
                    <a:pt x="361048" y="178196"/>
                  </a:lnTo>
                  <a:lnTo>
                    <a:pt x="358875" y="178196"/>
                  </a:lnTo>
                  <a:lnTo>
                    <a:pt x="356702" y="178196"/>
                  </a:lnTo>
                  <a:lnTo>
                    <a:pt x="355771" y="178196"/>
                  </a:lnTo>
                  <a:lnTo>
                    <a:pt x="353598" y="177265"/>
                  </a:lnTo>
                  <a:lnTo>
                    <a:pt x="351425" y="175091"/>
                  </a:lnTo>
                  <a:lnTo>
                    <a:pt x="348320" y="175091"/>
                  </a:lnTo>
                  <a:lnTo>
                    <a:pt x="344284" y="178196"/>
                  </a:lnTo>
                  <a:lnTo>
                    <a:pt x="339007" y="184405"/>
                  </a:lnTo>
                  <a:lnTo>
                    <a:pt x="333729" y="189682"/>
                  </a:lnTo>
                  <a:lnTo>
                    <a:pt x="329693" y="194960"/>
                  </a:lnTo>
                  <a:lnTo>
                    <a:pt x="324416" y="198064"/>
                  </a:lnTo>
                  <a:lnTo>
                    <a:pt x="304547" y="204273"/>
                  </a:lnTo>
                  <a:lnTo>
                    <a:pt x="285610" y="204273"/>
                  </a:lnTo>
                  <a:lnTo>
                    <a:pt x="267915" y="199927"/>
                  </a:lnTo>
                  <a:lnTo>
                    <a:pt x="251151" y="192476"/>
                  </a:lnTo>
                  <a:lnTo>
                    <a:pt x="248978" y="192476"/>
                  </a:lnTo>
                  <a:lnTo>
                    <a:pt x="245873" y="194650"/>
                  </a:lnTo>
                  <a:lnTo>
                    <a:pt x="240595" y="196823"/>
                  </a:lnTo>
                  <a:lnTo>
                    <a:pt x="236560" y="197754"/>
                  </a:lnTo>
                  <a:lnTo>
                    <a:pt x="233455" y="199927"/>
                  </a:lnTo>
                  <a:lnTo>
                    <a:pt x="227246" y="202100"/>
                  </a:lnTo>
                  <a:lnTo>
                    <a:pt x="224142" y="192476"/>
                  </a:lnTo>
                  <a:lnTo>
                    <a:pt x="227246" y="191545"/>
                  </a:lnTo>
                  <a:lnTo>
                    <a:pt x="227246" y="191545"/>
                  </a:lnTo>
                  <a:lnTo>
                    <a:pt x="229419" y="189372"/>
                  </a:lnTo>
                  <a:lnTo>
                    <a:pt x="231593" y="185026"/>
                  </a:lnTo>
                  <a:lnTo>
                    <a:pt x="221037" y="185026"/>
                  </a:lnTo>
                  <a:lnTo>
                    <a:pt x="217002" y="187199"/>
                  </a:lnTo>
                  <a:lnTo>
                    <a:pt x="211724" y="189372"/>
                  </a:lnTo>
                  <a:lnTo>
                    <a:pt x="206446" y="189372"/>
                  </a:lnTo>
                  <a:lnTo>
                    <a:pt x="200238" y="189372"/>
                  </a:lnTo>
                  <a:lnTo>
                    <a:pt x="197133" y="177885"/>
                  </a:lnTo>
                  <a:lnTo>
                    <a:pt x="200238" y="176954"/>
                  </a:lnTo>
                  <a:lnTo>
                    <a:pt x="202411" y="176954"/>
                  </a:lnTo>
                  <a:lnTo>
                    <a:pt x="204584" y="176954"/>
                  </a:lnTo>
                  <a:lnTo>
                    <a:pt x="206757" y="174781"/>
                  </a:lnTo>
                  <a:lnTo>
                    <a:pt x="207688" y="174781"/>
                  </a:lnTo>
                  <a:lnTo>
                    <a:pt x="184715" y="177885"/>
                  </a:lnTo>
                  <a:lnTo>
                    <a:pt x="182542" y="172608"/>
                  </a:lnTo>
                  <a:lnTo>
                    <a:pt x="178506" y="169503"/>
                  </a:lnTo>
                  <a:lnTo>
                    <a:pt x="177575" y="167330"/>
                  </a:lnTo>
                  <a:lnTo>
                    <a:pt x="175402" y="162984"/>
                  </a:lnTo>
                  <a:lnTo>
                    <a:pt x="171366" y="157706"/>
                  </a:lnTo>
                  <a:lnTo>
                    <a:pt x="177575" y="155533"/>
                  </a:lnTo>
                  <a:lnTo>
                    <a:pt x="180679" y="155533"/>
                  </a:lnTo>
                  <a:lnTo>
                    <a:pt x="182853" y="155533"/>
                  </a:lnTo>
                  <a:lnTo>
                    <a:pt x="185026" y="155533"/>
                  </a:lnTo>
                  <a:lnTo>
                    <a:pt x="185026" y="155223"/>
                  </a:lnTo>
                  <a:lnTo>
                    <a:pt x="185957" y="153050"/>
                  </a:lnTo>
                  <a:lnTo>
                    <a:pt x="188130" y="148704"/>
                  </a:lnTo>
                  <a:lnTo>
                    <a:pt x="180679" y="147772"/>
                  </a:lnTo>
                  <a:lnTo>
                    <a:pt x="173229" y="145599"/>
                  </a:lnTo>
                  <a:lnTo>
                    <a:pt x="170124" y="141253"/>
                  </a:lnTo>
                  <a:lnTo>
                    <a:pt x="163915" y="138148"/>
                  </a:lnTo>
                  <a:lnTo>
                    <a:pt x="167951" y="138148"/>
                  </a:lnTo>
                  <a:lnTo>
                    <a:pt x="167951" y="132871"/>
                  </a:lnTo>
                  <a:lnTo>
                    <a:pt x="185647" y="135975"/>
                  </a:lnTo>
                  <a:lnTo>
                    <a:pt x="194960" y="133802"/>
                  </a:lnTo>
                  <a:lnTo>
                    <a:pt x="202411" y="130698"/>
                  </a:lnTo>
                  <a:lnTo>
                    <a:pt x="206446" y="125420"/>
                  </a:lnTo>
                  <a:lnTo>
                    <a:pt x="211724" y="117969"/>
                  </a:lnTo>
                  <a:lnTo>
                    <a:pt x="221037" y="113623"/>
                  </a:lnTo>
                  <a:lnTo>
                    <a:pt x="231593" y="110519"/>
                  </a:lnTo>
                  <a:lnTo>
                    <a:pt x="239043" y="113623"/>
                  </a:lnTo>
                  <a:lnTo>
                    <a:pt x="248357" y="117969"/>
                  </a:lnTo>
                  <a:lnTo>
                    <a:pt x="255807" y="118901"/>
                  </a:lnTo>
                  <a:lnTo>
                    <a:pt x="264189" y="117969"/>
                  </a:lnTo>
                  <a:lnTo>
                    <a:pt x="261085" y="115796"/>
                  </a:lnTo>
                  <a:lnTo>
                    <a:pt x="257049" y="113623"/>
                  </a:lnTo>
                  <a:lnTo>
                    <a:pt x="256118" y="113623"/>
                  </a:lnTo>
                  <a:lnTo>
                    <a:pt x="256118" y="111760"/>
                  </a:lnTo>
                  <a:lnTo>
                    <a:pt x="253945" y="110829"/>
                  </a:lnTo>
                  <a:lnTo>
                    <a:pt x="253945" y="106483"/>
                  </a:lnTo>
                  <a:lnTo>
                    <a:pt x="251772" y="101205"/>
                  </a:lnTo>
                  <a:lnTo>
                    <a:pt x="257049" y="99032"/>
                  </a:lnTo>
                  <a:lnTo>
                    <a:pt x="261085" y="96859"/>
                  </a:lnTo>
                  <a:lnTo>
                    <a:pt x="264189" y="96859"/>
                  </a:lnTo>
                  <a:lnTo>
                    <a:pt x="266363" y="95928"/>
                  </a:lnTo>
                  <a:lnTo>
                    <a:pt x="270398" y="93755"/>
                  </a:lnTo>
                  <a:lnTo>
                    <a:pt x="277849" y="93755"/>
                  </a:lnTo>
                  <a:lnTo>
                    <a:pt x="280953" y="95928"/>
                  </a:lnTo>
                  <a:lnTo>
                    <a:pt x="284989" y="99032"/>
                  </a:lnTo>
                  <a:lnTo>
                    <a:pt x="288094" y="101205"/>
                  </a:lnTo>
                  <a:lnTo>
                    <a:pt x="288094" y="96859"/>
                  </a:lnTo>
                  <a:lnTo>
                    <a:pt x="285921" y="95928"/>
                  </a:lnTo>
                  <a:lnTo>
                    <a:pt x="285921" y="93755"/>
                  </a:lnTo>
                  <a:lnTo>
                    <a:pt x="285921" y="93755"/>
                  </a:lnTo>
                  <a:lnTo>
                    <a:pt x="285921" y="91582"/>
                  </a:lnTo>
                  <a:lnTo>
                    <a:pt x="284989" y="88477"/>
                  </a:lnTo>
                  <a:lnTo>
                    <a:pt x="290267" y="86304"/>
                  </a:lnTo>
                  <a:lnTo>
                    <a:pt x="293371" y="84131"/>
                  </a:lnTo>
                  <a:lnTo>
                    <a:pt x="299580" y="81026"/>
                  </a:lnTo>
                  <a:lnTo>
                    <a:pt x="302685" y="76680"/>
                  </a:lnTo>
                  <a:lnTo>
                    <a:pt x="304858" y="76680"/>
                  </a:lnTo>
                  <a:lnTo>
                    <a:pt x="312308" y="76680"/>
                  </a:lnTo>
                  <a:lnTo>
                    <a:pt x="317586" y="78853"/>
                  </a:lnTo>
                  <a:lnTo>
                    <a:pt x="321622" y="83199"/>
                  </a:lnTo>
                  <a:lnTo>
                    <a:pt x="327831" y="83199"/>
                  </a:lnTo>
                  <a:lnTo>
                    <a:pt x="337144" y="81026"/>
                  </a:lnTo>
                  <a:lnTo>
                    <a:pt x="341180" y="68298"/>
                  </a:lnTo>
                  <a:lnTo>
                    <a:pt x="346458" y="66125"/>
                  </a:lnTo>
                  <a:lnTo>
                    <a:pt x="351735" y="66125"/>
                  </a:lnTo>
                  <a:lnTo>
                    <a:pt x="357013" y="66125"/>
                  </a:lnTo>
                  <a:lnTo>
                    <a:pt x="361048" y="68298"/>
                  </a:lnTo>
                  <a:lnTo>
                    <a:pt x="364153" y="68298"/>
                  </a:lnTo>
                  <a:lnTo>
                    <a:pt x="371604" y="56812"/>
                  </a:lnTo>
                  <a:lnTo>
                    <a:pt x="383090" y="54638"/>
                  </a:lnTo>
                  <a:lnTo>
                    <a:pt x="390541" y="58985"/>
                  </a:lnTo>
                  <a:lnTo>
                    <a:pt x="397992" y="62089"/>
                  </a:lnTo>
                  <a:lnTo>
                    <a:pt x="405442" y="64262"/>
                  </a:lnTo>
                  <a:lnTo>
                    <a:pt x="414756" y="61158"/>
                  </a:lnTo>
                  <a:lnTo>
                    <a:pt x="427173" y="53707"/>
                  </a:lnTo>
                  <a:lnTo>
                    <a:pt x="439281" y="47498"/>
                  </a:lnTo>
                  <a:lnTo>
                    <a:pt x="439281" y="47498"/>
                  </a:lnTo>
                  <a:lnTo>
                    <a:pt x="439281" y="47498"/>
                  </a:lnTo>
                  <a:close/>
                  <a:moveTo>
                    <a:pt x="2195472" y="44394"/>
                  </a:moveTo>
                  <a:lnTo>
                    <a:pt x="2202923" y="46567"/>
                  </a:lnTo>
                  <a:lnTo>
                    <a:pt x="2210374" y="49671"/>
                  </a:lnTo>
                  <a:lnTo>
                    <a:pt x="2213478" y="54018"/>
                  </a:lnTo>
                  <a:lnTo>
                    <a:pt x="2218756" y="57122"/>
                  </a:lnTo>
                  <a:lnTo>
                    <a:pt x="2224965" y="61468"/>
                  </a:lnTo>
                  <a:lnTo>
                    <a:pt x="2220929" y="72023"/>
                  </a:lnTo>
                  <a:lnTo>
                    <a:pt x="2198888" y="84752"/>
                  </a:lnTo>
                  <a:lnTo>
                    <a:pt x="2182123" y="99653"/>
                  </a:lnTo>
                  <a:lnTo>
                    <a:pt x="2167532" y="118590"/>
                  </a:lnTo>
                  <a:lnTo>
                    <a:pt x="2164428" y="118590"/>
                  </a:lnTo>
                  <a:lnTo>
                    <a:pt x="2164428" y="114244"/>
                  </a:lnTo>
                  <a:lnTo>
                    <a:pt x="2159150" y="111140"/>
                  </a:lnTo>
                  <a:lnTo>
                    <a:pt x="2155115" y="106793"/>
                  </a:lnTo>
                  <a:lnTo>
                    <a:pt x="2152942" y="103689"/>
                  </a:lnTo>
                  <a:lnTo>
                    <a:pt x="2149837" y="99343"/>
                  </a:lnTo>
                  <a:lnTo>
                    <a:pt x="2147664" y="94065"/>
                  </a:lnTo>
                  <a:lnTo>
                    <a:pt x="2151700" y="86614"/>
                  </a:lnTo>
                  <a:lnTo>
                    <a:pt x="2152631" y="81337"/>
                  </a:lnTo>
                  <a:lnTo>
                    <a:pt x="2154804" y="71713"/>
                  </a:lnTo>
                  <a:lnTo>
                    <a:pt x="2127795" y="71713"/>
                  </a:lnTo>
                  <a:lnTo>
                    <a:pt x="2127795" y="64262"/>
                  </a:lnTo>
                  <a:lnTo>
                    <a:pt x="2142386" y="58985"/>
                  </a:lnTo>
                  <a:lnTo>
                    <a:pt x="2156977" y="54638"/>
                  </a:lnTo>
                  <a:lnTo>
                    <a:pt x="2174673" y="51534"/>
                  </a:lnTo>
                  <a:lnTo>
                    <a:pt x="2176846" y="56812"/>
                  </a:lnTo>
                  <a:lnTo>
                    <a:pt x="2179019" y="58985"/>
                  </a:lnTo>
                  <a:lnTo>
                    <a:pt x="2179019" y="61158"/>
                  </a:lnTo>
                  <a:lnTo>
                    <a:pt x="2181192" y="61158"/>
                  </a:lnTo>
                  <a:lnTo>
                    <a:pt x="2181192" y="62089"/>
                  </a:lnTo>
                  <a:lnTo>
                    <a:pt x="2184297" y="64262"/>
                  </a:lnTo>
                  <a:lnTo>
                    <a:pt x="2186470" y="58985"/>
                  </a:lnTo>
                  <a:lnTo>
                    <a:pt x="2188643" y="54638"/>
                  </a:lnTo>
                  <a:lnTo>
                    <a:pt x="2189574" y="51534"/>
                  </a:lnTo>
                  <a:lnTo>
                    <a:pt x="2193610" y="47188"/>
                  </a:lnTo>
                  <a:lnTo>
                    <a:pt x="2195472" y="44394"/>
                  </a:lnTo>
                  <a:lnTo>
                    <a:pt x="2195472" y="44394"/>
                  </a:lnTo>
                  <a:lnTo>
                    <a:pt x="2195472" y="44394"/>
                  </a:lnTo>
                  <a:close/>
                  <a:moveTo>
                    <a:pt x="2240487" y="24215"/>
                  </a:moveTo>
                  <a:lnTo>
                    <a:pt x="2244523" y="25146"/>
                  </a:lnTo>
                  <a:lnTo>
                    <a:pt x="2245454" y="25146"/>
                  </a:lnTo>
                  <a:lnTo>
                    <a:pt x="2247628" y="27319"/>
                  </a:lnTo>
                  <a:lnTo>
                    <a:pt x="2247628" y="27319"/>
                  </a:lnTo>
                  <a:lnTo>
                    <a:pt x="2249800" y="29492"/>
                  </a:lnTo>
                  <a:lnTo>
                    <a:pt x="2251974" y="32597"/>
                  </a:lnTo>
                  <a:lnTo>
                    <a:pt x="2255078" y="38806"/>
                  </a:lnTo>
                  <a:lnTo>
                    <a:pt x="2259114" y="44083"/>
                  </a:lnTo>
                  <a:lnTo>
                    <a:pt x="2260045" y="51534"/>
                  </a:lnTo>
                  <a:lnTo>
                    <a:pt x="2251663" y="51534"/>
                  </a:lnTo>
                  <a:lnTo>
                    <a:pt x="2251663" y="47188"/>
                  </a:lnTo>
                  <a:lnTo>
                    <a:pt x="2247628" y="44083"/>
                  </a:lnTo>
                  <a:lnTo>
                    <a:pt x="2244523" y="39737"/>
                  </a:lnTo>
                  <a:lnTo>
                    <a:pt x="2242350" y="36633"/>
                  </a:lnTo>
                  <a:lnTo>
                    <a:pt x="2240177" y="31355"/>
                  </a:lnTo>
                  <a:lnTo>
                    <a:pt x="2240177" y="24215"/>
                  </a:lnTo>
                  <a:lnTo>
                    <a:pt x="2240487" y="24215"/>
                  </a:lnTo>
                  <a:lnTo>
                    <a:pt x="2240487" y="24215"/>
                  </a:lnTo>
                  <a:close/>
                  <a:moveTo>
                    <a:pt x="984113" y="20179"/>
                  </a:moveTo>
                  <a:lnTo>
                    <a:pt x="1009259" y="20179"/>
                  </a:lnTo>
                  <a:lnTo>
                    <a:pt x="1035337" y="24525"/>
                  </a:lnTo>
                  <a:lnTo>
                    <a:pt x="1058310" y="27630"/>
                  </a:lnTo>
                  <a:lnTo>
                    <a:pt x="1079110" y="32907"/>
                  </a:lnTo>
                  <a:lnTo>
                    <a:pt x="1109223" y="27630"/>
                  </a:lnTo>
                  <a:lnTo>
                    <a:pt x="1113259" y="31976"/>
                  </a:lnTo>
                  <a:lnTo>
                    <a:pt x="1116363" y="32907"/>
                  </a:lnTo>
                  <a:lnTo>
                    <a:pt x="1120399" y="39116"/>
                  </a:lnTo>
                  <a:lnTo>
                    <a:pt x="1122572" y="42221"/>
                  </a:lnTo>
                  <a:lnTo>
                    <a:pt x="1125676" y="44394"/>
                  </a:lnTo>
                  <a:lnTo>
                    <a:pt x="1143372" y="51844"/>
                  </a:lnTo>
                  <a:lnTo>
                    <a:pt x="1164172" y="57122"/>
                  </a:lnTo>
                  <a:lnTo>
                    <a:pt x="1181867" y="61468"/>
                  </a:lnTo>
                  <a:lnTo>
                    <a:pt x="1181867" y="68919"/>
                  </a:lnTo>
                  <a:lnTo>
                    <a:pt x="1152685" y="68919"/>
                  </a:lnTo>
                  <a:lnTo>
                    <a:pt x="1140267" y="62710"/>
                  </a:lnTo>
                  <a:lnTo>
                    <a:pt x="1125676" y="62710"/>
                  </a:lnTo>
                  <a:lnTo>
                    <a:pt x="1108912" y="64883"/>
                  </a:lnTo>
                  <a:lnTo>
                    <a:pt x="1093390" y="69229"/>
                  </a:lnTo>
                  <a:lnTo>
                    <a:pt x="1093390" y="77611"/>
                  </a:lnTo>
                  <a:lnTo>
                    <a:pt x="1113259" y="77611"/>
                  </a:lnTo>
                  <a:lnTo>
                    <a:pt x="1127850" y="74507"/>
                  </a:lnTo>
                  <a:lnTo>
                    <a:pt x="1145545" y="72334"/>
                  </a:lnTo>
                  <a:lnTo>
                    <a:pt x="1167587" y="72334"/>
                  </a:lnTo>
                  <a:lnTo>
                    <a:pt x="1189628" y="72334"/>
                  </a:lnTo>
                  <a:lnTo>
                    <a:pt x="1206392" y="72334"/>
                  </a:lnTo>
                  <a:lnTo>
                    <a:pt x="1220983" y="87235"/>
                  </a:lnTo>
                  <a:lnTo>
                    <a:pt x="1238679" y="97790"/>
                  </a:lnTo>
                  <a:lnTo>
                    <a:pt x="1233401" y="109277"/>
                  </a:lnTo>
                  <a:lnTo>
                    <a:pt x="1222846" y="116728"/>
                  </a:lnTo>
                  <a:lnTo>
                    <a:pt x="1213533" y="122005"/>
                  </a:lnTo>
                  <a:lnTo>
                    <a:pt x="1201115" y="126351"/>
                  </a:lnTo>
                  <a:lnTo>
                    <a:pt x="1182178" y="126351"/>
                  </a:lnTo>
                  <a:lnTo>
                    <a:pt x="1165413" y="131629"/>
                  </a:lnTo>
                  <a:lnTo>
                    <a:pt x="1147718" y="131629"/>
                  </a:lnTo>
                  <a:lnTo>
                    <a:pt x="1127850" y="129456"/>
                  </a:lnTo>
                  <a:lnTo>
                    <a:pt x="1108912" y="127283"/>
                  </a:lnTo>
                  <a:lnTo>
                    <a:pt x="1091527" y="127283"/>
                  </a:lnTo>
                  <a:lnTo>
                    <a:pt x="1076936" y="131629"/>
                  </a:lnTo>
                  <a:lnTo>
                    <a:pt x="1065450" y="142184"/>
                  </a:lnTo>
                  <a:lnTo>
                    <a:pt x="1109223" y="142184"/>
                  </a:lnTo>
                  <a:lnTo>
                    <a:pt x="1122882" y="139080"/>
                  </a:lnTo>
                  <a:lnTo>
                    <a:pt x="1138405" y="136907"/>
                  </a:lnTo>
                  <a:lnTo>
                    <a:pt x="1157342" y="139080"/>
                  </a:lnTo>
                  <a:lnTo>
                    <a:pt x="1169760" y="142184"/>
                  </a:lnTo>
                  <a:lnTo>
                    <a:pt x="1172864" y="155844"/>
                  </a:lnTo>
                  <a:lnTo>
                    <a:pt x="1179073" y="153671"/>
                  </a:lnTo>
                  <a:lnTo>
                    <a:pt x="1187455" y="148393"/>
                  </a:lnTo>
                  <a:lnTo>
                    <a:pt x="1198942" y="144047"/>
                  </a:lnTo>
                  <a:lnTo>
                    <a:pt x="1209497" y="141874"/>
                  </a:lnTo>
                  <a:lnTo>
                    <a:pt x="1211670" y="148083"/>
                  </a:lnTo>
                  <a:lnTo>
                    <a:pt x="1213843" y="151187"/>
                  </a:lnTo>
                  <a:lnTo>
                    <a:pt x="1216016" y="153360"/>
                  </a:lnTo>
                  <a:lnTo>
                    <a:pt x="1219121" y="155533"/>
                  </a:lnTo>
                  <a:lnTo>
                    <a:pt x="1223156" y="158638"/>
                  </a:lnTo>
                  <a:lnTo>
                    <a:pt x="1206392" y="189993"/>
                  </a:lnTo>
                  <a:lnTo>
                    <a:pt x="1213843" y="189993"/>
                  </a:lnTo>
                  <a:lnTo>
                    <a:pt x="1226261" y="182542"/>
                  </a:lnTo>
                  <a:lnTo>
                    <a:pt x="1243025" y="172918"/>
                  </a:lnTo>
                  <a:lnTo>
                    <a:pt x="1262893" y="165468"/>
                  </a:lnTo>
                  <a:lnTo>
                    <a:pt x="1284935" y="158017"/>
                  </a:lnTo>
                  <a:lnTo>
                    <a:pt x="1308839" y="152739"/>
                  </a:lnTo>
                  <a:lnTo>
                    <a:pt x="1329639" y="152739"/>
                  </a:lnTo>
                  <a:lnTo>
                    <a:pt x="1350439" y="154912"/>
                  </a:lnTo>
                  <a:lnTo>
                    <a:pt x="1365030" y="163294"/>
                  </a:lnTo>
                  <a:lnTo>
                    <a:pt x="1373412" y="178196"/>
                  </a:lnTo>
                  <a:lnTo>
                    <a:pt x="1379621" y="178196"/>
                  </a:lnTo>
                  <a:lnTo>
                    <a:pt x="1379621" y="180369"/>
                  </a:lnTo>
                  <a:lnTo>
                    <a:pt x="1379621" y="180369"/>
                  </a:lnTo>
                  <a:lnTo>
                    <a:pt x="1377448" y="182542"/>
                  </a:lnTo>
                  <a:lnTo>
                    <a:pt x="1375275" y="182542"/>
                  </a:lnTo>
                  <a:lnTo>
                    <a:pt x="1375275" y="182542"/>
                  </a:lnTo>
                  <a:lnTo>
                    <a:pt x="1373102" y="182542"/>
                  </a:lnTo>
                  <a:lnTo>
                    <a:pt x="1369997" y="185647"/>
                  </a:lnTo>
                  <a:lnTo>
                    <a:pt x="1364720" y="187820"/>
                  </a:lnTo>
                  <a:lnTo>
                    <a:pt x="1358511" y="189993"/>
                  </a:lnTo>
                  <a:lnTo>
                    <a:pt x="1351060" y="192166"/>
                  </a:lnTo>
                  <a:lnTo>
                    <a:pt x="1345783" y="193097"/>
                  </a:lnTo>
                  <a:lnTo>
                    <a:pt x="1333365" y="213276"/>
                  </a:lnTo>
                  <a:lnTo>
                    <a:pt x="1309460" y="228178"/>
                  </a:lnTo>
                  <a:lnTo>
                    <a:pt x="1282452" y="237801"/>
                  </a:lnTo>
                  <a:lnTo>
                    <a:pt x="1250165" y="243079"/>
                  </a:lnTo>
                  <a:lnTo>
                    <a:pt x="1250165" y="249288"/>
                  </a:lnTo>
                  <a:lnTo>
                    <a:pt x="1250165" y="252392"/>
                  </a:lnTo>
                  <a:lnTo>
                    <a:pt x="1250165" y="254566"/>
                  </a:lnTo>
                  <a:lnTo>
                    <a:pt x="1247992" y="256739"/>
                  </a:lnTo>
                  <a:lnTo>
                    <a:pt x="1250165" y="257670"/>
                  </a:lnTo>
                  <a:lnTo>
                    <a:pt x="1250165" y="259843"/>
                  </a:lnTo>
                  <a:lnTo>
                    <a:pt x="1253270" y="264189"/>
                  </a:lnTo>
                  <a:lnTo>
                    <a:pt x="1258547" y="267294"/>
                  </a:lnTo>
                  <a:lnTo>
                    <a:pt x="1262583" y="269467"/>
                  </a:lnTo>
                  <a:lnTo>
                    <a:pt x="1265687" y="272571"/>
                  </a:lnTo>
                  <a:lnTo>
                    <a:pt x="1269723" y="274745"/>
                  </a:lnTo>
                  <a:lnTo>
                    <a:pt x="1272828" y="280022"/>
                  </a:lnTo>
                  <a:lnTo>
                    <a:pt x="1269723" y="287473"/>
                  </a:lnTo>
                  <a:lnTo>
                    <a:pt x="1265687" y="304237"/>
                  </a:lnTo>
                  <a:lnTo>
                    <a:pt x="1262583" y="324416"/>
                  </a:lnTo>
                  <a:lnTo>
                    <a:pt x="1258547" y="344595"/>
                  </a:lnTo>
                  <a:lnTo>
                    <a:pt x="1258547" y="361359"/>
                  </a:lnTo>
                  <a:lnTo>
                    <a:pt x="1262583" y="359186"/>
                  </a:lnTo>
                  <a:lnTo>
                    <a:pt x="1265687" y="359186"/>
                  </a:lnTo>
                  <a:lnTo>
                    <a:pt x="1267861" y="359186"/>
                  </a:lnTo>
                  <a:lnTo>
                    <a:pt x="1271896" y="359186"/>
                  </a:lnTo>
                  <a:lnTo>
                    <a:pt x="1272828" y="359186"/>
                  </a:lnTo>
                  <a:lnTo>
                    <a:pt x="1279037" y="361359"/>
                  </a:lnTo>
                  <a:lnTo>
                    <a:pt x="1276864" y="366636"/>
                  </a:lnTo>
                  <a:lnTo>
                    <a:pt x="1276864" y="368810"/>
                  </a:lnTo>
                  <a:lnTo>
                    <a:pt x="1276864" y="373156"/>
                  </a:lnTo>
                  <a:lnTo>
                    <a:pt x="1276864" y="374087"/>
                  </a:lnTo>
                  <a:lnTo>
                    <a:pt x="1276864" y="378433"/>
                  </a:lnTo>
                  <a:lnTo>
                    <a:pt x="1279037" y="385884"/>
                  </a:lnTo>
                  <a:lnTo>
                    <a:pt x="1272828" y="385884"/>
                  </a:lnTo>
                  <a:lnTo>
                    <a:pt x="1272828" y="388989"/>
                  </a:lnTo>
                  <a:lnTo>
                    <a:pt x="1269723" y="388057"/>
                  </a:lnTo>
                  <a:lnTo>
                    <a:pt x="1265687" y="383711"/>
                  </a:lnTo>
                  <a:lnTo>
                    <a:pt x="1264756" y="381538"/>
                  </a:lnTo>
                  <a:lnTo>
                    <a:pt x="1260720" y="380607"/>
                  </a:lnTo>
                  <a:lnTo>
                    <a:pt x="1257616" y="378433"/>
                  </a:lnTo>
                  <a:lnTo>
                    <a:pt x="1250165" y="378433"/>
                  </a:lnTo>
                  <a:lnTo>
                    <a:pt x="1246129" y="380607"/>
                  </a:lnTo>
                  <a:lnTo>
                    <a:pt x="1243025" y="381538"/>
                  </a:lnTo>
                  <a:lnTo>
                    <a:pt x="1238989" y="383711"/>
                  </a:lnTo>
                  <a:lnTo>
                    <a:pt x="1236816" y="385884"/>
                  </a:lnTo>
                  <a:lnTo>
                    <a:pt x="1233711" y="388057"/>
                  </a:lnTo>
                  <a:lnTo>
                    <a:pt x="1231538" y="391162"/>
                  </a:lnTo>
                  <a:lnTo>
                    <a:pt x="1229365" y="398612"/>
                  </a:lnTo>
                  <a:lnTo>
                    <a:pt x="1253270" y="406063"/>
                  </a:lnTo>
                  <a:lnTo>
                    <a:pt x="1258547" y="438660"/>
                  </a:lnTo>
                  <a:lnTo>
                    <a:pt x="1253270" y="438660"/>
                  </a:lnTo>
                  <a:lnTo>
                    <a:pt x="1250165" y="438660"/>
                  </a:lnTo>
                  <a:lnTo>
                    <a:pt x="1246129" y="440833"/>
                  </a:lnTo>
                  <a:lnTo>
                    <a:pt x="1243025" y="443006"/>
                  </a:lnTo>
                  <a:lnTo>
                    <a:pt x="1243025" y="450457"/>
                  </a:lnTo>
                  <a:lnTo>
                    <a:pt x="1251407" y="455734"/>
                  </a:lnTo>
                  <a:lnTo>
                    <a:pt x="1257616" y="463185"/>
                  </a:lnTo>
                  <a:lnTo>
                    <a:pt x="1260720" y="472809"/>
                  </a:lnTo>
                  <a:lnTo>
                    <a:pt x="1262893" y="487710"/>
                  </a:lnTo>
                  <a:lnTo>
                    <a:pt x="1253580" y="487710"/>
                  </a:lnTo>
                  <a:lnTo>
                    <a:pt x="1251407" y="487710"/>
                  </a:lnTo>
                  <a:lnTo>
                    <a:pt x="1246129" y="485537"/>
                  </a:lnTo>
                  <a:lnTo>
                    <a:pt x="1243025" y="487710"/>
                  </a:lnTo>
                  <a:lnTo>
                    <a:pt x="1236816" y="487710"/>
                  </a:lnTo>
                  <a:lnTo>
                    <a:pt x="1233711" y="490815"/>
                  </a:lnTo>
                  <a:lnTo>
                    <a:pt x="1229676" y="495161"/>
                  </a:lnTo>
                  <a:lnTo>
                    <a:pt x="1235885" y="498266"/>
                  </a:lnTo>
                  <a:lnTo>
                    <a:pt x="1238989" y="500439"/>
                  </a:lnTo>
                  <a:lnTo>
                    <a:pt x="1241162" y="502612"/>
                  </a:lnTo>
                  <a:lnTo>
                    <a:pt x="1243335" y="503543"/>
                  </a:lnTo>
                  <a:lnTo>
                    <a:pt x="1244267" y="509752"/>
                  </a:lnTo>
                  <a:lnTo>
                    <a:pt x="1246440" y="515030"/>
                  </a:lnTo>
                  <a:lnTo>
                    <a:pt x="1244267" y="517203"/>
                  </a:lnTo>
                  <a:lnTo>
                    <a:pt x="1244267" y="518134"/>
                  </a:lnTo>
                  <a:lnTo>
                    <a:pt x="1244267" y="518134"/>
                  </a:lnTo>
                  <a:lnTo>
                    <a:pt x="1243335" y="520307"/>
                  </a:lnTo>
                  <a:lnTo>
                    <a:pt x="1243335" y="524653"/>
                  </a:lnTo>
                  <a:lnTo>
                    <a:pt x="1228124" y="524653"/>
                  </a:lnTo>
                  <a:lnTo>
                    <a:pt x="1213533" y="527758"/>
                  </a:lnTo>
                  <a:lnTo>
                    <a:pt x="1202046" y="532104"/>
                  </a:lnTo>
                  <a:lnTo>
                    <a:pt x="1206082" y="532104"/>
                  </a:lnTo>
                  <a:lnTo>
                    <a:pt x="1211359" y="535209"/>
                  </a:lnTo>
                  <a:lnTo>
                    <a:pt x="1215395" y="537382"/>
                  </a:lnTo>
                  <a:lnTo>
                    <a:pt x="1218500" y="537382"/>
                  </a:lnTo>
                  <a:lnTo>
                    <a:pt x="1222536" y="539555"/>
                  </a:lnTo>
                  <a:lnTo>
                    <a:pt x="1225640" y="542659"/>
                  </a:lnTo>
                  <a:lnTo>
                    <a:pt x="1228744" y="547937"/>
                  </a:lnTo>
                  <a:lnTo>
                    <a:pt x="1222536" y="557561"/>
                  </a:lnTo>
                  <a:lnTo>
                    <a:pt x="1218500" y="569047"/>
                  </a:lnTo>
                  <a:lnTo>
                    <a:pt x="1213222" y="581775"/>
                  </a:lnTo>
                  <a:lnTo>
                    <a:pt x="1211049" y="576498"/>
                  </a:lnTo>
                  <a:lnTo>
                    <a:pt x="1207945" y="572152"/>
                  </a:lnTo>
                  <a:lnTo>
                    <a:pt x="1205771" y="569979"/>
                  </a:lnTo>
                  <a:lnTo>
                    <a:pt x="1201736" y="569979"/>
                  </a:lnTo>
                  <a:lnTo>
                    <a:pt x="1196458" y="569047"/>
                  </a:lnTo>
                  <a:lnTo>
                    <a:pt x="1189007" y="569047"/>
                  </a:lnTo>
                  <a:lnTo>
                    <a:pt x="1189007" y="572152"/>
                  </a:lnTo>
                  <a:lnTo>
                    <a:pt x="1193043" y="572152"/>
                  </a:lnTo>
                  <a:lnTo>
                    <a:pt x="1205461" y="584880"/>
                  </a:lnTo>
                  <a:lnTo>
                    <a:pt x="1216016" y="599781"/>
                  </a:lnTo>
                  <a:lnTo>
                    <a:pt x="1222225" y="618719"/>
                  </a:lnTo>
                  <a:lnTo>
                    <a:pt x="1225329" y="640760"/>
                  </a:lnTo>
                  <a:lnTo>
                    <a:pt x="1222225" y="640760"/>
                  </a:lnTo>
                  <a:lnTo>
                    <a:pt x="1222225" y="646038"/>
                  </a:lnTo>
                  <a:lnTo>
                    <a:pt x="1193043" y="649142"/>
                  </a:lnTo>
                  <a:lnTo>
                    <a:pt x="1193043" y="628963"/>
                  </a:lnTo>
                  <a:lnTo>
                    <a:pt x="1189007" y="625859"/>
                  </a:lnTo>
                  <a:lnTo>
                    <a:pt x="1185903" y="623686"/>
                  </a:lnTo>
                  <a:lnTo>
                    <a:pt x="1183730" y="621513"/>
                  </a:lnTo>
                  <a:lnTo>
                    <a:pt x="1178452" y="618408"/>
                  </a:lnTo>
                  <a:lnTo>
                    <a:pt x="1172243" y="616235"/>
                  </a:lnTo>
                  <a:lnTo>
                    <a:pt x="1163861" y="621513"/>
                  </a:lnTo>
                  <a:lnTo>
                    <a:pt x="1152375" y="625859"/>
                  </a:lnTo>
                  <a:lnTo>
                    <a:pt x="1139957" y="626790"/>
                  </a:lnTo>
                  <a:lnTo>
                    <a:pt x="1128470" y="631136"/>
                  </a:lnTo>
                  <a:lnTo>
                    <a:pt x="1122262" y="636414"/>
                  </a:lnTo>
                  <a:lnTo>
                    <a:pt x="1128470" y="636414"/>
                  </a:lnTo>
                  <a:lnTo>
                    <a:pt x="1137784" y="636414"/>
                  </a:lnTo>
                  <a:lnTo>
                    <a:pt x="1152375" y="634241"/>
                  </a:lnTo>
                  <a:lnTo>
                    <a:pt x="1169139" y="633309"/>
                  </a:lnTo>
                  <a:lnTo>
                    <a:pt x="1169139" y="640760"/>
                  </a:lnTo>
                  <a:lnTo>
                    <a:pt x="1132506" y="653488"/>
                  </a:lnTo>
                  <a:lnTo>
                    <a:pt x="1132506" y="656593"/>
                  </a:lnTo>
                  <a:lnTo>
                    <a:pt x="1141820" y="656593"/>
                  </a:lnTo>
                  <a:lnTo>
                    <a:pt x="1147097" y="655662"/>
                  </a:lnTo>
                  <a:lnTo>
                    <a:pt x="1154548" y="653488"/>
                  </a:lnTo>
                  <a:lnTo>
                    <a:pt x="1161999" y="651315"/>
                  </a:lnTo>
                  <a:lnTo>
                    <a:pt x="1169449" y="649142"/>
                  </a:lnTo>
                  <a:lnTo>
                    <a:pt x="1171622" y="658766"/>
                  </a:lnTo>
                  <a:lnTo>
                    <a:pt x="1179073" y="663112"/>
                  </a:lnTo>
                  <a:lnTo>
                    <a:pt x="1186524" y="664044"/>
                  </a:lnTo>
                  <a:lnTo>
                    <a:pt x="1198942" y="663112"/>
                  </a:lnTo>
                  <a:lnTo>
                    <a:pt x="1213533" y="663112"/>
                  </a:lnTo>
                  <a:lnTo>
                    <a:pt x="1213533" y="666217"/>
                  </a:lnTo>
                  <a:lnTo>
                    <a:pt x="1209497" y="666217"/>
                  </a:lnTo>
                  <a:lnTo>
                    <a:pt x="1189628" y="685154"/>
                  </a:lnTo>
                  <a:lnTo>
                    <a:pt x="1167587" y="703160"/>
                  </a:lnTo>
                  <a:lnTo>
                    <a:pt x="1145545" y="718061"/>
                  </a:lnTo>
                  <a:lnTo>
                    <a:pt x="1120399" y="730789"/>
                  </a:lnTo>
                  <a:lnTo>
                    <a:pt x="1093390" y="736067"/>
                  </a:lnTo>
                  <a:lnTo>
                    <a:pt x="1062035" y="735136"/>
                  </a:lnTo>
                  <a:lnTo>
                    <a:pt x="1062035" y="740413"/>
                  </a:lnTo>
                  <a:lnTo>
                    <a:pt x="1062035" y="745691"/>
                  </a:lnTo>
                  <a:lnTo>
                    <a:pt x="1059862" y="750037"/>
                  </a:lnTo>
                  <a:lnTo>
                    <a:pt x="1057689" y="750968"/>
                  </a:lnTo>
                  <a:lnTo>
                    <a:pt x="1056757" y="750968"/>
                  </a:lnTo>
                  <a:lnTo>
                    <a:pt x="1054584" y="753142"/>
                  </a:lnTo>
                  <a:lnTo>
                    <a:pt x="1050548" y="755315"/>
                  </a:lnTo>
                  <a:lnTo>
                    <a:pt x="1047444" y="757488"/>
                  </a:lnTo>
                  <a:lnTo>
                    <a:pt x="1045271" y="758419"/>
                  </a:lnTo>
                  <a:lnTo>
                    <a:pt x="1042166" y="762765"/>
                  </a:lnTo>
                  <a:lnTo>
                    <a:pt x="1038131" y="773321"/>
                  </a:lnTo>
                  <a:lnTo>
                    <a:pt x="1035957" y="786980"/>
                  </a:lnTo>
                  <a:lnTo>
                    <a:pt x="1032853" y="795362"/>
                  </a:lnTo>
                  <a:lnTo>
                    <a:pt x="1023540" y="804986"/>
                  </a:lnTo>
                  <a:lnTo>
                    <a:pt x="1008017" y="815541"/>
                  </a:lnTo>
                  <a:lnTo>
                    <a:pt x="987218" y="825165"/>
                  </a:lnTo>
                  <a:lnTo>
                    <a:pt x="969522" y="832616"/>
                  </a:lnTo>
                  <a:lnTo>
                    <a:pt x="952758" y="836962"/>
                  </a:lnTo>
                  <a:lnTo>
                    <a:pt x="952758" y="832616"/>
                  </a:lnTo>
                  <a:lnTo>
                    <a:pt x="952758" y="829511"/>
                  </a:lnTo>
                  <a:lnTo>
                    <a:pt x="950585" y="829511"/>
                  </a:lnTo>
                  <a:lnTo>
                    <a:pt x="950585" y="827338"/>
                  </a:lnTo>
                  <a:lnTo>
                    <a:pt x="949654" y="825165"/>
                  </a:lnTo>
                  <a:lnTo>
                    <a:pt x="947480" y="840066"/>
                  </a:lnTo>
                  <a:lnTo>
                    <a:pt x="942203" y="852795"/>
                  </a:lnTo>
                  <a:lnTo>
                    <a:pt x="938167" y="864281"/>
                  </a:lnTo>
                  <a:lnTo>
                    <a:pt x="932890" y="874836"/>
                  </a:lnTo>
                  <a:lnTo>
                    <a:pt x="928854" y="889738"/>
                  </a:lnTo>
                  <a:lnTo>
                    <a:pt x="932890" y="891911"/>
                  </a:lnTo>
                  <a:lnTo>
                    <a:pt x="932890" y="894084"/>
                  </a:lnTo>
                  <a:lnTo>
                    <a:pt x="935063" y="894084"/>
                  </a:lnTo>
                  <a:lnTo>
                    <a:pt x="935063" y="894084"/>
                  </a:lnTo>
                  <a:lnTo>
                    <a:pt x="935063" y="896257"/>
                  </a:lnTo>
                  <a:lnTo>
                    <a:pt x="932890" y="897188"/>
                  </a:lnTo>
                  <a:lnTo>
                    <a:pt x="928854" y="901535"/>
                  </a:lnTo>
                  <a:lnTo>
                    <a:pt x="925749" y="903708"/>
                  </a:lnTo>
                  <a:lnTo>
                    <a:pt x="922645" y="906812"/>
                  </a:lnTo>
                  <a:lnTo>
                    <a:pt x="918609" y="908985"/>
                  </a:lnTo>
                  <a:lnTo>
                    <a:pt x="916436" y="912090"/>
                  </a:lnTo>
                  <a:lnTo>
                    <a:pt x="913331" y="917367"/>
                  </a:lnTo>
                  <a:lnTo>
                    <a:pt x="905881" y="938478"/>
                  </a:lnTo>
                  <a:lnTo>
                    <a:pt x="900603" y="960519"/>
                  </a:lnTo>
                  <a:lnTo>
                    <a:pt x="898430" y="985976"/>
                  </a:lnTo>
                  <a:lnTo>
                    <a:pt x="894394" y="1010191"/>
                  </a:lnTo>
                  <a:lnTo>
                    <a:pt x="889117" y="1032232"/>
                  </a:lnTo>
                  <a:lnTo>
                    <a:pt x="886012" y="1030059"/>
                  </a:lnTo>
                  <a:lnTo>
                    <a:pt x="886012" y="1030059"/>
                  </a:lnTo>
                  <a:lnTo>
                    <a:pt x="883839" y="1030059"/>
                  </a:lnTo>
                  <a:lnTo>
                    <a:pt x="883839" y="1027886"/>
                  </a:lnTo>
                  <a:lnTo>
                    <a:pt x="881666" y="1027886"/>
                  </a:lnTo>
                  <a:lnTo>
                    <a:pt x="876388" y="1024782"/>
                  </a:lnTo>
                  <a:lnTo>
                    <a:pt x="867075" y="1017331"/>
                  </a:lnTo>
                  <a:lnTo>
                    <a:pt x="852484" y="1005844"/>
                  </a:lnTo>
                  <a:lnTo>
                    <a:pt x="835720" y="996221"/>
                  </a:lnTo>
                  <a:lnTo>
                    <a:pt x="820198" y="985665"/>
                  </a:lnTo>
                  <a:lnTo>
                    <a:pt x="807780" y="976042"/>
                  </a:lnTo>
                  <a:lnTo>
                    <a:pt x="796294" y="970764"/>
                  </a:lnTo>
                  <a:lnTo>
                    <a:pt x="793189" y="968591"/>
                  </a:lnTo>
                  <a:lnTo>
                    <a:pt x="789153" y="928543"/>
                  </a:lnTo>
                  <a:lnTo>
                    <a:pt x="786980" y="924197"/>
                  </a:lnTo>
                  <a:lnTo>
                    <a:pt x="781703" y="921093"/>
                  </a:lnTo>
                  <a:lnTo>
                    <a:pt x="778598" y="918920"/>
                  </a:lnTo>
                  <a:lnTo>
                    <a:pt x="772389" y="914573"/>
                  </a:lnTo>
                  <a:lnTo>
                    <a:pt x="769285" y="911469"/>
                  </a:lnTo>
                  <a:lnTo>
                    <a:pt x="772389" y="909296"/>
                  </a:lnTo>
                  <a:lnTo>
                    <a:pt x="772389" y="907123"/>
                  </a:lnTo>
                  <a:lnTo>
                    <a:pt x="774562" y="906191"/>
                  </a:lnTo>
                  <a:lnTo>
                    <a:pt x="774562" y="906191"/>
                  </a:lnTo>
                  <a:lnTo>
                    <a:pt x="776735" y="901845"/>
                  </a:lnTo>
                  <a:lnTo>
                    <a:pt x="778908" y="898741"/>
                  </a:lnTo>
                  <a:lnTo>
                    <a:pt x="769595" y="898741"/>
                  </a:lnTo>
                  <a:lnTo>
                    <a:pt x="764317" y="898741"/>
                  </a:lnTo>
                  <a:lnTo>
                    <a:pt x="760282" y="898741"/>
                  </a:lnTo>
                  <a:lnTo>
                    <a:pt x="758109" y="896567"/>
                  </a:lnTo>
                  <a:lnTo>
                    <a:pt x="757177" y="893463"/>
                  </a:lnTo>
                  <a:lnTo>
                    <a:pt x="753141" y="887254"/>
                  </a:lnTo>
                  <a:lnTo>
                    <a:pt x="750968" y="884150"/>
                  </a:lnTo>
                  <a:lnTo>
                    <a:pt x="750968" y="879803"/>
                  </a:lnTo>
                  <a:lnTo>
                    <a:pt x="750968" y="878872"/>
                  </a:lnTo>
                  <a:lnTo>
                    <a:pt x="750968" y="874526"/>
                  </a:lnTo>
                  <a:lnTo>
                    <a:pt x="753141" y="871421"/>
                  </a:lnTo>
                  <a:lnTo>
                    <a:pt x="753141" y="867075"/>
                  </a:lnTo>
                  <a:lnTo>
                    <a:pt x="742586" y="867075"/>
                  </a:lnTo>
                  <a:lnTo>
                    <a:pt x="742586" y="861798"/>
                  </a:lnTo>
                  <a:lnTo>
                    <a:pt x="743518" y="856520"/>
                  </a:lnTo>
                  <a:lnTo>
                    <a:pt x="745691" y="854347"/>
                  </a:lnTo>
                  <a:lnTo>
                    <a:pt x="745691" y="850622"/>
                  </a:lnTo>
                  <a:lnTo>
                    <a:pt x="747864" y="847517"/>
                  </a:lnTo>
                  <a:lnTo>
                    <a:pt x="750037" y="842239"/>
                  </a:lnTo>
                  <a:lnTo>
                    <a:pt x="743828" y="842239"/>
                  </a:lnTo>
                  <a:lnTo>
                    <a:pt x="737619" y="842239"/>
                  </a:lnTo>
                  <a:lnTo>
                    <a:pt x="734515" y="840066"/>
                  </a:lnTo>
                  <a:lnTo>
                    <a:pt x="728306" y="837893"/>
                  </a:lnTo>
                  <a:lnTo>
                    <a:pt x="727375" y="810574"/>
                  </a:lnTo>
                  <a:lnTo>
                    <a:pt x="725201" y="785117"/>
                  </a:lnTo>
                  <a:lnTo>
                    <a:pt x="725201" y="760903"/>
                  </a:lnTo>
                  <a:lnTo>
                    <a:pt x="732652" y="736688"/>
                  </a:lnTo>
                  <a:lnTo>
                    <a:pt x="740103" y="726133"/>
                  </a:lnTo>
                  <a:lnTo>
                    <a:pt x="749416" y="718682"/>
                  </a:lnTo>
                  <a:lnTo>
                    <a:pt x="756867" y="712473"/>
                  </a:lnTo>
                  <a:lnTo>
                    <a:pt x="762144" y="704091"/>
                  </a:lnTo>
                  <a:lnTo>
                    <a:pt x="767422" y="692605"/>
                  </a:lnTo>
                  <a:lnTo>
                    <a:pt x="769595" y="672426"/>
                  </a:lnTo>
                  <a:lnTo>
                    <a:pt x="765559" y="672426"/>
                  </a:lnTo>
                  <a:lnTo>
                    <a:pt x="762455" y="676772"/>
                  </a:lnTo>
                  <a:lnTo>
                    <a:pt x="758419" y="677703"/>
                  </a:lnTo>
                  <a:lnTo>
                    <a:pt x="757488" y="677703"/>
                  </a:lnTo>
                  <a:lnTo>
                    <a:pt x="753452" y="677703"/>
                  </a:lnTo>
                  <a:lnTo>
                    <a:pt x="750347" y="676772"/>
                  </a:lnTo>
                  <a:lnTo>
                    <a:pt x="735757" y="672426"/>
                  </a:lnTo>
                  <a:lnTo>
                    <a:pt x="724270" y="664975"/>
                  </a:lnTo>
                  <a:lnTo>
                    <a:pt x="716819" y="654420"/>
                  </a:lnTo>
                  <a:lnTo>
                    <a:pt x="713715" y="635483"/>
                  </a:lnTo>
                  <a:lnTo>
                    <a:pt x="718992" y="635483"/>
                  </a:lnTo>
                  <a:lnTo>
                    <a:pt x="718992" y="632378"/>
                  </a:lnTo>
                  <a:lnTo>
                    <a:pt x="728306" y="637656"/>
                  </a:lnTo>
                  <a:lnTo>
                    <a:pt x="738861" y="645106"/>
                  </a:lnTo>
                  <a:lnTo>
                    <a:pt x="748174" y="648211"/>
                  </a:lnTo>
                  <a:lnTo>
                    <a:pt x="758729" y="648211"/>
                  </a:lnTo>
                  <a:lnTo>
                    <a:pt x="758729" y="647280"/>
                  </a:lnTo>
                  <a:lnTo>
                    <a:pt x="760903" y="645106"/>
                  </a:lnTo>
                  <a:lnTo>
                    <a:pt x="760903" y="645106"/>
                  </a:lnTo>
                  <a:lnTo>
                    <a:pt x="760903" y="642623"/>
                  </a:lnTo>
                  <a:lnTo>
                    <a:pt x="763076" y="639518"/>
                  </a:lnTo>
                  <a:lnTo>
                    <a:pt x="743207" y="624617"/>
                  </a:lnTo>
                  <a:lnTo>
                    <a:pt x="726443" y="603507"/>
                  </a:lnTo>
                  <a:lnTo>
                    <a:pt x="721166" y="605680"/>
                  </a:lnTo>
                  <a:lnTo>
                    <a:pt x="717130" y="607853"/>
                  </a:lnTo>
                  <a:lnTo>
                    <a:pt x="711852" y="610026"/>
                  </a:lnTo>
                  <a:lnTo>
                    <a:pt x="706575" y="610957"/>
                  </a:lnTo>
                  <a:lnTo>
                    <a:pt x="702539" y="607853"/>
                  </a:lnTo>
                  <a:lnTo>
                    <a:pt x="701608" y="605680"/>
                  </a:lnTo>
                  <a:lnTo>
                    <a:pt x="699434" y="602575"/>
                  </a:lnTo>
                  <a:lnTo>
                    <a:pt x="697261" y="600402"/>
                  </a:lnTo>
                  <a:lnTo>
                    <a:pt x="694157" y="595125"/>
                  </a:lnTo>
                  <a:lnTo>
                    <a:pt x="704712" y="583638"/>
                  </a:lnTo>
                  <a:lnTo>
                    <a:pt x="706885" y="567805"/>
                  </a:lnTo>
                  <a:lnTo>
                    <a:pt x="704712" y="546695"/>
                  </a:lnTo>
                  <a:lnTo>
                    <a:pt x="699434" y="524653"/>
                  </a:lnTo>
                  <a:lnTo>
                    <a:pt x="690121" y="501370"/>
                  </a:lnTo>
                  <a:lnTo>
                    <a:pt x="679566" y="479328"/>
                  </a:lnTo>
                  <a:lnTo>
                    <a:pt x="665906" y="459149"/>
                  </a:lnTo>
                  <a:lnTo>
                    <a:pt x="655351" y="440212"/>
                  </a:lnTo>
                  <a:lnTo>
                    <a:pt x="646038" y="425311"/>
                  </a:lnTo>
                  <a:lnTo>
                    <a:pt x="623996" y="410409"/>
                  </a:lnTo>
                  <a:lnTo>
                    <a:pt x="598850" y="405132"/>
                  </a:lnTo>
                  <a:lnTo>
                    <a:pt x="572772" y="405132"/>
                  </a:lnTo>
                  <a:lnTo>
                    <a:pt x="543591" y="405132"/>
                  </a:lnTo>
                  <a:lnTo>
                    <a:pt x="515340" y="407305"/>
                  </a:lnTo>
                  <a:lnTo>
                    <a:pt x="486158" y="405132"/>
                  </a:lnTo>
                  <a:lnTo>
                    <a:pt x="486158" y="399854"/>
                  </a:lnTo>
                  <a:lnTo>
                    <a:pt x="486158" y="395508"/>
                  </a:lnTo>
                  <a:lnTo>
                    <a:pt x="487089" y="394577"/>
                  </a:lnTo>
                  <a:lnTo>
                    <a:pt x="487089" y="392404"/>
                  </a:lnTo>
                  <a:lnTo>
                    <a:pt x="487089" y="390230"/>
                  </a:lnTo>
                  <a:lnTo>
                    <a:pt x="486158" y="388057"/>
                  </a:lnTo>
                  <a:lnTo>
                    <a:pt x="474672" y="382780"/>
                  </a:lnTo>
                  <a:lnTo>
                    <a:pt x="464116" y="379675"/>
                  </a:lnTo>
                  <a:lnTo>
                    <a:pt x="452630" y="372225"/>
                  </a:lnTo>
                  <a:lnTo>
                    <a:pt x="461943" y="372225"/>
                  </a:lnTo>
                  <a:lnTo>
                    <a:pt x="472499" y="367878"/>
                  </a:lnTo>
                  <a:lnTo>
                    <a:pt x="487089" y="364774"/>
                  </a:lnTo>
                  <a:lnTo>
                    <a:pt x="503854" y="362601"/>
                  </a:lnTo>
                  <a:lnTo>
                    <a:pt x="516271" y="358254"/>
                  </a:lnTo>
                  <a:lnTo>
                    <a:pt x="525585" y="350804"/>
                  </a:lnTo>
                  <a:lnTo>
                    <a:pt x="481812" y="350804"/>
                  </a:lnTo>
                  <a:lnTo>
                    <a:pt x="471257" y="347699"/>
                  </a:lnTo>
                  <a:lnTo>
                    <a:pt x="461943" y="347699"/>
                  </a:lnTo>
                  <a:lnTo>
                    <a:pt x="450457" y="345526"/>
                  </a:lnTo>
                  <a:lnTo>
                    <a:pt x="442075" y="343353"/>
                  </a:lnTo>
                  <a:lnTo>
                    <a:pt x="432761" y="340249"/>
                  </a:lnTo>
                  <a:lnTo>
                    <a:pt x="427484" y="330625"/>
                  </a:lnTo>
                  <a:lnTo>
                    <a:pt x="425311" y="315723"/>
                  </a:lnTo>
                  <a:lnTo>
                    <a:pt x="447352" y="312619"/>
                  </a:lnTo>
                  <a:lnTo>
                    <a:pt x="467221" y="305168"/>
                  </a:lnTo>
                  <a:lnTo>
                    <a:pt x="483985" y="297718"/>
                  </a:lnTo>
                  <a:lnTo>
                    <a:pt x="501680" y="290267"/>
                  </a:lnTo>
                  <a:lnTo>
                    <a:pt x="538313" y="290267"/>
                  </a:lnTo>
                  <a:lnTo>
                    <a:pt x="552904" y="241837"/>
                  </a:lnTo>
                  <a:lnTo>
                    <a:pt x="518444" y="241837"/>
                  </a:lnTo>
                  <a:lnTo>
                    <a:pt x="509131" y="229109"/>
                  </a:lnTo>
                  <a:lnTo>
                    <a:pt x="520618" y="221658"/>
                  </a:lnTo>
                  <a:lnTo>
                    <a:pt x="529000" y="214208"/>
                  </a:lnTo>
                  <a:lnTo>
                    <a:pt x="540486" y="208930"/>
                  </a:lnTo>
                  <a:lnTo>
                    <a:pt x="552904" y="204584"/>
                  </a:lnTo>
                  <a:lnTo>
                    <a:pt x="552904" y="191856"/>
                  </a:lnTo>
                  <a:lnTo>
                    <a:pt x="567495" y="184405"/>
                  </a:lnTo>
                  <a:lnTo>
                    <a:pt x="574946" y="176023"/>
                  </a:lnTo>
                  <a:lnTo>
                    <a:pt x="582396" y="164536"/>
                  </a:lnTo>
                  <a:lnTo>
                    <a:pt x="593883" y="157086"/>
                  </a:lnTo>
                  <a:lnTo>
                    <a:pt x="606301" y="151808"/>
                  </a:lnTo>
                  <a:lnTo>
                    <a:pt x="616856" y="151808"/>
                  </a:lnTo>
                  <a:lnTo>
                    <a:pt x="626169" y="154912"/>
                  </a:lnTo>
                  <a:lnTo>
                    <a:pt x="638587" y="153981"/>
                  </a:lnTo>
                  <a:lnTo>
                    <a:pt x="629274" y="149635"/>
                  </a:lnTo>
                  <a:lnTo>
                    <a:pt x="623996" y="147462"/>
                  </a:lnTo>
                  <a:lnTo>
                    <a:pt x="618718" y="146530"/>
                  </a:lnTo>
                  <a:lnTo>
                    <a:pt x="613441" y="140322"/>
                  </a:lnTo>
                  <a:lnTo>
                    <a:pt x="631136" y="137217"/>
                  </a:lnTo>
                  <a:lnTo>
                    <a:pt x="647900" y="131939"/>
                  </a:lnTo>
                  <a:lnTo>
                    <a:pt x="662491" y="127593"/>
                  </a:lnTo>
                  <a:lnTo>
                    <a:pt x="679255" y="124489"/>
                  </a:lnTo>
                  <a:lnTo>
                    <a:pt x="680187" y="131939"/>
                  </a:lnTo>
                  <a:lnTo>
                    <a:pt x="682360" y="135044"/>
                  </a:lnTo>
                  <a:lnTo>
                    <a:pt x="684533" y="140322"/>
                  </a:lnTo>
                  <a:lnTo>
                    <a:pt x="686706" y="144668"/>
                  </a:lnTo>
                  <a:lnTo>
                    <a:pt x="691984" y="146841"/>
                  </a:lnTo>
                  <a:lnTo>
                    <a:pt x="699434" y="147772"/>
                  </a:lnTo>
                  <a:lnTo>
                    <a:pt x="699434" y="142495"/>
                  </a:lnTo>
                  <a:lnTo>
                    <a:pt x="702539" y="137217"/>
                  </a:lnTo>
                  <a:lnTo>
                    <a:pt x="704712" y="129766"/>
                  </a:lnTo>
                  <a:lnTo>
                    <a:pt x="706885" y="124489"/>
                  </a:lnTo>
                  <a:lnTo>
                    <a:pt x="709989" y="129766"/>
                  </a:lnTo>
                  <a:lnTo>
                    <a:pt x="716198" y="135044"/>
                  </a:lnTo>
                  <a:lnTo>
                    <a:pt x="719303" y="139390"/>
                  </a:lnTo>
                  <a:lnTo>
                    <a:pt x="726754" y="142495"/>
                  </a:lnTo>
                  <a:lnTo>
                    <a:pt x="734204" y="144668"/>
                  </a:lnTo>
                  <a:lnTo>
                    <a:pt x="730168" y="120453"/>
                  </a:lnTo>
                  <a:lnTo>
                    <a:pt x="743828" y="117349"/>
                  </a:lnTo>
                  <a:lnTo>
                    <a:pt x="754383" y="113002"/>
                  </a:lnTo>
                  <a:lnTo>
                    <a:pt x="771147" y="117349"/>
                  </a:lnTo>
                  <a:lnTo>
                    <a:pt x="788843" y="124799"/>
                  </a:lnTo>
                  <a:lnTo>
                    <a:pt x="807780" y="135354"/>
                  </a:lnTo>
                  <a:lnTo>
                    <a:pt x="827648" y="144978"/>
                  </a:lnTo>
                  <a:lnTo>
                    <a:pt x="844413" y="152429"/>
                  </a:lnTo>
                  <a:lnTo>
                    <a:pt x="859935" y="157706"/>
                  </a:lnTo>
                  <a:lnTo>
                    <a:pt x="859935" y="154602"/>
                  </a:lnTo>
                  <a:lnTo>
                    <a:pt x="849380" y="144978"/>
                  </a:lnTo>
                  <a:lnTo>
                    <a:pt x="841929" y="137527"/>
                  </a:lnTo>
                  <a:lnTo>
                    <a:pt x="837893" y="127904"/>
                  </a:lnTo>
                  <a:lnTo>
                    <a:pt x="844102" y="117349"/>
                  </a:lnTo>
                  <a:lnTo>
                    <a:pt x="840066" y="113002"/>
                  </a:lnTo>
                  <a:lnTo>
                    <a:pt x="834789" y="107725"/>
                  </a:lnTo>
                  <a:lnTo>
                    <a:pt x="829511" y="103378"/>
                  </a:lnTo>
                  <a:lnTo>
                    <a:pt x="824234" y="100274"/>
                  </a:lnTo>
                  <a:lnTo>
                    <a:pt x="820198" y="95928"/>
                  </a:lnTo>
                  <a:lnTo>
                    <a:pt x="824234" y="87546"/>
                  </a:lnTo>
                  <a:lnTo>
                    <a:pt x="834789" y="90650"/>
                  </a:lnTo>
                  <a:lnTo>
                    <a:pt x="849380" y="92823"/>
                  </a:lnTo>
                  <a:lnTo>
                    <a:pt x="861797" y="90650"/>
                  </a:lnTo>
                  <a:lnTo>
                    <a:pt x="871111" y="83199"/>
                  </a:lnTo>
                  <a:lnTo>
                    <a:pt x="827338" y="83199"/>
                  </a:lnTo>
                  <a:lnTo>
                    <a:pt x="827338" y="80095"/>
                  </a:lnTo>
                  <a:lnTo>
                    <a:pt x="824234" y="80095"/>
                  </a:lnTo>
                  <a:lnTo>
                    <a:pt x="824234" y="75749"/>
                  </a:lnTo>
                  <a:lnTo>
                    <a:pt x="829511" y="72644"/>
                  </a:lnTo>
                  <a:lnTo>
                    <a:pt x="834789" y="68298"/>
                  </a:lnTo>
                  <a:lnTo>
                    <a:pt x="840066" y="65194"/>
                  </a:lnTo>
                  <a:lnTo>
                    <a:pt x="845344" y="60847"/>
                  </a:lnTo>
                  <a:lnTo>
                    <a:pt x="851553" y="59916"/>
                  </a:lnTo>
                  <a:lnTo>
                    <a:pt x="874526" y="63020"/>
                  </a:lnTo>
                  <a:lnTo>
                    <a:pt x="880735" y="46256"/>
                  </a:lnTo>
                  <a:lnTo>
                    <a:pt x="907743" y="50603"/>
                  </a:lnTo>
                  <a:lnTo>
                    <a:pt x="909917" y="50603"/>
                  </a:lnTo>
                  <a:lnTo>
                    <a:pt x="910848" y="46256"/>
                  </a:lnTo>
                  <a:lnTo>
                    <a:pt x="913021" y="45325"/>
                  </a:lnTo>
                  <a:lnTo>
                    <a:pt x="915194" y="40979"/>
                  </a:lnTo>
                  <a:lnTo>
                    <a:pt x="920472" y="38806"/>
                  </a:lnTo>
                  <a:lnTo>
                    <a:pt x="924508" y="45015"/>
                  </a:lnTo>
                  <a:lnTo>
                    <a:pt x="929785" y="50292"/>
                  </a:lnTo>
                  <a:lnTo>
                    <a:pt x="935063" y="55570"/>
                  </a:lnTo>
                  <a:lnTo>
                    <a:pt x="935063" y="45946"/>
                  </a:lnTo>
                  <a:lnTo>
                    <a:pt x="937236" y="45015"/>
                  </a:lnTo>
                  <a:lnTo>
                    <a:pt x="937236" y="42842"/>
                  </a:lnTo>
                  <a:lnTo>
                    <a:pt x="937236" y="40668"/>
                  </a:lnTo>
                  <a:lnTo>
                    <a:pt x="937236" y="38495"/>
                  </a:lnTo>
                  <a:lnTo>
                    <a:pt x="938167" y="35391"/>
                  </a:lnTo>
                  <a:lnTo>
                    <a:pt x="940340" y="33218"/>
                  </a:lnTo>
                  <a:lnTo>
                    <a:pt x="944376" y="31045"/>
                  </a:lnTo>
                  <a:lnTo>
                    <a:pt x="962071" y="22663"/>
                  </a:lnTo>
                  <a:lnTo>
                    <a:pt x="984113" y="20179"/>
                  </a:lnTo>
                  <a:lnTo>
                    <a:pt x="984113" y="20179"/>
                  </a:lnTo>
                  <a:lnTo>
                    <a:pt x="984113" y="20179"/>
                  </a:lnTo>
                  <a:close/>
                  <a:moveTo>
                    <a:pt x="2301024" y="16764"/>
                  </a:moveTo>
                  <a:lnTo>
                    <a:pt x="2311579" y="19869"/>
                  </a:lnTo>
                  <a:lnTo>
                    <a:pt x="2311579" y="27319"/>
                  </a:lnTo>
                  <a:lnTo>
                    <a:pt x="2296057" y="27319"/>
                  </a:lnTo>
                  <a:lnTo>
                    <a:pt x="2301024" y="16764"/>
                  </a:lnTo>
                  <a:lnTo>
                    <a:pt x="2301024" y="16764"/>
                  </a:lnTo>
                  <a:lnTo>
                    <a:pt x="2301024" y="16764"/>
                  </a:lnTo>
                  <a:close/>
                  <a:moveTo>
                    <a:pt x="2792460" y="0"/>
                  </a:moveTo>
                  <a:lnTo>
                    <a:pt x="2797737" y="3104"/>
                  </a:lnTo>
                  <a:lnTo>
                    <a:pt x="2801773" y="7451"/>
                  </a:lnTo>
                  <a:lnTo>
                    <a:pt x="2803946" y="10555"/>
                  </a:lnTo>
                  <a:lnTo>
                    <a:pt x="2804878" y="16764"/>
                  </a:lnTo>
                  <a:lnTo>
                    <a:pt x="2807051" y="19869"/>
                  </a:lnTo>
                  <a:lnTo>
                    <a:pt x="2809224" y="25146"/>
                  </a:lnTo>
                  <a:lnTo>
                    <a:pt x="2812328" y="27319"/>
                  </a:lnTo>
                  <a:lnTo>
                    <a:pt x="2823815" y="32597"/>
                  </a:lnTo>
                  <a:lnTo>
                    <a:pt x="2834370" y="34770"/>
                  </a:lnTo>
                  <a:lnTo>
                    <a:pt x="2841821" y="34770"/>
                  </a:lnTo>
                  <a:lnTo>
                    <a:pt x="2847098" y="39116"/>
                  </a:lnTo>
                  <a:lnTo>
                    <a:pt x="2851134" y="46567"/>
                  </a:lnTo>
                  <a:lnTo>
                    <a:pt x="2853307" y="61468"/>
                  </a:lnTo>
                  <a:lnTo>
                    <a:pt x="2851134" y="62400"/>
                  </a:lnTo>
                  <a:lnTo>
                    <a:pt x="2851134" y="62400"/>
                  </a:lnTo>
                  <a:lnTo>
                    <a:pt x="2851134" y="64573"/>
                  </a:lnTo>
                  <a:lnTo>
                    <a:pt x="2851134" y="66746"/>
                  </a:lnTo>
                  <a:lnTo>
                    <a:pt x="2848961" y="68919"/>
                  </a:lnTo>
                  <a:lnTo>
                    <a:pt x="2825988" y="68919"/>
                  </a:lnTo>
                  <a:lnTo>
                    <a:pt x="2802084" y="68919"/>
                  </a:lnTo>
                  <a:lnTo>
                    <a:pt x="2782215" y="77301"/>
                  </a:lnTo>
                  <a:lnTo>
                    <a:pt x="2778179" y="79474"/>
                  </a:lnTo>
                  <a:lnTo>
                    <a:pt x="2776006" y="83820"/>
                  </a:lnTo>
                  <a:lnTo>
                    <a:pt x="2775075" y="84752"/>
                  </a:lnTo>
                  <a:lnTo>
                    <a:pt x="2772902" y="86925"/>
                  </a:lnTo>
                  <a:lnTo>
                    <a:pt x="2770729" y="89098"/>
                  </a:lnTo>
                  <a:lnTo>
                    <a:pt x="2767624" y="91271"/>
                  </a:lnTo>
                  <a:lnTo>
                    <a:pt x="2761415" y="94376"/>
                  </a:lnTo>
                  <a:lnTo>
                    <a:pt x="2758311" y="89098"/>
                  </a:lnTo>
                  <a:lnTo>
                    <a:pt x="2756137" y="84752"/>
                  </a:lnTo>
                  <a:lnTo>
                    <a:pt x="2753033" y="81647"/>
                  </a:lnTo>
                  <a:lnTo>
                    <a:pt x="2765451" y="49982"/>
                  </a:lnTo>
                  <a:lnTo>
                    <a:pt x="2777869" y="24525"/>
                  </a:lnTo>
                  <a:lnTo>
                    <a:pt x="2792460" y="0"/>
                  </a:lnTo>
                  <a:lnTo>
                    <a:pt x="2792460" y="0"/>
                  </a:lnTo>
                  <a:lnTo>
                    <a:pt x="2792460" y="0"/>
                  </a:lnTo>
                  <a:close/>
                  <a:moveTo>
                    <a:pt x="2665177" y="0"/>
                  </a:moveTo>
                  <a:lnTo>
                    <a:pt x="2674490" y="9624"/>
                  </a:lnTo>
                  <a:lnTo>
                    <a:pt x="2679768" y="20179"/>
                  </a:lnTo>
                  <a:lnTo>
                    <a:pt x="2685046" y="32907"/>
                  </a:lnTo>
                  <a:lnTo>
                    <a:pt x="2675732" y="32907"/>
                  </a:lnTo>
                  <a:lnTo>
                    <a:pt x="2675732" y="27319"/>
                  </a:lnTo>
                  <a:lnTo>
                    <a:pt x="2672628" y="24215"/>
                  </a:lnTo>
                  <a:lnTo>
                    <a:pt x="2668592" y="19869"/>
                  </a:lnTo>
                  <a:lnTo>
                    <a:pt x="2667660" y="14591"/>
                  </a:lnTo>
                  <a:lnTo>
                    <a:pt x="2665487" y="9313"/>
                  </a:lnTo>
                  <a:lnTo>
                    <a:pt x="2665487" y="0"/>
                  </a:lnTo>
                  <a:lnTo>
                    <a:pt x="2665177" y="0"/>
                  </a:lnTo>
                  <a:lnTo>
                    <a:pt x="2665177" y="0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7E87AA1D-24E2-4251-9038-F3383814913B}"/>
                </a:ext>
              </a:extLst>
            </p:cNvPr>
            <p:cNvSpPr/>
            <p:nvPr/>
          </p:nvSpPr>
          <p:spPr>
            <a:xfrm>
              <a:off x="3709769" y="4075070"/>
              <a:ext cx="34149" cy="15522"/>
            </a:xfrm>
            <a:custGeom>
              <a:avLst/>
              <a:gdLst>
                <a:gd name="connsiteX0" fmla="*/ 13660 w 34149"/>
                <a:gd name="connsiteY0" fmla="*/ 14591 h 15522"/>
                <a:gd name="connsiteX1" fmla="*/ 20800 w 34149"/>
                <a:gd name="connsiteY1" fmla="*/ 16764 h 15522"/>
                <a:gd name="connsiteX2" fmla="*/ 23904 w 34149"/>
                <a:gd name="connsiteY2" fmla="*/ 16764 h 15522"/>
                <a:gd name="connsiteX3" fmla="*/ 28251 w 34149"/>
                <a:gd name="connsiteY3" fmla="*/ 16764 h 15522"/>
                <a:gd name="connsiteX4" fmla="*/ 36633 w 34149"/>
                <a:gd name="connsiteY4" fmla="*/ 16764 h 15522"/>
                <a:gd name="connsiteX5" fmla="*/ 35391 w 34149"/>
                <a:gd name="connsiteY5" fmla="*/ 10555 h 15522"/>
                <a:gd name="connsiteX6" fmla="*/ 35391 w 34149"/>
                <a:gd name="connsiteY6" fmla="*/ 7140 h 15522"/>
                <a:gd name="connsiteX7" fmla="*/ 33528 w 34149"/>
                <a:gd name="connsiteY7" fmla="*/ 3104 h 15522"/>
                <a:gd name="connsiteX8" fmla="*/ 33528 w 34149"/>
                <a:gd name="connsiteY8" fmla="*/ 0 h 15522"/>
                <a:gd name="connsiteX9" fmla="*/ 0 w 34149"/>
                <a:gd name="connsiteY9" fmla="*/ 0 h 15522"/>
                <a:gd name="connsiteX10" fmla="*/ 0 w 34149"/>
                <a:gd name="connsiteY10" fmla="*/ 12418 h 15522"/>
                <a:gd name="connsiteX11" fmla="*/ 7451 w 34149"/>
                <a:gd name="connsiteY11" fmla="*/ 14591 h 15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149" h="15522">
                  <a:moveTo>
                    <a:pt x="13660" y="14591"/>
                  </a:moveTo>
                  <a:lnTo>
                    <a:pt x="20800" y="16764"/>
                  </a:lnTo>
                  <a:lnTo>
                    <a:pt x="23904" y="16764"/>
                  </a:lnTo>
                  <a:lnTo>
                    <a:pt x="28251" y="16764"/>
                  </a:lnTo>
                  <a:lnTo>
                    <a:pt x="36633" y="16764"/>
                  </a:lnTo>
                  <a:lnTo>
                    <a:pt x="35391" y="10555"/>
                  </a:lnTo>
                  <a:lnTo>
                    <a:pt x="35391" y="7140"/>
                  </a:lnTo>
                  <a:lnTo>
                    <a:pt x="33528" y="3104"/>
                  </a:lnTo>
                  <a:lnTo>
                    <a:pt x="33528" y="0"/>
                  </a:lnTo>
                  <a:lnTo>
                    <a:pt x="0" y="0"/>
                  </a:lnTo>
                  <a:lnTo>
                    <a:pt x="0" y="12418"/>
                  </a:lnTo>
                  <a:lnTo>
                    <a:pt x="7451" y="14591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F44FB285-FE32-45CD-AD6E-5D434D8D6577}"/>
                </a:ext>
              </a:extLst>
            </p:cNvPr>
            <p:cNvSpPr/>
            <p:nvPr/>
          </p:nvSpPr>
          <p:spPr>
            <a:xfrm>
              <a:off x="3530642" y="4043094"/>
              <a:ext cx="34149" cy="9313"/>
            </a:xfrm>
            <a:custGeom>
              <a:avLst/>
              <a:gdLst>
                <a:gd name="connsiteX0" fmla="*/ 22973 w 34149"/>
                <a:gd name="connsiteY0" fmla="*/ 11797 h 9313"/>
                <a:gd name="connsiteX1" fmla="*/ 32286 w 34149"/>
                <a:gd name="connsiteY1" fmla="*/ 7451 h 9313"/>
                <a:gd name="connsiteX2" fmla="*/ 36633 w 34149"/>
                <a:gd name="connsiteY2" fmla="*/ 7451 h 9313"/>
                <a:gd name="connsiteX3" fmla="*/ 30424 w 34149"/>
                <a:gd name="connsiteY3" fmla="*/ 4346 h 9313"/>
                <a:gd name="connsiteX4" fmla="*/ 22973 w 34149"/>
                <a:gd name="connsiteY4" fmla="*/ 2173 h 9313"/>
                <a:gd name="connsiteX5" fmla="*/ 15833 w 34149"/>
                <a:gd name="connsiteY5" fmla="*/ 0 h 9313"/>
                <a:gd name="connsiteX6" fmla="*/ 12728 w 34149"/>
                <a:gd name="connsiteY6" fmla="*/ 2173 h 9313"/>
                <a:gd name="connsiteX7" fmla="*/ 7451 w 34149"/>
                <a:gd name="connsiteY7" fmla="*/ 4346 h 9313"/>
                <a:gd name="connsiteX8" fmla="*/ 3104 w 34149"/>
                <a:gd name="connsiteY8" fmla="*/ 7451 h 9313"/>
                <a:gd name="connsiteX9" fmla="*/ 0 w 34149"/>
                <a:gd name="connsiteY9" fmla="*/ 7451 h 9313"/>
                <a:gd name="connsiteX10" fmla="*/ 0 w 34149"/>
                <a:gd name="connsiteY10" fmla="*/ 11797 h 9313"/>
                <a:gd name="connsiteX11" fmla="*/ 12728 w 34149"/>
                <a:gd name="connsiteY11" fmla="*/ 11797 h 9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149" h="9313">
                  <a:moveTo>
                    <a:pt x="22973" y="11797"/>
                  </a:moveTo>
                  <a:lnTo>
                    <a:pt x="32286" y="7451"/>
                  </a:lnTo>
                  <a:lnTo>
                    <a:pt x="36633" y="7451"/>
                  </a:lnTo>
                  <a:lnTo>
                    <a:pt x="30424" y="4346"/>
                  </a:lnTo>
                  <a:lnTo>
                    <a:pt x="22973" y="2173"/>
                  </a:lnTo>
                  <a:lnTo>
                    <a:pt x="15833" y="0"/>
                  </a:lnTo>
                  <a:lnTo>
                    <a:pt x="12728" y="2173"/>
                  </a:lnTo>
                  <a:lnTo>
                    <a:pt x="7451" y="4346"/>
                  </a:lnTo>
                  <a:lnTo>
                    <a:pt x="3104" y="7451"/>
                  </a:lnTo>
                  <a:lnTo>
                    <a:pt x="0" y="7451"/>
                  </a:lnTo>
                  <a:lnTo>
                    <a:pt x="0" y="11797"/>
                  </a:lnTo>
                  <a:lnTo>
                    <a:pt x="12728" y="11797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2784FC75-B77C-4D2F-93B3-1F889BF7918D}"/>
                </a:ext>
              </a:extLst>
            </p:cNvPr>
            <p:cNvSpPr/>
            <p:nvPr/>
          </p:nvSpPr>
          <p:spPr>
            <a:xfrm>
              <a:off x="3730569" y="4013602"/>
              <a:ext cx="37253" cy="40358"/>
            </a:xfrm>
            <a:custGeom>
              <a:avLst/>
              <a:gdLst>
                <a:gd name="connsiteX0" fmla="*/ 10555 w 37253"/>
                <a:gd name="connsiteY0" fmla="*/ 39116 h 40357"/>
                <a:gd name="connsiteX1" fmla="*/ 14591 w 37253"/>
                <a:gd name="connsiteY1" fmla="*/ 41289 h 40357"/>
                <a:gd name="connsiteX2" fmla="*/ 22042 w 37253"/>
                <a:gd name="connsiteY2" fmla="*/ 41289 h 40357"/>
                <a:gd name="connsiteX3" fmla="*/ 27319 w 37253"/>
                <a:gd name="connsiteY3" fmla="*/ 41289 h 40357"/>
                <a:gd name="connsiteX4" fmla="*/ 29182 w 37253"/>
                <a:gd name="connsiteY4" fmla="*/ 34770 h 40357"/>
                <a:gd name="connsiteX5" fmla="*/ 30424 w 37253"/>
                <a:gd name="connsiteY5" fmla="*/ 31665 h 40357"/>
                <a:gd name="connsiteX6" fmla="*/ 32286 w 37253"/>
                <a:gd name="connsiteY6" fmla="*/ 27630 h 40357"/>
                <a:gd name="connsiteX7" fmla="*/ 34460 w 37253"/>
                <a:gd name="connsiteY7" fmla="*/ 26388 h 40357"/>
                <a:gd name="connsiteX8" fmla="*/ 36633 w 37253"/>
                <a:gd name="connsiteY8" fmla="*/ 24215 h 40357"/>
                <a:gd name="connsiteX9" fmla="*/ 39737 w 37253"/>
                <a:gd name="connsiteY9" fmla="*/ 20179 h 40357"/>
                <a:gd name="connsiteX10" fmla="*/ 32286 w 37253"/>
                <a:gd name="connsiteY10" fmla="*/ 14901 h 40357"/>
                <a:gd name="connsiteX11" fmla="*/ 25146 w 37253"/>
                <a:gd name="connsiteY11" fmla="*/ 7451 h 40357"/>
                <a:gd name="connsiteX12" fmla="*/ 19869 w 37253"/>
                <a:gd name="connsiteY12" fmla="*/ 0 h 40357"/>
                <a:gd name="connsiteX13" fmla="*/ 3104 w 37253"/>
                <a:gd name="connsiteY13" fmla="*/ 0 h 40357"/>
                <a:gd name="connsiteX14" fmla="*/ 3104 w 37253"/>
                <a:gd name="connsiteY14" fmla="*/ 9624 h 40357"/>
                <a:gd name="connsiteX15" fmla="*/ 3104 w 37253"/>
                <a:gd name="connsiteY15" fmla="*/ 16764 h 40357"/>
                <a:gd name="connsiteX16" fmla="*/ 1242 w 37253"/>
                <a:gd name="connsiteY16" fmla="*/ 24215 h 40357"/>
                <a:gd name="connsiteX17" fmla="*/ 0 w 37253"/>
                <a:gd name="connsiteY17" fmla="*/ 29492 h 40357"/>
                <a:gd name="connsiteX18" fmla="*/ 0 w 37253"/>
                <a:gd name="connsiteY18" fmla="*/ 36943 h 40357"/>
                <a:gd name="connsiteX19" fmla="*/ 5278 w 37253"/>
                <a:gd name="connsiteY19" fmla="*/ 39116 h 40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7253" h="40357">
                  <a:moveTo>
                    <a:pt x="10555" y="39116"/>
                  </a:moveTo>
                  <a:lnTo>
                    <a:pt x="14591" y="41289"/>
                  </a:lnTo>
                  <a:lnTo>
                    <a:pt x="22042" y="41289"/>
                  </a:lnTo>
                  <a:lnTo>
                    <a:pt x="27319" y="41289"/>
                  </a:lnTo>
                  <a:lnTo>
                    <a:pt x="29182" y="34770"/>
                  </a:lnTo>
                  <a:lnTo>
                    <a:pt x="30424" y="31665"/>
                  </a:lnTo>
                  <a:lnTo>
                    <a:pt x="32286" y="27630"/>
                  </a:lnTo>
                  <a:lnTo>
                    <a:pt x="34460" y="26388"/>
                  </a:lnTo>
                  <a:lnTo>
                    <a:pt x="36633" y="24215"/>
                  </a:lnTo>
                  <a:lnTo>
                    <a:pt x="39737" y="20179"/>
                  </a:lnTo>
                  <a:lnTo>
                    <a:pt x="32286" y="14901"/>
                  </a:lnTo>
                  <a:lnTo>
                    <a:pt x="25146" y="7451"/>
                  </a:lnTo>
                  <a:lnTo>
                    <a:pt x="19869" y="0"/>
                  </a:lnTo>
                  <a:lnTo>
                    <a:pt x="3104" y="0"/>
                  </a:lnTo>
                  <a:lnTo>
                    <a:pt x="3104" y="9624"/>
                  </a:lnTo>
                  <a:lnTo>
                    <a:pt x="3104" y="16764"/>
                  </a:lnTo>
                  <a:lnTo>
                    <a:pt x="1242" y="24215"/>
                  </a:lnTo>
                  <a:lnTo>
                    <a:pt x="0" y="29492"/>
                  </a:lnTo>
                  <a:lnTo>
                    <a:pt x="0" y="36943"/>
                  </a:lnTo>
                  <a:lnTo>
                    <a:pt x="5278" y="39116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A264C1CC-A470-44AF-A1CF-98265FB9A283}"/>
                </a:ext>
              </a:extLst>
            </p:cNvPr>
            <p:cNvSpPr/>
            <p:nvPr/>
          </p:nvSpPr>
          <p:spPr>
            <a:xfrm>
              <a:off x="3457998" y="4104562"/>
              <a:ext cx="170745" cy="90029"/>
            </a:xfrm>
            <a:custGeom>
              <a:avLst/>
              <a:gdLst>
                <a:gd name="connsiteX0" fmla="*/ 170745 w 170745"/>
                <a:gd name="connsiteY0" fmla="*/ 30734 h 90029"/>
                <a:gd name="connsiteX1" fmla="*/ 170745 w 170745"/>
                <a:gd name="connsiteY1" fmla="*/ 29492 h 90029"/>
                <a:gd name="connsiteX2" fmla="*/ 168572 w 170745"/>
                <a:gd name="connsiteY2" fmla="*/ 27630 h 90029"/>
                <a:gd name="connsiteX3" fmla="*/ 165468 w 170745"/>
                <a:gd name="connsiteY3" fmla="*/ 25457 h 90029"/>
                <a:gd name="connsiteX4" fmla="*/ 163294 w 170745"/>
                <a:gd name="connsiteY4" fmla="*/ 25457 h 90029"/>
                <a:gd name="connsiteX5" fmla="*/ 161121 w 170745"/>
                <a:gd name="connsiteY5" fmla="*/ 25457 h 90029"/>
                <a:gd name="connsiteX6" fmla="*/ 159259 w 170745"/>
                <a:gd name="connsiteY6" fmla="*/ 27630 h 90029"/>
                <a:gd name="connsiteX7" fmla="*/ 156154 w 170745"/>
                <a:gd name="connsiteY7" fmla="*/ 30734 h 90029"/>
                <a:gd name="connsiteX8" fmla="*/ 148704 w 170745"/>
                <a:gd name="connsiteY8" fmla="*/ 30734 h 90029"/>
                <a:gd name="connsiteX9" fmla="*/ 143426 w 170745"/>
                <a:gd name="connsiteY9" fmla="*/ 30734 h 90029"/>
                <a:gd name="connsiteX10" fmla="*/ 137217 w 170745"/>
                <a:gd name="connsiteY10" fmla="*/ 29492 h 90029"/>
                <a:gd name="connsiteX11" fmla="*/ 132250 w 170745"/>
                <a:gd name="connsiteY11" fmla="*/ 27630 h 90029"/>
                <a:gd name="connsiteX12" fmla="*/ 128835 w 170745"/>
                <a:gd name="connsiteY12" fmla="*/ 27630 h 90029"/>
                <a:gd name="connsiteX13" fmla="*/ 128835 w 170745"/>
                <a:gd name="connsiteY13" fmla="*/ 23283 h 90029"/>
                <a:gd name="connsiteX14" fmla="*/ 132250 w 170745"/>
                <a:gd name="connsiteY14" fmla="*/ 23283 h 90029"/>
                <a:gd name="connsiteX15" fmla="*/ 132250 w 170745"/>
                <a:gd name="connsiteY15" fmla="*/ 17075 h 90029"/>
                <a:gd name="connsiteX16" fmla="*/ 130077 w 170745"/>
                <a:gd name="connsiteY16" fmla="*/ 12728 h 90029"/>
                <a:gd name="connsiteX17" fmla="*/ 130077 w 170745"/>
                <a:gd name="connsiteY17" fmla="*/ 9624 h 90029"/>
                <a:gd name="connsiteX18" fmla="*/ 128835 w 170745"/>
                <a:gd name="connsiteY18" fmla="*/ 5278 h 90029"/>
                <a:gd name="connsiteX19" fmla="*/ 126972 w 170745"/>
                <a:gd name="connsiteY19" fmla="*/ 3104 h 90029"/>
                <a:gd name="connsiteX20" fmla="*/ 124799 w 170745"/>
                <a:gd name="connsiteY20" fmla="*/ 0 h 90029"/>
                <a:gd name="connsiteX21" fmla="*/ 117659 w 170745"/>
                <a:gd name="connsiteY21" fmla="*/ 0 h 90029"/>
                <a:gd name="connsiteX22" fmla="*/ 112381 w 170745"/>
                <a:gd name="connsiteY22" fmla="*/ 0 h 90029"/>
                <a:gd name="connsiteX23" fmla="*/ 109277 w 170745"/>
                <a:gd name="connsiteY23" fmla="*/ 2173 h 90029"/>
                <a:gd name="connsiteX24" fmla="*/ 104931 w 170745"/>
                <a:gd name="connsiteY24" fmla="*/ 3104 h 90029"/>
                <a:gd name="connsiteX25" fmla="*/ 107104 w 170745"/>
                <a:gd name="connsiteY25" fmla="*/ 17075 h 90029"/>
                <a:gd name="connsiteX26" fmla="*/ 109277 w 170745"/>
                <a:gd name="connsiteY26" fmla="*/ 22352 h 90029"/>
                <a:gd name="connsiteX27" fmla="*/ 112381 w 170745"/>
                <a:gd name="connsiteY27" fmla="*/ 29492 h 90029"/>
                <a:gd name="connsiteX28" fmla="*/ 115486 w 170745"/>
                <a:gd name="connsiteY28" fmla="*/ 38185 h 90029"/>
                <a:gd name="connsiteX29" fmla="*/ 95617 w 170745"/>
                <a:gd name="connsiteY29" fmla="*/ 36943 h 90029"/>
                <a:gd name="connsiteX30" fmla="*/ 80095 w 170745"/>
                <a:gd name="connsiteY30" fmla="*/ 30734 h 90029"/>
                <a:gd name="connsiteX31" fmla="*/ 65504 w 170745"/>
                <a:gd name="connsiteY31" fmla="*/ 23283 h 90029"/>
                <a:gd name="connsiteX32" fmla="*/ 48740 w 170745"/>
                <a:gd name="connsiteY32" fmla="*/ 17075 h 90029"/>
                <a:gd name="connsiteX33" fmla="*/ 28871 w 170745"/>
                <a:gd name="connsiteY33" fmla="*/ 10555 h 90029"/>
                <a:gd name="connsiteX34" fmla="*/ 27009 w 170745"/>
                <a:gd name="connsiteY34" fmla="*/ 12728 h 90029"/>
                <a:gd name="connsiteX35" fmla="*/ 24836 w 170745"/>
                <a:gd name="connsiteY35" fmla="*/ 12728 h 90029"/>
                <a:gd name="connsiteX36" fmla="*/ 22663 w 170745"/>
                <a:gd name="connsiteY36" fmla="*/ 14901 h 90029"/>
                <a:gd name="connsiteX37" fmla="*/ 19558 w 170745"/>
                <a:gd name="connsiteY37" fmla="*/ 14901 h 90029"/>
                <a:gd name="connsiteX38" fmla="*/ 21731 w 170745"/>
                <a:gd name="connsiteY38" fmla="*/ 18006 h 90029"/>
                <a:gd name="connsiteX39" fmla="*/ 22663 w 170745"/>
                <a:gd name="connsiteY39" fmla="*/ 20179 h 90029"/>
                <a:gd name="connsiteX40" fmla="*/ 22663 w 170745"/>
                <a:gd name="connsiteY40" fmla="*/ 22352 h 90029"/>
                <a:gd name="connsiteX41" fmla="*/ 24836 w 170745"/>
                <a:gd name="connsiteY41" fmla="*/ 23283 h 90029"/>
                <a:gd name="connsiteX42" fmla="*/ 27009 w 170745"/>
                <a:gd name="connsiteY42" fmla="*/ 25457 h 90029"/>
                <a:gd name="connsiteX43" fmla="*/ 28871 w 170745"/>
                <a:gd name="connsiteY43" fmla="*/ 27630 h 90029"/>
                <a:gd name="connsiteX44" fmla="*/ 24836 w 170745"/>
                <a:gd name="connsiteY44" fmla="*/ 29492 h 90029"/>
                <a:gd name="connsiteX45" fmla="*/ 21731 w 170745"/>
                <a:gd name="connsiteY45" fmla="*/ 29492 h 90029"/>
                <a:gd name="connsiteX46" fmla="*/ 17695 w 170745"/>
                <a:gd name="connsiteY46" fmla="*/ 30734 h 90029"/>
                <a:gd name="connsiteX47" fmla="*/ 12418 w 170745"/>
                <a:gd name="connsiteY47" fmla="*/ 30734 h 90029"/>
                <a:gd name="connsiteX48" fmla="*/ 12418 w 170745"/>
                <a:gd name="connsiteY48" fmla="*/ 34770 h 90029"/>
                <a:gd name="connsiteX49" fmla="*/ 15522 w 170745"/>
                <a:gd name="connsiteY49" fmla="*/ 34770 h 90029"/>
                <a:gd name="connsiteX50" fmla="*/ 14280 w 170745"/>
                <a:gd name="connsiteY50" fmla="*/ 40047 h 90029"/>
                <a:gd name="connsiteX51" fmla="*/ 10245 w 170745"/>
                <a:gd name="connsiteY51" fmla="*/ 42221 h 90029"/>
                <a:gd name="connsiteX52" fmla="*/ 9313 w 170745"/>
                <a:gd name="connsiteY52" fmla="*/ 44394 h 90029"/>
                <a:gd name="connsiteX53" fmla="*/ 4967 w 170745"/>
                <a:gd name="connsiteY53" fmla="*/ 45636 h 90029"/>
                <a:gd name="connsiteX54" fmla="*/ 0 w 170745"/>
                <a:gd name="connsiteY54" fmla="*/ 47498 h 90029"/>
                <a:gd name="connsiteX55" fmla="*/ 0 w 170745"/>
                <a:gd name="connsiteY55" fmla="*/ 51844 h 90029"/>
                <a:gd name="connsiteX56" fmla="*/ 4967 w 170745"/>
                <a:gd name="connsiteY56" fmla="*/ 51844 h 90029"/>
                <a:gd name="connsiteX57" fmla="*/ 15522 w 170745"/>
                <a:gd name="connsiteY57" fmla="*/ 57122 h 90029"/>
                <a:gd name="connsiteX58" fmla="*/ 32286 w 170745"/>
                <a:gd name="connsiteY58" fmla="*/ 59295 h 90029"/>
                <a:gd name="connsiteX59" fmla="*/ 46567 w 170745"/>
                <a:gd name="connsiteY59" fmla="*/ 57122 h 90029"/>
                <a:gd name="connsiteX60" fmla="*/ 59295 w 170745"/>
                <a:gd name="connsiteY60" fmla="*/ 51844 h 90029"/>
                <a:gd name="connsiteX61" fmla="*/ 80095 w 170745"/>
                <a:gd name="connsiteY61" fmla="*/ 51844 h 90029"/>
                <a:gd name="connsiteX62" fmla="*/ 77922 w 170745"/>
                <a:gd name="connsiteY62" fmla="*/ 57122 h 90029"/>
                <a:gd name="connsiteX63" fmla="*/ 73886 w 170745"/>
                <a:gd name="connsiteY63" fmla="*/ 62400 h 90029"/>
                <a:gd name="connsiteX64" fmla="*/ 70782 w 170745"/>
                <a:gd name="connsiteY64" fmla="*/ 67677 h 90029"/>
                <a:gd name="connsiteX65" fmla="*/ 65504 w 170745"/>
                <a:gd name="connsiteY65" fmla="*/ 72023 h 90029"/>
                <a:gd name="connsiteX66" fmla="*/ 59295 w 170745"/>
                <a:gd name="connsiteY66" fmla="*/ 75128 h 90029"/>
                <a:gd name="connsiteX67" fmla="*/ 61158 w 170745"/>
                <a:gd name="connsiteY67" fmla="*/ 81337 h 90029"/>
                <a:gd name="connsiteX68" fmla="*/ 61158 w 170745"/>
                <a:gd name="connsiteY68" fmla="*/ 84752 h 90029"/>
                <a:gd name="connsiteX69" fmla="*/ 63331 w 170745"/>
                <a:gd name="connsiteY69" fmla="*/ 88787 h 90029"/>
                <a:gd name="connsiteX70" fmla="*/ 65504 w 170745"/>
                <a:gd name="connsiteY70" fmla="*/ 91892 h 90029"/>
                <a:gd name="connsiteX71" fmla="*/ 81026 w 170745"/>
                <a:gd name="connsiteY71" fmla="*/ 86614 h 90029"/>
                <a:gd name="connsiteX72" fmla="*/ 92513 w 170745"/>
                <a:gd name="connsiteY72" fmla="*/ 77301 h 90029"/>
                <a:gd name="connsiteX73" fmla="*/ 104931 w 170745"/>
                <a:gd name="connsiteY73" fmla="*/ 67677 h 90029"/>
                <a:gd name="connsiteX74" fmla="*/ 115486 w 170745"/>
                <a:gd name="connsiteY74" fmla="*/ 60226 h 90029"/>
                <a:gd name="connsiteX75" fmla="*/ 130077 w 170745"/>
                <a:gd name="connsiteY75" fmla="*/ 57122 h 90029"/>
                <a:gd name="connsiteX76" fmla="*/ 144668 w 170745"/>
                <a:gd name="connsiteY76" fmla="*/ 57122 h 90029"/>
                <a:gd name="connsiteX77" fmla="*/ 158017 w 170745"/>
                <a:gd name="connsiteY77" fmla="*/ 57122 h 90029"/>
                <a:gd name="connsiteX78" fmla="*/ 168572 w 170745"/>
                <a:gd name="connsiteY78" fmla="*/ 51844 h 90029"/>
                <a:gd name="connsiteX79" fmla="*/ 170745 w 170745"/>
                <a:gd name="connsiteY79" fmla="*/ 47498 h 90029"/>
                <a:gd name="connsiteX80" fmla="*/ 170745 w 170745"/>
                <a:gd name="connsiteY80" fmla="*/ 45636 h 90029"/>
                <a:gd name="connsiteX81" fmla="*/ 170745 w 170745"/>
                <a:gd name="connsiteY81" fmla="*/ 44394 h 90029"/>
                <a:gd name="connsiteX82" fmla="*/ 170745 w 170745"/>
                <a:gd name="connsiteY82" fmla="*/ 42221 h 90029"/>
                <a:gd name="connsiteX83" fmla="*/ 172608 w 170745"/>
                <a:gd name="connsiteY83" fmla="*/ 38185 h 90029"/>
                <a:gd name="connsiteX84" fmla="*/ 172608 w 170745"/>
                <a:gd name="connsiteY84" fmla="*/ 34770 h 90029"/>
                <a:gd name="connsiteX85" fmla="*/ 170745 w 170745"/>
                <a:gd name="connsiteY85" fmla="*/ 32907 h 90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</a:cxnLst>
              <a:rect l="l" t="t" r="r" b="b"/>
              <a:pathLst>
                <a:path w="170745" h="90029">
                  <a:moveTo>
                    <a:pt x="170745" y="30734"/>
                  </a:moveTo>
                  <a:lnTo>
                    <a:pt x="170745" y="29492"/>
                  </a:lnTo>
                  <a:lnTo>
                    <a:pt x="168572" y="27630"/>
                  </a:lnTo>
                  <a:lnTo>
                    <a:pt x="165468" y="25457"/>
                  </a:lnTo>
                  <a:lnTo>
                    <a:pt x="163294" y="25457"/>
                  </a:lnTo>
                  <a:lnTo>
                    <a:pt x="161121" y="25457"/>
                  </a:lnTo>
                  <a:lnTo>
                    <a:pt x="159259" y="27630"/>
                  </a:lnTo>
                  <a:lnTo>
                    <a:pt x="156154" y="30734"/>
                  </a:lnTo>
                  <a:lnTo>
                    <a:pt x="148704" y="30734"/>
                  </a:lnTo>
                  <a:lnTo>
                    <a:pt x="143426" y="30734"/>
                  </a:lnTo>
                  <a:lnTo>
                    <a:pt x="137217" y="29492"/>
                  </a:lnTo>
                  <a:lnTo>
                    <a:pt x="132250" y="27630"/>
                  </a:lnTo>
                  <a:lnTo>
                    <a:pt x="128835" y="27630"/>
                  </a:lnTo>
                  <a:lnTo>
                    <a:pt x="128835" y="23283"/>
                  </a:lnTo>
                  <a:lnTo>
                    <a:pt x="132250" y="23283"/>
                  </a:lnTo>
                  <a:lnTo>
                    <a:pt x="132250" y="17075"/>
                  </a:lnTo>
                  <a:lnTo>
                    <a:pt x="130077" y="12728"/>
                  </a:lnTo>
                  <a:lnTo>
                    <a:pt x="130077" y="9624"/>
                  </a:lnTo>
                  <a:lnTo>
                    <a:pt x="128835" y="5278"/>
                  </a:lnTo>
                  <a:lnTo>
                    <a:pt x="126972" y="3104"/>
                  </a:lnTo>
                  <a:lnTo>
                    <a:pt x="124799" y="0"/>
                  </a:lnTo>
                  <a:lnTo>
                    <a:pt x="117659" y="0"/>
                  </a:lnTo>
                  <a:lnTo>
                    <a:pt x="112381" y="0"/>
                  </a:lnTo>
                  <a:lnTo>
                    <a:pt x="109277" y="2173"/>
                  </a:lnTo>
                  <a:lnTo>
                    <a:pt x="104931" y="3104"/>
                  </a:lnTo>
                  <a:lnTo>
                    <a:pt x="107104" y="17075"/>
                  </a:lnTo>
                  <a:lnTo>
                    <a:pt x="109277" y="22352"/>
                  </a:lnTo>
                  <a:lnTo>
                    <a:pt x="112381" y="29492"/>
                  </a:lnTo>
                  <a:lnTo>
                    <a:pt x="115486" y="38185"/>
                  </a:lnTo>
                  <a:lnTo>
                    <a:pt x="95617" y="36943"/>
                  </a:lnTo>
                  <a:lnTo>
                    <a:pt x="80095" y="30734"/>
                  </a:lnTo>
                  <a:lnTo>
                    <a:pt x="65504" y="23283"/>
                  </a:lnTo>
                  <a:lnTo>
                    <a:pt x="48740" y="17075"/>
                  </a:lnTo>
                  <a:lnTo>
                    <a:pt x="28871" y="10555"/>
                  </a:lnTo>
                  <a:lnTo>
                    <a:pt x="27009" y="12728"/>
                  </a:lnTo>
                  <a:lnTo>
                    <a:pt x="24836" y="12728"/>
                  </a:lnTo>
                  <a:lnTo>
                    <a:pt x="22663" y="14901"/>
                  </a:lnTo>
                  <a:lnTo>
                    <a:pt x="19558" y="14901"/>
                  </a:lnTo>
                  <a:lnTo>
                    <a:pt x="21731" y="18006"/>
                  </a:lnTo>
                  <a:lnTo>
                    <a:pt x="22663" y="20179"/>
                  </a:lnTo>
                  <a:lnTo>
                    <a:pt x="22663" y="22352"/>
                  </a:lnTo>
                  <a:lnTo>
                    <a:pt x="24836" y="23283"/>
                  </a:lnTo>
                  <a:lnTo>
                    <a:pt x="27009" y="25457"/>
                  </a:lnTo>
                  <a:lnTo>
                    <a:pt x="28871" y="27630"/>
                  </a:lnTo>
                  <a:lnTo>
                    <a:pt x="24836" y="29492"/>
                  </a:lnTo>
                  <a:lnTo>
                    <a:pt x="21731" y="29492"/>
                  </a:lnTo>
                  <a:lnTo>
                    <a:pt x="17695" y="30734"/>
                  </a:lnTo>
                  <a:lnTo>
                    <a:pt x="12418" y="30734"/>
                  </a:lnTo>
                  <a:lnTo>
                    <a:pt x="12418" y="34770"/>
                  </a:lnTo>
                  <a:lnTo>
                    <a:pt x="15522" y="34770"/>
                  </a:lnTo>
                  <a:lnTo>
                    <a:pt x="14280" y="40047"/>
                  </a:lnTo>
                  <a:lnTo>
                    <a:pt x="10245" y="42221"/>
                  </a:lnTo>
                  <a:lnTo>
                    <a:pt x="9313" y="44394"/>
                  </a:lnTo>
                  <a:lnTo>
                    <a:pt x="4967" y="45636"/>
                  </a:lnTo>
                  <a:lnTo>
                    <a:pt x="0" y="47498"/>
                  </a:lnTo>
                  <a:lnTo>
                    <a:pt x="0" y="51844"/>
                  </a:lnTo>
                  <a:lnTo>
                    <a:pt x="4967" y="51844"/>
                  </a:lnTo>
                  <a:lnTo>
                    <a:pt x="15522" y="57122"/>
                  </a:lnTo>
                  <a:lnTo>
                    <a:pt x="32286" y="59295"/>
                  </a:lnTo>
                  <a:lnTo>
                    <a:pt x="46567" y="57122"/>
                  </a:lnTo>
                  <a:lnTo>
                    <a:pt x="59295" y="51844"/>
                  </a:lnTo>
                  <a:lnTo>
                    <a:pt x="80095" y="51844"/>
                  </a:lnTo>
                  <a:lnTo>
                    <a:pt x="77922" y="57122"/>
                  </a:lnTo>
                  <a:lnTo>
                    <a:pt x="73886" y="62400"/>
                  </a:lnTo>
                  <a:lnTo>
                    <a:pt x="70782" y="67677"/>
                  </a:lnTo>
                  <a:lnTo>
                    <a:pt x="65504" y="72023"/>
                  </a:lnTo>
                  <a:lnTo>
                    <a:pt x="59295" y="75128"/>
                  </a:lnTo>
                  <a:lnTo>
                    <a:pt x="61158" y="81337"/>
                  </a:lnTo>
                  <a:lnTo>
                    <a:pt x="61158" y="84752"/>
                  </a:lnTo>
                  <a:lnTo>
                    <a:pt x="63331" y="88787"/>
                  </a:lnTo>
                  <a:lnTo>
                    <a:pt x="65504" y="91892"/>
                  </a:lnTo>
                  <a:lnTo>
                    <a:pt x="81026" y="86614"/>
                  </a:lnTo>
                  <a:lnTo>
                    <a:pt x="92513" y="77301"/>
                  </a:lnTo>
                  <a:lnTo>
                    <a:pt x="104931" y="67677"/>
                  </a:lnTo>
                  <a:lnTo>
                    <a:pt x="115486" y="60226"/>
                  </a:lnTo>
                  <a:lnTo>
                    <a:pt x="130077" y="57122"/>
                  </a:lnTo>
                  <a:lnTo>
                    <a:pt x="144668" y="57122"/>
                  </a:lnTo>
                  <a:lnTo>
                    <a:pt x="158017" y="57122"/>
                  </a:lnTo>
                  <a:lnTo>
                    <a:pt x="168572" y="51844"/>
                  </a:lnTo>
                  <a:lnTo>
                    <a:pt x="170745" y="47498"/>
                  </a:lnTo>
                  <a:lnTo>
                    <a:pt x="170745" y="45636"/>
                  </a:lnTo>
                  <a:lnTo>
                    <a:pt x="170745" y="44394"/>
                  </a:lnTo>
                  <a:lnTo>
                    <a:pt x="170745" y="42221"/>
                  </a:lnTo>
                  <a:lnTo>
                    <a:pt x="172608" y="38185"/>
                  </a:lnTo>
                  <a:lnTo>
                    <a:pt x="172608" y="34770"/>
                  </a:lnTo>
                  <a:lnTo>
                    <a:pt x="170745" y="32907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04A737BE-D7A3-403B-B2C3-A05FE38A11E9}"/>
                </a:ext>
              </a:extLst>
            </p:cNvPr>
            <p:cNvSpPr/>
            <p:nvPr/>
          </p:nvSpPr>
          <p:spPr>
            <a:xfrm>
              <a:off x="3317366" y="4178759"/>
              <a:ext cx="139701" cy="152118"/>
            </a:xfrm>
            <a:custGeom>
              <a:avLst/>
              <a:gdLst>
                <a:gd name="connsiteX0" fmla="*/ 133181 w 139700"/>
                <a:gd name="connsiteY0" fmla="*/ 30424 h 152118"/>
                <a:gd name="connsiteX1" fmla="*/ 129145 w 139700"/>
                <a:gd name="connsiteY1" fmla="*/ 22042 h 152118"/>
                <a:gd name="connsiteX2" fmla="*/ 126041 w 139700"/>
                <a:gd name="connsiteY2" fmla="*/ 14591 h 152118"/>
                <a:gd name="connsiteX3" fmla="*/ 109277 w 139700"/>
                <a:gd name="connsiteY3" fmla="*/ 14591 h 152118"/>
                <a:gd name="connsiteX4" fmla="*/ 94686 w 139700"/>
                <a:gd name="connsiteY4" fmla="*/ 14591 h 152118"/>
                <a:gd name="connsiteX5" fmla="*/ 76991 w 139700"/>
                <a:gd name="connsiteY5" fmla="*/ 14591 h 152118"/>
                <a:gd name="connsiteX6" fmla="*/ 76991 w 139700"/>
                <a:gd name="connsiteY6" fmla="*/ 931 h 152118"/>
                <a:gd name="connsiteX7" fmla="*/ 62400 w 139700"/>
                <a:gd name="connsiteY7" fmla="*/ 0 h 152118"/>
                <a:gd name="connsiteX8" fmla="*/ 50913 w 139700"/>
                <a:gd name="connsiteY8" fmla="*/ 931 h 152118"/>
                <a:gd name="connsiteX9" fmla="*/ 42531 w 139700"/>
                <a:gd name="connsiteY9" fmla="*/ 5278 h 152118"/>
                <a:gd name="connsiteX10" fmla="*/ 31045 w 139700"/>
                <a:gd name="connsiteY10" fmla="*/ 7140 h 152118"/>
                <a:gd name="connsiteX11" fmla="*/ 16454 w 139700"/>
                <a:gd name="connsiteY11" fmla="*/ 10555 h 152118"/>
                <a:gd name="connsiteX12" fmla="*/ 18627 w 139700"/>
                <a:gd name="connsiteY12" fmla="*/ 17695 h 152118"/>
                <a:gd name="connsiteX13" fmla="*/ 20800 w 139700"/>
                <a:gd name="connsiteY13" fmla="*/ 25146 h 152118"/>
                <a:gd name="connsiteX14" fmla="*/ 21731 w 139700"/>
                <a:gd name="connsiteY14" fmla="*/ 29492 h 152118"/>
                <a:gd name="connsiteX15" fmla="*/ 23904 w 139700"/>
                <a:gd name="connsiteY15" fmla="*/ 34770 h 152118"/>
                <a:gd name="connsiteX16" fmla="*/ 29182 w 139700"/>
                <a:gd name="connsiteY16" fmla="*/ 37874 h 152118"/>
                <a:gd name="connsiteX17" fmla="*/ 21731 w 139700"/>
                <a:gd name="connsiteY17" fmla="*/ 60227 h 152118"/>
                <a:gd name="connsiteX18" fmla="*/ 13349 w 139700"/>
                <a:gd name="connsiteY18" fmla="*/ 80095 h 152118"/>
                <a:gd name="connsiteX19" fmla="*/ 0 w 139700"/>
                <a:gd name="connsiteY19" fmla="*/ 94996 h 152118"/>
                <a:gd name="connsiteX20" fmla="*/ 0 w 139700"/>
                <a:gd name="connsiteY20" fmla="*/ 106793 h 152118"/>
                <a:gd name="connsiteX21" fmla="*/ 6209 w 139700"/>
                <a:gd name="connsiteY21" fmla="*/ 106793 h 152118"/>
                <a:gd name="connsiteX22" fmla="*/ 7140 w 139700"/>
                <a:gd name="connsiteY22" fmla="*/ 106793 h 152118"/>
                <a:gd name="connsiteX23" fmla="*/ 9313 w 139700"/>
                <a:gd name="connsiteY23" fmla="*/ 106793 h 152118"/>
                <a:gd name="connsiteX24" fmla="*/ 11486 w 139700"/>
                <a:gd name="connsiteY24" fmla="*/ 106793 h 152118"/>
                <a:gd name="connsiteX25" fmla="*/ 13349 w 139700"/>
                <a:gd name="connsiteY25" fmla="*/ 106793 h 152118"/>
                <a:gd name="connsiteX26" fmla="*/ 16454 w 139700"/>
                <a:gd name="connsiteY26" fmla="*/ 109898 h 152118"/>
                <a:gd name="connsiteX27" fmla="*/ 18627 w 139700"/>
                <a:gd name="connsiteY27" fmla="*/ 112071 h 152118"/>
                <a:gd name="connsiteX28" fmla="*/ 18627 w 139700"/>
                <a:gd name="connsiteY28" fmla="*/ 114244 h 152118"/>
                <a:gd name="connsiteX29" fmla="*/ 20800 w 139700"/>
                <a:gd name="connsiteY29" fmla="*/ 116107 h 152118"/>
                <a:gd name="connsiteX30" fmla="*/ 20800 w 139700"/>
                <a:gd name="connsiteY30" fmla="*/ 117349 h 152118"/>
                <a:gd name="connsiteX31" fmla="*/ 20800 w 139700"/>
                <a:gd name="connsiteY31" fmla="*/ 123557 h 152118"/>
                <a:gd name="connsiteX32" fmla="*/ 33218 w 139700"/>
                <a:gd name="connsiteY32" fmla="*/ 123557 h 152118"/>
                <a:gd name="connsiteX33" fmla="*/ 33218 w 139700"/>
                <a:gd name="connsiteY33" fmla="*/ 126662 h 152118"/>
                <a:gd name="connsiteX34" fmla="*/ 31045 w 139700"/>
                <a:gd name="connsiteY34" fmla="*/ 131008 h 152118"/>
                <a:gd name="connsiteX35" fmla="*/ 31045 w 139700"/>
                <a:gd name="connsiteY35" fmla="*/ 131939 h 152118"/>
                <a:gd name="connsiteX36" fmla="*/ 31045 w 139700"/>
                <a:gd name="connsiteY36" fmla="*/ 134113 h 152118"/>
                <a:gd name="connsiteX37" fmla="*/ 29182 w 139700"/>
                <a:gd name="connsiteY37" fmla="*/ 136286 h 152118"/>
                <a:gd name="connsiteX38" fmla="*/ 31045 w 139700"/>
                <a:gd name="connsiteY38" fmla="*/ 139390 h 152118"/>
                <a:gd name="connsiteX39" fmla="*/ 31045 w 139700"/>
                <a:gd name="connsiteY39" fmla="*/ 143736 h 152118"/>
                <a:gd name="connsiteX40" fmla="*/ 33218 w 139700"/>
                <a:gd name="connsiteY40" fmla="*/ 145910 h 152118"/>
                <a:gd name="connsiteX41" fmla="*/ 35391 w 139700"/>
                <a:gd name="connsiteY41" fmla="*/ 149014 h 152118"/>
                <a:gd name="connsiteX42" fmla="*/ 36322 w 139700"/>
                <a:gd name="connsiteY42" fmla="*/ 152118 h 152118"/>
                <a:gd name="connsiteX43" fmla="*/ 54949 w 139700"/>
                <a:gd name="connsiteY43" fmla="*/ 146841 h 152118"/>
                <a:gd name="connsiteX44" fmla="*/ 69540 w 139700"/>
                <a:gd name="connsiteY44" fmla="*/ 141563 h 152118"/>
                <a:gd name="connsiteX45" fmla="*/ 85373 w 139700"/>
                <a:gd name="connsiteY45" fmla="*/ 139390 h 152118"/>
                <a:gd name="connsiteX46" fmla="*/ 82268 w 139700"/>
                <a:gd name="connsiteY46" fmla="*/ 123557 h 152118"/>
                <a:gd name="connsiteX47" fmla="*/ 84131 w 139700"/>
                <a:gd name="connsiteY47" fmla="*/ 106793 h 152118"/>
                <a:gd name="connsiteX48" fmla="*/ 91582 w 139700"/>
                <a:gd name="connsiteY48" fmla="*/ 91892 h 152118"/>
                <a:gd name="connsiteX49" fmla="*/ 99964 w 139700"/>
                <a:gd name="connsiteY49" fmla="*/ 74817 h 152118"/>
                <a:gd name="connsiteX50" fmla="*/ 114554 w 139700"/>
                <a:gd name="connsiteY50" fmla="*/ 69540 h 152118"/>
                <a:gd name="connsiteX51" fmla="*/ 129145 w 139700"/>
                <a:gd name="connsiteY51" fmla="*/ 64262 h 152118"/>
                <a:gd name="connsiteX52" fmla="*/ 140632 w 139700"/>
                <a:gd name="connsiteY52" fmla="*/ 50603 h 152118"/>
                <a:gd name="connsiteX53" fmla="*/ 140632 w 139700"/>
                <a:gd name="connsiteY53" fmla="*/ 47498 h 152118"/>
                <a:gd name="connsiteX54" fmla="*/ 136286 w 139700"/>
                <a:gd name="connsiteY54" fmla="*/ 40048 h 152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139700" h="152118">
                  <a:moveTo>
                    <a:pt x="133181" y="30424"/>
                  </a:moveTo>
                  <a:lnTo>
                    <a:pt x="129145" y="22042"/>
                  </a:lnTo>
                  <a:lnTo>
                    <a:pt x="126041" y="14591"/>
                  </a:lnTo>
                  <a:lnTo>
                    <a:pt x="109277" y="14591"/>
                  </a:lnTo>
                  <a:lnTo>
                    <a:pt x="94686" y="14591"/>
                  </a:lnTo>
                  <a:lnTo>
                    <a:pt x="76991" y="14591"/>
                  </a:lnTo>
                  <a:lnTo>
                    <a:pt x="76991" y="931"/>
                  </a:lnTo>
                  <a:lnTo>
                    <a:pt x="62400" y="0"/>
                  </a:lnTo>
                  <a:lnTo>
                    <a:pt x="50913" y="931"/>
                  </a:lnTo>
                  <a:lnTo>
                    <a:pt x="42531" y="5278"/>
                  </a:lnTo>
                  <a:lnTo>
                    <a:pt x="31045" y="7140"/>
                  </a:lnTo>
                  <a:lnTo>
                    <a:pt x="16454" y="10555"/>
                  </a:lnTo>
                  <a:lnTo>
                    <a:pt x="18627" y="17695"/>
                  </a:lnTo>
                  <a:lnTo>
                    <a:pt x="20800" y="25146"/>
                  </a:lnTo>
                  <a:lnTo>
                    <a:pt x="21731" y="29492"/>
                  </a:lnTo>
                  <a:lnTo>
                    <a:pt x="23904" y="34770"/>
                  </a:lnTo>
                  <a:lnTo>
                    <a:pt x="29182" y="37874"/>
                  </a:lnTo>
                  <a:lnTo>
                    <a:pt x="21731" y="60227"/>
                  </a:lnTo>
                  <a:lnTo>
                    <a:pt x="13349" y="80095"/>
                  </a:lnTo>
                  <a:lnTo>
                    <a:pt x="0" y="94996"/>
                  </a:lnTo>
                  <a:lnTo>
                    <a:pt x="0" y="106793"/>
                  </a:lnTo>
                  <a:lnTo>
                    <a:pt x="6209" y="106793"/>
                  </a:lnTo>
                  <a:lnTo>
                    <a:pt x="7140" y="106793"/>
                  </a:lnTo>
                  <a:lnTo>
                    <a:pt x="9313" y="106793"/>
                  </a:lnTo>
                  <a:lnTo>
                    <a:pt x="11486" y="106793"/>
                  </a:lnTo>
                  <a:lnTo>
                    <a:pt x="13349" y="106793"/>
                  </a:lnTo>
                  <a:lnTo>
                    <a:pt x="16454" y="109898"/>
                  </a:lnTo>
                  <a:lnTo>
                    <a:pt x="18627" y="112071"/>
                  </a:lnTo>
                  <a:lnTo>
                    <a:pt x="18627" y="114244"/>
                  </a:lnTo>
                  <a:lnTo>
                    <a:pt x="20800" y="116107"/>
                  </a:lnTo>
                  <a:lnTo>
                    <a:pt x="20800" y="117349"/>
                  </a:lnTo>
                  <a:lnTo>
                    <a:pt x="20800" y="123557"/>
                  </a:lnTo>
                  <a:lnTo>
                    <a:pt x="33218" y="123557"/>
                  </a:lnTo>
                  <a:lnTo>
                    <a:pt x="33218" y="126662"/>
                  </a:lnTo>
                  <a:lnTo>
                    <a:pt x="31045" y="131008"/>
                  </a:lnTo>
                  <a:lnTo>
                    <a:pt x="31045" y="131939"/>
                  </a:lnTo>
                  <a:lnTo>
                    <a:pt x="31045" y="134113"/>
                  </a:lnTo>
                  <a:lnTo>
                    <a:pt x="29182" y="136286"/>
                  </a:lnTo>
                  <a:lnTo>
                    <a:pt x="31045" y="139390"/>
                  </a:lnTo>
                  <a:lnTo>
                    <a:pt x="31045" y="143736"/>
                  </a:lnTo>
                  <a:lnTo>
                    <a:pt x="33218" y="145910"/>
                  </a:lnTo>
                  <a:lnTo>
                    <a:pt x="35391" y="149014"/>
                  </a:lnTo>
                  <a:lnTo>
                    <a:pt x="36322" y="152118"/>
                  </a:lnTo>
                  <a:lnTo>
                    <a:pt x="54949" y="146841"/>
                  </a:lnTo>
                  <a:lnTo>
                    <a:pt x="69540" y="141563"/>
                  </a:lnTo>
                  <a:lnTo>
                    <a:pt x="85373" y="139390"/>
                  </a:lnTo>
                  <a:lnTo>
                    <a:pt x="82268" y="123557"/>
                  </a:lnTo>
                  <a:lnTo>
                    <a:pt x="84131" y="106793"/>
                  </a:lnTo>
                  <a:lnTo>
                    <a:pt x="91582" y="91892"/>
                  </a:lnTo>
                  <a:lnTo>
                    <a:pt x="99964" y="74817"/>
                  </a:lnTo>
                  <a:lnTo>
                    <a:pt x="114554" y="69540"/>
                  </a:lnTo>
                  <a:lnTo>
                    <a:pt x="129145" y="64262"/>
                  </a:lnTo>
                  <a:lnTo>
                    <a:pt x="140632" y="50603"/>
                  </a:lnTo>
                  <a:lnTo>
                    <a:pt x="140632" y="47498"/>
                  </a:lnTo>
                  <a:lnTo>
                    <a:pt x="136286" y="40048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D4328B63-C918-48C7-B84A-7126CFB03F77}"/>
                </a:ext>
              </a:extLst>
            </p:cNvPr>
            <p:cNvSpPr/>
            <p:nvPr/>
          </p:nvSpPr>
          <p:spPr>
            <a:xfrm>
              <a:off x="3770306" y="4054891"/>
              <a:ext cx="24836" cy="12418"/>
            </a:xfrm>
            <a:custGeom>
              <a:avLst/>
              <a:gdLst>
                <a:gd name="connsiteX0" fmla="*/ 3104 w 24835"/>
                <a:gd name="connsiteY0" fmla="*/ 12728 h 12417"/>
                <a:gd name="connsiteX1" fmla="*/ 27009 w 24835"/>
                <a:gd name="connsiteY1" fmla="*/ 7451 h 12417"/>
                <a:gd name="connsiteX2" fmla="*/ 27009 w 24835"/>
                <a:gd name="connsiteY2" fmla="*/ 0 h 12417"/>
                <a:gd name="connsiteX3" fmla="*/ 21731 w 24835"/>
                <a:gd name="connsiteY3" fmla="*/ 0 h 12417"/>
                <a:gd name="connsiteX4" fmla="*/ 17695 w 24835"/>
                <a:gd name="connsiteY4" fmla="*/ 0 h 12417"/>
                <a:gd name="connsiteX5" fmla="*/ 14591 w 24835"/>
                <a:gd name="connsiteY5" fmla="*/ 0 h 12417"/>
                <a:gd name="connsiteX6" fmla="*/ 12418 w 24835"/>
                <a:gd name="connsiteY6" fmla="*/ 0 h 12417"/>
                <a:gd name="connsiteX7" fmla="*/ 9313 w 24835"/>
                <a:gd name="connsiteY7" fmla="*/ 0 h 12417"/>
                <a:gd name="connsiteX8" fmla="*/ 5278 w 24835"/>
                <a:gd name="connsiteY8" fmla="*/ 0 h 12417"/>
                <a:gd name="connsiteX9" fmla="*/ 0 w 24835"/>
                <a:gd name="connsiteY9" fmla="*/ 0 h 12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835" h="12417">
                  <a:moveTo>
                    <a:pt x="3104" y="12728"/>
                  </a:moveTo>
                  <a:lnTo>
                    <a:pt x="27009" y="7451"/>
                  </a:lnTo>
                  <a:lnTo>
                    <a:pt x="27009" y="0"/>
                  </a:lnTo>
                  <a:lnTo>
                    <a:pt x="21731" y="0"/>
                  </a:lnTo>
                  <a:lnTo>
                    <a:pt x="17695" y="0"/>
                  </a:lnTo>
                  <a:lnTo>
                    <a:pt x="14591" y="0"/>
                  </a:lnTo>
                  <a:lnTo>
                    <a:pt x="12418" y="0"/>
                  </a:lnTo>
                  <a:lnTo>
                    <a:pt x="9313" y="0"/>
                  </a:lnTo>
                  <a:lnTo>
                    <a:pt x="527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FF67F888-3161-418B-8B4F-9DAB1189C0AF}"/>
                </a:ext>
              </a:extLst>
            </p:cNvPr>
            <p:cNvSpPr/>
            <p:nvPr/>
          </p:nvSpPr>
          <p:spPr>
            <a:xfrm>
              <a:off x="3430679" y="4132192"/>
              <a:ext cx="12418" cy="6209"/>
            </a:xfrm>
            <a:custGeom>
              <a:avLst/>
              <a:gdLst>
                <a:gd name="connsiteX0" fmla="*/ 7451 w 12417"/>
                <a:gd name="connsiteY0" fmla="*/ 1863 h 6208"/>
                <a:gd name="connsiteX1" fmla="*/ 3104 w 12417"/>
                <a:gd name="connsiteY1" fmla="*/ 0 h 6208"/>
                <a:gd name="connsiteX2" fmla="*/ 0 w 12417"/>
                <a:gd name="connsiteY2" fmla="*/ 0 h 6208"/>
                <a:gd name="connsiteX3" fmla="*/ 0 w 12417"/>
                <a:gd name="connsiteY3" fmla="*/ 7140 h 6208"/>
                <a:gd name="connsiteX4" fmla="*/ 12728 w 12417"/>
                <a:gd name="connsiteY4" fmla="*/ 7140 h 6208"/>
                <a:gd name="connsiteX5" fmla="*/ 10555 w 12417"/>
                <a:gd name="connsiteY5" fmla="*/ 3104 h 6208"/>
                <a:gd name="connsiteX6" fmla="*/ 8382 w 12417"/>
                <a:gd name="connsiteY6" fmla="*/ 1863 h 6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417" h="6208">
                  <a:moveTo>
                    <a:pt x="7451" y="1863"/>
                  </a:moveTo>
                  <a:lnTo>
                    <a:pt x="3104" y="0"/>
                  </a:lnTo>
                  <a:lnTo>
                    <a:pt x="0" y="0"/>
                  </a:lnTo>
                  <a:lnTo>
                    <a:pt x="0" y="7140"/>
                  </a:lnTo>
                  <a:lnTo>
                    <a:pt x="12728" y="7140"/>
                  </a:lnTo>
                  <a:lnTo>
                    <a:pt x="10555" y="3104"/>
                  </a:lnTo>
                  <a:lnTo>
                    <a:pt x="8382" y="1863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E4CFE7C1-BF35-47C3-99D3-5E670AB4D391}"/>
                </a:ext>
              </a:extLst>
            </p:cNvPr>
            <p:cNvSpPr/>
            <p:nvPr/>
          </p:nvSpPr>
          <p:spPr>
            <a:xfrm>
              <a:off x="3367348" y="4082210"/>
              <a:ext cx="96238" cy="58985"/>
            </a:xfrm>
            <a:custGeom>
              <a:avLst/>
              <a:gdLst>
                <a:gd name="connsiteX0" fmla="*/ 24836 w 96238"/>
                <a:gd name="connsiteY0" fmla="*/ 60537 h 58984"/>
                <a:gd name="connsiteX1" fmla="*/ 35391 w 96238"/>
                <a:gd name="connsiteY1" fmla="*/ 60537 h 58984"/>
                <a:gd name="connsiteX2" fmla="*/ 48740 w 96238"/>
                <a:gd name="connsiteY2" fmla="*/ 57122 h 58984"/>
                <a:gd name="connsiteX3" fmla="*/ 54018 w 96238"/>
                <a:gd name="connsiteY3" fmla="*/ 47809 h 58984"/>
                <a:gd name="connsiteX4" fmla="*/ 56191 w 96238"/>
                <a:gd name="connsiteY4" fmla="*/ 29803 h 58984"/>
                <a:gd name="connsiteX5" fmla="*/ 59295 w 96238"/>
                <a:gd name="connsiteY5" fmla="*/ 32907 h 58984"/>
                <a:gd name="connsiteX6" fmla="*/ 61468 w 96238"/>
                <a:gd name="connsiteY6" fmla="*/ 35080 h 58984"/>
                <a:gd name="connsiteX7" fmla="*/ 64573 w 96238"/>
                <a:gd name="connsiteY7" fmla="*/ 37253 h 58984"/>
                <a:gd name="connsiteX8" fmla="*/ 68608 w 96238"/>
                <a:gd name="connsiteY8" fmla="*/ 39427 h 58984"/>
                <a:gd name="connsiteX9" fmla="*/ 76059 w 96238"/>
                <a:gd name="connsiteY9" fmla="*/ 42531 h 58984"/>
                <a:gd name="connsiteX10" fmla="*/ 79164 w 96238"/>
                <a:gd name="connsiteY10" fmla="*/ 37253 h 58984"/>
                <a:gd name="connsiteX11" fmla="*/ 85373 w 96238"/>
                <a:gd name="connsiteY11" fmla="*/ 32907 h 58984"/>
                <a:gd name="connsiteX12" fmla="*/ 90650 w 96238"/>
                <a:gd name="connsiteY12" fmla="*/ 29803 h 58984"/>
                <a:gd name="connsiteX13" fmla="*/ 95617 w 96238"/>
                <a:gd name="connsiteY13" fmla="*/ 25457 h 58984"/>
                <a:gd name="connsiteX14" fmla="*/ 95617 w 96238"/>
                <a:gd name="connsiteY14" fmla="*/ 22352 h 58984"/>
                <a:gd name="connsiteX15" fmla="*/ 97790 w 96238"/>
                <a:gd name="connsiteY15" fmla="*/ 18006 h 58984"/>
                <a:gd name="connsiteX16" fmla="*/ 95617 w 96238"/>
                <a:gd name="connsiteY16" fmla="*/ 12728 h 58984"/>
                <a:gd name="connsiteX17" fmla="*/ 95617 w 96238"/>
                <a:gd name="connsiteY17" fmla="*/ 7451 h 58984"/>
                <a:gd name="connsiteX18" fmla="*/ 95617 w 96238"/>
                <a:gd name="connsiteY18" fmla="*/ 0 h 58984"/>
                <a:gd name="connsiteX19" fmla="*/ 66435 w 96238"/>
                <a:gd name="connsiteY19" fmla="*/ 7451 h 58984"/>
                <a:gd name="connsiteX20" fmla="*/ 41600 w 96238"/>
                <a:gd name="connsiteY20" fmla="*/ 18006 h 58984"/>
                <a:gd name="connsiteX21" fmla="*/ 19558 w 96238"/>
                <a:gd name="connsiteY21" fmla="*/ 31976 h 58984"/>
                <a:gd name="connsiteX22" fmla="*/ 0 w 96238"/>
                <a:gd name="connsiteY22" fmla="*/ 45636 h 58984"/>
                <a:gd name="connsiteX23" fmla="*/ 0 w 96238"/>
                <a:gd name="connsiteY23" fmla="*/ 60537 h 58984"/>
                <a:gd name="connsiteX24" fmla="*/ 13349 w 96238"/>
                <a:gd name="connsiteY24" fmla="*/ 60537 h 5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96238" h="58984">
                  <a:moveTo>
                    <a:pt x="24836" y="60537"/>
                  </a:moveTo>
                  <a:lnTo>
                    <a:pt x="35391" y="60537"/>
                  </a:lnTo>
                  <a:lnTo>
                    <a:pt x="48740" y="57122"/>
                  </a:lnTo>
                  <a:lnTo>
                    <a:pt x="54018" y="47809"/>
                  </a:lnTo>
                  <a:lnTo>
                    <a:pt x="56191" y="29803"/>
                  </a:lnTo>
                  <a:lnTo>
                    <a:pt x="59295" y="32907"/>
                  </a:lnTo>
                  <a:lnTo>
                    <a:pt x="61468" y="35080"/>
                  </a:lnTo>
                  <a:lnTo>
                    <a:pt x="64573" y="37253"/>
                  </a:lnTo>
                  <a:lnTo>
                    <a:pt x="68608" y="39427"/>
                  </a:lnTo>
                  <a:lnTo>
                    <a:pt x="76059" y="42531"/>
                  </a:lnTo>
                  <a:lnTo>
                    <a:pt x="79164" y="37253"/>
                  </a:lnTo>
                  <a:lnTo>
                    <a:pt x="85373" y="32907"/>
                  </a:lnTo>
                  <a:lnTo>
                    <a:pt x="90650" y="29803"/>
                  </a:lnTo>
                  <a:lnTo>
                    <a:pt x="95617" y="25457"/>
                  </a:lnTo>
                  <a:lnTo>
                    <a:pt x="95617" y="22352"/>
                  </a:lnTo>
                  <a:lnTo>
                    <a:pt x="97790" y="18006"/>
                  </a:lnTo>
                  <a:lnTo>
                    <a:pt x="95617" y="12728"/>
                  </a:lnTo>
                  <a:lnTo>
                    <a:pt x="95617" y="7451"/>
                  </a:lnTo>
                  <a:lnTo>
                    <a:pt x="95617" y="0"/>
                  </a:lnTo>
                  <a:lnTo>
                    <a:pt x="66435" y="7451"/>
                  </a:lnTo>
                  <a:lnTo>
                    <a:pt x="41600" y="18006"/>
                  </a:lnTo>
                  <a:lnTo>
                    <a:pt x="19558" y="31976"/>
                  </a:lnTo>
                  <a:lnTo>
                    <a:pt x="0" y="45636"/>
                  </a:lnTo>
                  <a:lnTo>
                    <a:pt x="0" y="60537"/>
                  </a:lnTo>
                  <a:lnTo>
                    <a:pt x="13349" y="60537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512751F4-9A0A-47B5-879E-F5A9BDD64C80}"/>
                </a:ext>
              </a:extLst>
            </p:cNvPr>
            <p:cNvSpPr/>
            <p:nvPr/>
          </p:nvSpPr>
          <p:spPr>
            <a:xfrm>
              <a:off x="3502702" y="4062342"/>
              <a:ext cx="43462" cy="27940"/>
            </a:xfrm>
            <a:custGeom>
              <a:avLst/>
              <a:gdLst>
                <a:gd name="connsiteX0" fmla="*/ 4036 w 43462"/>
                <a:gd name="connsiteY0" fmla="*/ 25146 h 27940"/>
                <a:gd name="connsiteX1" fmla="*/ 7140 w 43462"/>
                <a:gd name="connsiteY1" fmla="*/ 29492 h 27940"/>
                <a:gd name="connsiteX2" fmla="*/ 13349 w 43462"/>
                <a:gd name="connsiteY2" fmla="*/ 30734 h 27940"/>
                <a:gd name="connsiteX3" fmla="*/ 16454 w 43462"/>
                <a:gd name="connsiteY3" fmla="*/ 30734 h 27940"/>
                <a:gd name="connsiteX4" fmla="*/ 21731 w 43462"/>
                <a:gd name="connsiteY4" fmla="*/ 29492 h 27940"/>
                <a:gd name="connsiteX5" fmla="*/ 27940 w 43462"/>
                <a:gd name="connsiteY5" fmla="*/ 25146 h 27940"/>
                <a:gd name="connsiteX6" fmla="*/ 33218 w 43462"/>
                <a:gd name="connsiteY6" fmla="*/ 19869 h 27940"/>
                <a:gd name="connsiteX7" fmla="*/ 36322 w 43462"/>
                <a:gd name="connsiteY7" fmla="*/ 15833 h 27940"/>
                <a:gd name="connsiteX8" fmla="*/ 40668 w 43462"/>
                <a:gd name="connsiteY8" fmla="*/ 10555 h 27940"/>
                <a:gd name="connsiteX9" fmla="*/ 43773 w 43462"/>
                <a:gd name="connsiteY9" fmla="*/ 5278 h 27940"/>
                <a:gd name="connsiteX10" fmla="*/ 38495 w 43462"/>
                <a:gd name="connsiteY10" fmla="*/ 3104 h 27940"/>
                <a:gd name="connsiteX11" fmla="*/ 31045 w 43462"/>
                <a:gd name="connsiteY11" fmla="*/ 931 h 27940"/>
                <a:gd name="connsiteX12" fmla="*/ 23904 w 43462"/>
                <a:gd name="connsiteY12" fmla="*/ 931 h 27940"/>
                <a:gd name="connsiteX13" fmla="*/ 14591 w 43462"/>
                <a:gd name="connsiteY13" fmla="*/ 0 h 27940"/>
                <a:gd name="connsiteX14" fmla="*/ 7140 w 43462"/>
                <a:gd name="connsiteY14" fmla="*/ 7451 h 27940"/>
                <a:gd name="connsiteX15" fmla="*/ 0 w 43462"/>
                <a:gd name="connsiteY15" fmla="*/ 12728 h 27940"/>
                <a:gd name="connsiteX16" fmla="*/ 0 w 43462"/>
                <a:gd name="connsiteY16" fmla="*/ 18006 h 27940"/>
                <a:gd name="connsiteX17" fmla="*/ 1863 w 43462"/>
                <a:gd name="connsiteY17" fmla="*/ 22042 h 27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462" h="27940">
                  <a:moveTo>
                    <a:pt x="4036" y="25146"/>
                  </a:moveTo>
                  <a:lnTo>
                    <a:pt x="7140" y="29492"/>
                  </a:lnTo>
                  <a:lnTo>
                    <a:pt x="13349" y="30734"/>
                  </a:lnTo>
                  <a:lnTo>
                    <a:pt x="16454" y="30734"/>
                  </a:lnTo>
                  <a:lnTo>
                    <a:pt x="21731" y="29492"/>
                  </a:lnTo>
                  <a:lnTo>
                    <a:pt x="27940" y="25146"/>
                  </a:lnTo>
                  <a:lnTo>
                    <a:pt x="33218" y="19869"/>
                  </a:lnTo>
                  <a:lnTo>
                    <a:pt x="36322" y="15833"/>
                  </a:lnTo>
                  <a:lnTo>
                    <a:pt x="40668" y="10555"/>
                  </a:lnTo>
                  <a:lnTo>
                    <a:pt x="43773" y="5278"/>
                  </a:lnTo>
                  <a:lnTo>
                    <a:pt x="38495" y="3104"/>
                  </a:lnTo>
                  <a:lnTo>
                    <a:pt x="31045" y="931"/>
                  </a:lnTo>
                  <a:lnTo>
                    <a:pt x="23904" y="931"/>
                  </a:lnTo>
                  <a:lnTo>
                    <a:pt x="14591" y="0"/>
                  </a:lnTo>
                  <a:lnTo>
                    <a:pt x="7140" y="7451"/>
                  </a:lnTo>
                  <a:lnTo>
                    <a:pt x="0" y="12728"/>
                  </a:lnTo>
                  <a:lnTo>
                    <a:pt x="0" y="18006"/>
                  </a:lnTo>
                  <a:lnTo>
                    <a:pt x="1863" y="22042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7757D9BE-F8C0-4E57-B695-ADF915FF3B2C}"/>
                </a:ext>
              </a:extLst>
            </p:cNvPr>
            <p:cNvSpPr/>
            <p:nvPr/>
          </p:nvSpPr>
          <p:spPr>
            <a:xfrm>
              <a:off x="5862400" y="4041231"/>
              <a:ext cx="260774" cy="310446"/>
            </a:xfrm>
            <a:custGeom>
              <a:avLst/>
              <a:gdLst>
                <a:gd name="connsiteX0" fmla="*/ 16454 w 260774"/>
                <a:gd name="connsiteY0" fmla="*/ 264189 h 310445"/>
                <a:gd name="connsiteX1" fmla="*/ 24836 w 260774"/>
                <a:gd name="connsiteY1" fmla="*/ 273813 h 310445"/>
                <a:gd name="connsiteX2" fmla="*/ 34149 w 260774"/>
                <a:gd name="connsiteY2" fmla="*/ 286541 h 310445"/>
                <a:gd name="connsiteX3" fmla="*/ 39427 w 260774"/>
                <a:gd name="connsiteY3" fmla="*/ 301443 h 310445"/>
                <a:gd name="connsiteX4" fmla="*/ 56191 w 260774"/>
                <a:gd name="connsiteY4" fmla="*/ 304547 h 310445"/>
                <a:gd name="connsiteX5" fmla="*/ 70782 w 260774"/>
                <a:gd name="connsiteY5" fmla="*/ 310756 h 310445"/>
                <a:gd name="connsiteX6" fmla="*/ 74818 w 260774"/>
                <a:gd name="connsiteY6" fmla="*/ 301443 h 310445"/>
                <a:gd name="connsiteX7" fmla="*/ 80095 w 260774"/>
                <a:gd name="connsiteY7" fmla="*/ 301443 h 310445"/>
                <a:gd name="connsiteX8" fmla="*/ 80095 w 260774"/>
                <a:gd name="connsiteY8" fmla="*/ 297097 h 310445"/>
                <a:gd name="connsiteX9" fmla="*/ 68609 w 260774"/>
                <a:gd name="connsiteY9" fmla="*/ 288715 h 310445"/>
                <a:gd name="connsiteX10" fmla="*/ 60226 w 260774"/>
                <a:gd name="connsiteY10" fmla="*/ 276918 h 310445"/>
                <a:gd name="connsiteX11" fmla="*/ 53086 w 260774"/>
                <a:gd name="connsiteY11" fmla="*/ 266362 h 310445"/>
                <a:gd name="connsiteX12" fmla="*/ 50913 w 260774"/>
                <a:gd name="connsiteY12" fmla="*/ 257049 h 310445"/>
                <a:gd name="connsiteX13" fmla="*/ 56191 w 260774"/>
                <a:gd name="connsiteY13" fmla="*/ 229419 h 310445"/>
                <a:gd name="connsiteX14" fmla="*/ 67677 w 260774"/>
                <a:gd name="connsiteY14" fmla="*/ 199927 h 310445"/>
                <a:gd name="connsiteX15" fmla="*/ 83199 w 260774"/>
                <a:gd name="connsiteY15" fmla="*/ 170124 h 310445"/>
                <a:gd name="connsiteX16" fmla="*/ 104000 w 260774"/>
                <a:gd name="connsiteY16" fmla="*/ 140632 h 310445"/>
                <a:gd name="connsiteX17" fmla="*/ 124799 w 260774"/>
                <a:gd name="connsiteY17" fmla="*/ 115175 h 310445"/>
                <a:gd name="connsiteX18" fmla="*/ 145599 w 260774"/>
                <a:gd name="connsiteY18" fmla="*/ 92823 h 310445"/>
                <a:gd name="connsiteX19" fmla="*/ 163295 w 260774"/>
                <a:gd name="connsiteY19" fmla="*/ 78232 h 310445"/>
                <a:gd name="connsiteX20" fmla="*/ 180059 w 260774"/>
                <a:gd name="connsiteY20" fmla="*/ 70782 h 310445"/>
                <a:gd name="connsiteX21" fmla="*/ 197754 w 260774"/>
                <a:gd name="connsiteY21" fmla="*/ 63331 h 310445"/>
                <a:gd name="connsiteX22" fmla="*/ 217623 w 260774"/>
                <a:gd name="connsiteY22" fmla="*/ 55880 h 310445"/>
                <a:gd name="connsiteX23" fmla="*/ 234076 w 260774"/>
                <a:gd name="connsiteY23" fmla="*/ 46256 h 310445"/>
                <a:gd name="connsiteX24" fmla="*/ 248667 w 260774"/>
                <a:gd name="connsiteY24" fmla="*/ 35701 h 310445"/>
                <a:gd name="connsiteX25" fmla="*/ 260154 w 260774"/>
                <a:gd name="connsiteY25" fmla="*/ 21110 h 310445"/>
                <a:gd name="connsiteX26" fmla="*/ 261395 w 260774"/>
                <a:gd name="connsiteY26" fmla="*/ 18937 h 310445"/>
                <a:gd name="connsiteX27" fmla="*/ 261395 w 260774"/>
                <a:gd name="connsiteY27" fmla="*/ 16764 h 310445"/>
                <a:gd name="connsiteX28" fmla="*/ 263258 w 260774"/>
                <a:gd name="connsiteY28" fmla="*/ 13660 h 310445"/>
                <a:gd name="connsiteX29" fmla="*/ 260154 w 260774"/>
                <a:gd name="connsiteY29" fmla="*/ 9313 h 310445"/>
                <a:gd name="connsiteX30" fmla="*/ 258291 w 260774"/>
                <a:gd name="connsiteY30" fmla="*/ 6209 h 310445"/>
                <a:gd name="connsiteX31" fmla="*/ 253945 w 260774"/>
                <a:gd name="connsiteY31" fmla="*/ 1863 h 310445"/>
                <a:gd name="connsiteX32" fmla="*/ 236249 w 260774"/>
                <a:gd name="connsiteY32" fmla="*/ 0 h 310445"/>
                <a:gd name="connsiteX33" fmla="*/ 223832 w 260774"/>
                <a:gd name="connsiteY33" fmla="*/ 4036 h 310445"/>
                <a:gd name="connsiteX34" fmla="*/ 216381 w 260774"/>
                <a:gd name="connsiteY34" fmla="*/ 7140 h 310445"/>
                <a:gd name="connsiteX35" fmla="*/ 210172 w 260774"/>
                <a:gd name="connsiteY35" fmla="*/ 11486 h 310445"/>
                <a:gd name="connsiteX36" fmla="*/ 205205 w 260774"/>
                <a:gd name="connsiteY36" fmla="*/ 18937 h 310445"/>
                <a:gd name="connsiteX37" fmla="*/ 197754 w 260774"/>
                <a:gd name="connsiteY37" fmla="*/ 24215 h 310445"/>
                <a:gd name="connsiteX38" fmla="*/ 187199 w 260774"/>
                <a:gd name="connsiteY38" fmla="*/ 29492 h 310445"/>
                <a:gd name="connsiteX39" fmla="*/ 153981 w 260774"/>
                <a:gd name="connsiteY39" fmla="*/ 29492 h 310445"/>
                <a:gd name="connsiteX40" fmla="*/ 134113 w 260774"/>
                <a:gd name="connsiteY40" fmla="*/ 39116 h 310445"/>
                <a:gd name="connsiteX41" fmla="*/ 110208 w 260774"/>
                <a:gd name="connsiteY41" fmla="*/ 51844 h 310445"/>
                <a:gd name="connsiteX42" fmla="*/ 87235 w 260774"/>
                <a:gd name="connsiteY42" fmla="*/ 68609 h 310445"/>
                <a:gd name="connsiteX43" fmla="*/ 68609 w 260774"/>
                <a:gd name="connsiteY43" fmla="*/ 85683 h 310445"/>
                <a:gd name="connsiteX44" fmla="*/ 54017 w 260774"/>
                <a:gd name="connsiteY44" fmla="*/ 101516 h 310445"/>
                <a:gd name="connsiteX45" fmla="*/ 53086 w 260774"/>
                <a:gd name="connsiteY45" fmla="*/ 107725 h 310445"/>
                <a:gd name="connsiteX46" fmla="*/ 53086 w 260774"/>
                <a:gd name="connsiteY46" fmla="*/ 110829 h 310445"/>
                <a:gd name="connsiteX47" fmla="*/ 53086 w 260774"/>
                <a:gd name="connsiteY47" fmla="*/ 116107 h 310445"/>
                <a:gd name="connsiteX48" fmla="*/ 54017 w 260774"/>
                <a:gd name="connsiteY48" fmla="*/ 118280 h 310445"/>
                <a:gd name="connsiteX49" fmla="*/ 54017 w 260774"/>
                <a:gd name="connsiteY49" fmla="*/ 122626 h 310445"/>
                <a:gd name="connsiteX50" fmla="*/ 56191 w 260774"/>
                <a:gd name="connsiteY50" fmla="*/ 127904 h 310445"/>
                <a:gd name="connsiteX51" fmla="*/ 54017 w 260774"/>
                <a:gd name="connsiteY51" fmla="*/ 131008 h 310445"/>
                <a:gd name="connsiteX52" fmla="*/ 48740 w 260774"/>
                <a:gd name="connsiteY52" fmla="*/ 144668 h 310445"/>
                <a:gd name="connsiteX53" fmla="*/ 39427 w 260774"/>
                <a:gd name="connsiteY53" fmla="*/ 153360 h 310445"/>
                <a:gd name="connsiteX54" fmla="*/ 31045 w 260774"/>
                <a:gd name="connsiteY54" fmla="*/ 162674 h 310445"/>
                <a:gd name="connsiteX55" fmla="*/ 31045 w 260774"/>
                <a:gd name="connsiteY55" fmla="*/ 164847 h 310445"/>
                <a:gd name="connsiteX56" fmla="*/ 31045 w 260774"/>
                <a:gd name="connsiteY56" fmla="*/ 167020 h 310445"/>
                <a:gd name="connsiteX57" fmla="*/ 32286 w 260774"/>
                <a:gd name="connsiteY57" fmla="*/ 167020 h 310445"/>
                <a:gd name="connsiteX58" fmla="*/ 32286 w 260774"/>
                <a:gd name="connsiteY58" fmla="*/ 167951 h 310445"/>
                <a:gd name="connsiteX59" fmla="*/ 36322 w 260774"/>
                <a:gd name="connsiteY59" fmla="*/ 170124 h 310445"/>
                <a:gd name="connsiteX60" fmla="*/ 39427 w 260774"/>
                <a:gd name="connsiteY60" fmla="*/ 172297 h 310445"/>
                <a:gd name="connsiteX61" fmla="*/ 34149 w 260774"/>
                <a:gd name="connsiteY61" fmla="*/ 182853 h 310445"/>
                <a:gd name="connsiteX62" fmla="*/ 27009 w 260774"/>
                <a:gd name="connsiteY62" fmla="*/ 190303 h 310445"/>
                <a:gd name="connsiteX63" fmla="*/ 19558 w 260774"/>
                <a:gd name="connsiteY63" fmla="*/ 195581 h 310445"/>
                <a:gd name="connsiteX64" fmla="*/ 14591 w 260774"/>
                <a:gd name="connsiteY64" fmla="*/ 205205 h 310445"/>
                <a:gd name="connsiteX65" fmla="*/ 12418 w 260774"/>
                <a:gd name="connsiteY65" fmla="*/ 212345 h 310445"/>
                <a:gd name="connsiteX66" fmla="*/ 14591 w 260774"/>
                <a:gd name="connsiteY66" fmla="*/ 219796 h 310445"/>
                <a:gd name="connsiteX67" fmla="*/ 16454 w 260774"/>
                <a:gd name="connsiteY67" fmla="*/ 224142 h 310445"/>
                <a:gd name="connsiteX68" fmla="*/ 16454 w 260774"/>
                <a:gd name="connsiteY68" fmla="*/ 229419 h 310445"/>
                <a:gd name="connsiteX69" fmla="*/ 10245 w 260774"/>
                <a:gd name="connsiteY69" fmla="*/ 232524 h 310445"/>
                <a:gd name="connsiteX70" fmla="*/ 0 w 260774"/>
                <a:gd name="connsiteY70" fmla="*/ 239975 h 310445"/>
                <a:gd name="connsiteX71" fmla="*/ 7140 w 260774"/>
                <a:gd name="connsiteY71" fmla="*/ 254876 h 310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260774" h="310445">
                  <a:moveTo>
                    <a:pt x="16454" y="264189"/>
                  </a:moveTo>
                  <a:lnTo>
                    <a:pt x="24836" y="273813"/>
                  </a:lnTo>
                  <a:lnTo>
                    <a:pt x="34149" y="286541"/>
                  </a:lnTo>
                  <a:lnTo>
                    <a:pt x="39427" y="301443"/>
                  </a:lnTo>
                  <a:lnTo>
                    <a:pt x="56191" y="304547"/>
                  </a:lnTo>
                  <a:lnTo>
                    <a:pt x="70782" y="310756"/>
                  </a:lnTo>
                  <a:lnTo>
                    <a:pt x="74818" y="301443"/>
                  </a:lnTo>
                  <a:lnTo>
                    <a:pt x="80095" y="301443"/>
                  </a:lnTo>
                  <a:lnTo>
                    <a:pt x="80095" y="297097"/>
                  </a:lnTo>
                  <a:lnTo>
                    <a:pt x="68609" y="288715"/>
                  </a:lnTo>
                  <a:lnTo>
                    <a:pt x="60226" y="276918"/>
                  </a:lnTo>
                  <a:lnTo>
                    <a:pt x="53086" y="266362"/>
                  </a:lnTo>
                  <a:lnTo>
                    <a:pt x="50913" y="257049"/>
                  </a:lnTo>
                  <a:lnTo>
                    <a:pt x="56191" y="229419"/>
                  </a:lnTo>
                  <a:lnTo>
                    <a:pt x="67677" y="199927"/>
                  </a:lnTo>
                  <a:lnTo>
                    <a:pt x="83199" y="170124"/>
                  </a:lnTo>
                  <a:lnTo>
                    <a:pt x="104000" y="140632"/>
                  </a:lnTo>
                  <a:lnTo>
                    <a:pt x="124799" y="115175"/>
                  </a:lnTo>
                  <a:lnTo>
                    <a:pt x="145599" y="92823"/>
                  </a:lnTo>
                  <a:lnTo>
                    <a:pt x="163295" y="78232"/>
                  </a:lnTo>
                  <a:lnTo>
                    <a:pt x="180059" y="70782"/>
                  </a:lnTo>
                  <a:lnTo>
                    <a:pt x="197754" y="63331"/>
                  </a:lnTo>
                  <a:lnTo>
                    <a:pt x="217623" y="55880"/>
                  </a:lnTo>
                  <a:lnTo>
                    <a:pt x="234076" y="46256"/>
                  </a:lnTo>
                  <a:lnTo>
                    <a:pt x="248667" y="35701"/>
                  </a:lnTo>
                  <a:lnTo>
                    <a:pt x="260154" y="21110"/>
                  </a:lnTo>
                  <a:lnTo>
                    <a:pt x="261395" y="18937"/>
                  </a:lnTo>
                  <a:lnTo>
                    <a:pt x="261395" y="16764"/>
                  </a:lnTo>
                  <a:lnTo>
                    <a:pt x="263258" y="13660"/>
                  </a:lnTo>
                  <a:lnTo>
                    <a:pt x="260154" y="9313"/>
                  </a:lnTo>
                  <a:lnTo>
                    <a:pt x="258291" y="6209"/>
                  </a:lnTo>
                  <a:lnTo>
                    <a:pt x="253945" y="1863"/>
                  </a:lnTo>
                  <a:lnTo>
                    <a:pt x="236249" y="0"/>
                  </a:lnTo>
                  <a:lnTo>
                    <a:pt x="223832" y="4036"/>
                  </a:lnTo>
                  <a:lnTo>
                    <a:pt x="216381" y="7140"/>
                  </a:lnTo>
                  <a:lnTo>
                    <a:pt x="210172" y="11486"/>
                  </a:lnTo>
                  <a:lnTo>
                    <a:pt x="205205" y="18937"/>
                  </a:lnTo>
                  <a:lnTo>
                    <a:pt x="197754" y="24215"/>
                  </a:lnTo>
                  <a:lnTo>
                    <a:pt x="187199" y="29492"/>
                  </a:lnTo>
                  <a:lnTo>
                    <a:pt x="153981" y="29492"/>
                  </a:lnTo>
                  <a:lnTo>
                    <a:pt x="134113" y="39116"/>
                  </a:lnTo>
                  <a:lnTo>
                    <a:pt x="110208" y="51844"/>
                  </a:lnTo>
                  <a:lnTo>
                    <a:pt x="87235" y="68609"/>
                  </a:lnTo>
                  <a:lnTo>
                    <a:pt x="68609" y="85683"/>
                  </a:lnTo>
                  <a:lnTo>
                    <a:pt x="54017" y="101516"/>
                  </a:lnTo>
                  <a:lnTo>
                    <a:pt x="53086" y="107725"/>
                  </a:lnTo>
                  <a:lnTo>
                    <a:pt x="53086" y="110829"/>
                  </a:lnTo>
                  <a:lnTo>
                    <a:pt x="53086" y="116107"/>
                  </a:lnTo>
                  <a:lnTo>
                    <a:pt x="54017" y="118280"/>
                  </a:lnTo>
                  <a:lnTo>
                    <a:pt x="54017" y="122626"/>
                  </a:lnTo>
                  <a:lnTo>
                    <a:pt x="56191" y="127904"/>
                  </a:lnTo>
                  <a:lnTo>
                    <a:pt x="54017" y="131008"/>
                  </a:lnTo>
                  <a:lnTo>
                    <a:pt x="48740" y="144668"/>
                  </a:lnTo>
                  <a:lnTo>
                    <a:pt x="39427" y="153360"/>
                  </a:lnTo>
                  <a:lnTo>
                    <a:pt x="31045" y="162674"/>
                  </a:lnTo>
                  <a:lnTo>
                    <a:pt x="31045" y="164847"/>
                  </a:lnTo>
                  <a:lnTo>
                    <a:pt x="31045" y="167020"/>
                  </a:lnTo>
                  <a:lnTo>
                    <a:pt x="32286" y="167020"/>
                  </a:lnTo>
                  <a:lnTo>
                    <a:pt x="32286" y="167951"/>
                  </a:lnTo>
                  <a:lnTo>
                    <a:pt x="36322" y="170124"/>
                  </a:lnTo>
                  <a:lnTo>
                    <a:pt x="39427" y="172297"/>
                  </a:lnTo>
                  <a:lnTo>
                    <a:pt x="34149" y="182853"/>
                  </a:lnTo>
                  <a:lnTo>
                    <a:pt x="27009" y="190303"/>
                  </a:lnTo>
                  <a:lnTo>
                    <a:pt x="19558" y="195581"/>
                  </a:lnTo>
                  <a:lnTo>
                    <a:pt x="14591" y="205205"/>
                  </a:lnTo>
                  <a:lnTo>
                    <a:pt x="12418" y="212345"/>
                  </a:lnTo>
                  <a:lnTo>
                    <a:pt x="14591" y="219796"/>
                  </a:lnTo>
                  <a:lnTo>
                    <a:pt x="16454" y="224142"/>
                  </a:lnTo>
                  <a:lnTo>
                    <a:pt x="16454" y="229419"/>
                  </a:lnTo>
                  <a:lnTo>
                    <a:pt x="10245" y="232524"/>
                  </a:lnTo>
                  <a:lnTo>
                    <a:pt x="0" y="239975"/>
                  </a:lnTo>
                  <a:lnTo>
                    <a:pt x="7140" y="254876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A78A26B9-B590-4639-9897-FB833C4CE46D}"/>
                </a:ext>
              </a:extLst>
            </p:cNvPr>
            <p:cNvSpPr/>
            <p:nvPr/>
          </p:nvSpPr>
          <p:spPr>
            <a:xfrm>
              <a:off x="7125604" y="4179690"/>
              <a:ext cx="15522" cy="12418"/>
            </a:xfrm>
            <a:custGeom>
              <a:avLst/>
              <a:gdLst>
                <a:gd name="connsiteX0" fmla="*/ 0 w 15522"/>
                <a:gd name="connsiteY0" fmla="*/ 13660 h 12417"/>
                <a:gd name="connsiteX1" fmla="*/ 16454 w 15522"/>
                <a:gd name="connsiteY1" fmla="*/ 13660 h 12417"/>
                <a:gd name="connsiteX2" fmla="*/ 16454 w 15522"/>
                <a:gd name="connsiteY2" fmla="*/ 6209 h 12417"/>
                <a:gd name="connsiteX3" fmla="*/ 4036 w 15522"/>
                <a:gd name="connsiteY3" fmla="*/ 0 h 12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22" h="12417">
                  <a:moveTo>
                    <a:pt x="0" y="13660"/>
                  </a:moveTo>
                  <a:lnTo>
                    <a:pt x="16454" y="13660"/>
                  </a:lnTo>
                  <a:lnTo>
                    <a:pt x="16454" y="6209"/>
                  </a:lnTo>
                  <a:lnTo>
                    <a:pt x="4036" y="0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F1BFC9DC-ABCA-4242-92CD-2973002C7C5E}"/>
                </a:ext>
              </a:extLst>
            </p:cNvPr>
            <p:cNvSpPr/>
            <p:nvPr/>
          </p:nvSpPr>
          <p:spPr>
            <a:xfrm>
              <a:off x="3826497" y="4062342"/>
              <a:ext cx="15522" cy="6209"/>
            </a:xfrm>
            <a:custGeom>
              <a:avLst/>
              <a:gdLst>
                <a:gd name="connsiteX0" fmla="*/ 0 w 15522"/>
                <a:gd name="connsiteY0" fmla="*/ 0 h 6208"/>
                <a:gd name="connsiteX1" fmla="*/ 16764 w 15522"/>
                <a:gd name="connsiteY1" fmla="*/ 0 h 6208"/>
                <a:gd name="connsiteX2" fmla="*/ 16764 w 15522"/>
                <a:gd name="connsiteY2" fmla="*/ 8382 h 6208"/>
                <a:gd name="connsiteX3" fmla="*/ 0 w 15522"/>
                <a:gd name="connsiteY3" fmla="*/ 8382 h 6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22" h="6208">
                  <a:moveTo>
                    <a:pt x="0" y="0"/>
                  </a:moveTo>
                  <a:lnTo>
                    <a:pt x="16764" y="0"/>
                  </a:lnTo>
                  <a:lnTo>
                    <a:pt x="16764" y="8382"/>
                  </a:lnTo>
                  <a:lnTo>
                    <a:pt x="0" y="8382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CDFF490D-F4FF-4EDE-B752-F1758E63B2EA}"/>
                </a:ext>
              </a:extLst>
            </p:cNvPr>
            <p:cNvSpPr/>
            <p:nvPr/>
          </p:nvSpPr>
          <p:spPr>
            <a:xfrm>
              <a:off x="7212839" y="4119464"/>
              <a:ext cx="71403" cy="49671"/>
            </a:xfrm>
            <a:custGeom>
              <a:avLst/>
              <a:gdLst>
                <a:gd name="connsiteX0" fmla="*/ 27009 w 71402"/>
                <a:gd name="connsiteY0" fmla="*/ 37874 h 49671"/>
                <a:gd name="connsiteX1" fmla="*/ 49050 w 71402"/>
                <a:gd name="connsiteY1" fmla="*/ 45325 h 49671"/>
                <a:gd name="connsiteX2" fmla="*/ 72955 w 71402"/>
                <a:gd name="connsiteY2" fmla="*/ 49671 h 49671"/>
                <a:gd name="connsiteX3" fmla="*/ 68919 w 71402"/>
                <a:gd name="connsiteY3" fmla="*/ 32597 h 49671"/>
                <a:gd name="connsiteX4" fmla="*/ 61468 w 71402"/>
                <a:gd name="connsiteY4" fmla="*/ 19869 h 49671"/>
                <a:gd name="connsiteX5" fmla="*/ 51224 w 71402"/>
                <a:gd name="connsiteY5" fmla="*/ 10555 h 49671"/>
                <a:gd name="connsiteX6" fmla="*/ 36632 w 71402"/>
                <a:gd name="connsiteY6" fmla="*/ 5278 h 49671"/>
                <a:gd name="connsiteX7" fmla="*/ 19868 w 71402"/>
                <a:gd name="connsiteY7" fmla="*/ 2173 h 49671"/>
                <a:gd name="connsiteX8" fmla="*/ 3104 w 71402"/>
                <a:gd name="connsiteY8" fmla="*/ 0 h 49671"/>
                <a:gd name="connsiteX9" fmla="*/ 3104 w 71402"/>
                <a:gd name="connsiteY9" fmla="*/ 3104 h 49671"/>
                <a:gd name="connsiteX10" fmla="*/ 3104 w 71402"/>
                <a:gd name="connsiteY10" fmla="*/ 7451 h 49671"/>
                <a:gd name="connsiteX11" fmla="*/ 2173 w 71402"/>
                <a:gd name="connsiteY11" fmla="*/ 8382 h 49671"/>
                <a:gd name="connsiteX12" fmla="*/ 2173 w 71402"/>
                <a:gd name="connsiteY12" fmla="*/ 10555 h 49671"/>
                <a:gd name="connsiteX13" fmla="*/ 0 w 71402"/>
                <a:gd name="connsiteY13" fmla="*/ 12728 h 49671"/>
                <a:gd name="connsiteX14" fmla="*/ 10555 w 71402"/>
                <a:gd name="connsiteY14" fmla="*/ 27319 h 4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1402" h="49671">
                  <a:moveTo>
                    <a:pt x="27009" y="37874"/>
                  </a:moveTo>
                  <a:lnTo>
                    <a:pt x="49050" y="45325"/>
                  </a:lnTo>
                  <a:lnTo>
                    <a:pt x="72955" y="49671"/>
                  </a:lnTo>
                  <a:lnTo>
                    <a:pt x="68919" y="32597"/>
                  </a:lnTo>
                  <a:lnTo>
                    <a:pt x="61468" y="19869"/>
                  </a:lnTo>
                  <a:lnTo>
                    <a:pt x="51224" y="10555"/>
                  </a:lnTo>
                  <a:lnTo>
                    <a:pt x="36632" y="5278"/>
                  </a:lnTo>
                  <a:lnTo>
                    <a:pt x="19868" y="2173"/>
                  </a:lnTo>
                  <a:lnTo>
                    <a:pt x="3104" y="0"/>
                  </a:lnTo>
                  <a:lnTo>
                    <a:pt x="3104" y="3104"/>
                  </a:lnTo>
                  <a:lnTo>
                    <a:pt x="3104" y="7451"/>
                  </a:lnTo>
                  <a:lnTo>
                    <a:pt x="2173" y="8382"/>
                  </a:lnTo>
                  <a:lnTo>
                    <a:pt x="2173" y="10555"/>
                  </a:lnTo>
                  <a:lnTo>
                    <a:pt x="0" y="12728"/>
                  </a:lnTo>
                  <a:lnTo>
                    <a:pt x="10555" y="27319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8C88B596-8EA2-4ED5-A7CC-13FDE371B711}"/>
                </a:ext>
              </a:extLst>
            </p:cNvPr>
            <p:cNvSpPr/>
            <p:nvPr/>
          </p:nvSpPr>
          <p:spPr>
            <a:xfrm>
              <a:off x="7085867" y="4082210"/>
              <a:ext cx="108656" cy="80716"/>
            </a:xfrm>
            <a:custGeom>
              <a:avLst/>
              <a:gdLst>
                <a:gd name="connsiteX0" fmla="*/ 14591 w 108656"/>
                <a:gd name="connsiteY0" fmla="*/ 72023 h 80715"/>
                <a:gd name="connsiteX1" fmla="*/ 27009 w 108656"/>
                <a:gd name="connsiteY1" fmla="*/ 82579 h 80715"/>
                <a:gd name="connsiteX2" fmla="*/ 32286 w 108656"/>
                <a:gd name="connsiteY2" fmla="*/ 81647 h 80715"/>
                <a:gd name="connsiteX3" fmla="*/ 43773 w 108656"/>
                <a:gd name="connsiteY3" fmla="*/ 79474 h 80715"/>
                <a:gd name="connsiteX4" fmla="*/ 58364 w 108656"/>
                <a:gd name="connsiteY4" fmla="*/ 77301 h 80715"/>
                <a:gd name="connsiteX5" fmla="*/ 76059 w 108656"/>
                <a:gd name="connsiteY5" fmla="*/ 75128 h 80715"/>
                <a:gd name="connsiteX6" fmla="*/ 93754 w 108656"/>
                <a:gd name="connsiteY6" fmla="*/ 74197 h 80715"/>
                <a:gd name="connsiteX7" fmla="*/ 107414 w 108656"/>
                <a:gd name="connsiteY7" fmla="*/ 74197 h 80715"/>
                <a:gd name="connsiteX8" fmla="*/ 108346 w 108656"/>
                <a:gd name="connsiteY8" fmla="*/ 72023 h 80715"/>
                <a:gd name="connsiteX9" fmla="*/ 110519 w 108656"/>
                <a:gd name="connsiteY9" fmla="*/ 72023 h 80715"/>
                <a:gd name="connsiteX10" fmla="*/ 110519 w 108656"/>
                <a:gd name="connsiteY10" fmla="*/ 69850 h 80715"/>
                <a:gd name="connsiteX11" fmla="*/ 110519 w 108656"/>
                <a:gd name="connsiteY11" fmla="*/ 12728 h 80715"/>
                <a:gd name="connsiteX12" fmla="*/ 95928 w 108656"/>
                <a:gd name="connsiteY12" fmla="*/ 20179 h 80715"/>
                <a:gd name="connsiteX13" fmla="*/ 83199 w 108656"/>
                <a:gd name="connsiteY13" fmla="*/ 27630 h 80715"/>
                <a:gd name="connsiteX14" fmla="*/ 66746 w 108656"/>
                <a:gd name="connsiteY14" fmla="*/ 32907 h 80715"/>
                <a:gd name="connsiteX15" fmla="*/ 66746 w 108656"/>
                <a:gd name="connsiteY15" fmla="*/ 20179 h 80715"/>
                <a:gd name="connsiteX16" fmla="*/ 66746 w 108656"/>
                <a:gd name="connsiteY16" fmla="*/ 9624 h 80715"/>
                <a:gd name="connsiteX17" fmla="*/ 63641 w 108656"/>
                <a:gd name="connsiteY17" fmla="*/ 0 h 80715"/>
                <a:gd name="connsiteX18" fmla="*/ 54018 w 108656"/>
                <a:gd name="connsiteY18" fmla="*/ 0 h 80715"/>
                <a:gd name="connsiteX19" fmla="*/ 39737 w 108656"/>
                <a:gd name="connsiteY19" fmla="*/ 2173 h 80715"/>
                <a:gd name="connsiteX20" fmla="*/ 25146 w 108656"/>
                <a:gd name="connsiteY20" fmla="*/ 7451 h 80715"/>
                <a:gd name="connsiteX21" fmla="*/ 15522 w 108656"/>
                <a:gd name="connsiteY21" fmla="*/ 12728 h 80715"/>
                <a:gd name="connsiteX22" fmla="*/ 8382 w 108656"/>
                <a:gd name="connsiteY22" fmla="*/ 17075 h 80715"/>
                <a:gd name="connsiteX23" fmla="*/ 7451 w 108656"/>
                <a:gd name="connsiteY23" fmla="*/ 20179 h 80715"/>
                <a:gd name="connsiteX24" fmla="*/ 5277 w 108656"/>
                <a:gd name="connsiteY24" fmla="*/ 24525 h 80715"/>
                <a:gd name="connsiteX25" fmla="*/ 3104 w 108656"/>
                <a:gd name="connsiteY25" fmla="*/ 27630 h 80715"/>
                <a:gd name="connsiteX26" fmla="*/ 931 w 108656"/>
                <a:gd name="connsiteY26" fmla="*/ 31976 h 80715"/>
                <a:gd name="connsiteX27" fmla="*/ 0 w 108656"/>
                <a:gd name="connsiteY27" fmla="*/ 37253 h 80715"/>
                <a:gd name="connsiteX28" fmla="*/ 5277 w 108656"/>
                <a:gd name="connsiteY28" fmla="*/ 57122 h 80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08656" h="80715">
                  <a:moveTo>
                    <a:pt x="14591" y="72023"/>
                  </a:moveTo>
                  <a:lnTo>
                    <a:pt x="27009" y="82579"/>
                  </a:lnTo>
                  <a:lnTo>
                    <a:pt x="32286" y="81647"/>
                  </a:lnTo>
                  <a:lnTo>
                    <a:pt x="43773" y="79474"/>
                  </a:lnTo>
                  <a:lnTo>
                    <a:pt x="58364" y="77301"/>
                  </a:lnTo>
                  <a:lnTo>
                    <a:pt x="76059" y="75128"/>
                  </a:lnTo>
                  <a:lnTo>
                    <a:pt x="93754" y="74197"/>
                  </a:lnTo>
                  <a:lnTo>
                    <a:pt x="107414" y="74197"/>
                  </a:lnTo>
                  <a:lnTo>
                    <a:pt x="108346" y="72023"/>
                  </a:lnTo>
                  <a:lnTo>
                    <a:pt x="110519" y="72023"/>
                  </a:lnTo>
                  <a:lnTo>
                    <a:pt x="110519" y="69850"/>
                  </a:lnTo>
                  <a:lnTo>
                    <a:pt x="110519" y="12728"/>
                  </a:lnTo>
                  <a:lnTo>
                    <a:pt x="95928" y="20179"/>
                  </a:lnTo>
                  <a:lnTo>
                    <a:pt x="83199" y="27630"/>
                  </a:lnTo>
                  <a:lnTo>
                    <a:pt x="66746" y="32907"/>
                  </a:lnTo>
                  <a:lnTo>
                    <a:pt x="66746" y="20179"/>
                  </a:lnTo>
                  <a:lnTo>
                    <a:pt x="66746" y="9624"/>
                  </a:lnTo>
                  <a:lnTo>
                    <a:pt x="63641" y="0"/>
                  </a:lnTo>
                  <a:lnTo>
                    <a:pt x="54018" y="0"/>
                  </a:lnTo>
                  <a:lnTo>
                    <a:pt x="39737" y="2173"/>
                  </a:lnTo>
                  <a:lnTo>
                    <a:pt x="25146" y="7451"/>
                  </a:lnTo>
                  <a:lnTo>
                    <a:pt x="15522" y="12728"/>
                  </a:lnTo>
                  <a:lnTo>
                    <a:pt x="8382" y="17075"/>
                  </a:lnTo>
                  <a:lnTo>
                    <a:pt x="7451" y="20179"/>
                  </a:lnTo>
                  <a:lnTo>
                    <a:pt x="5277" y="24525"/>
                  </a:lnTo>
                  <a:lnTo>
                    <a:pt x="3104" y="27630"/>
                  </a:lnTo>
                  <a:lnTo>
                    <a:pt x="931" y="31976"/>
                  </a:lnTo>
                  <a:lnTo>
                    <a:pt x="0" y="37253"/>
                  </a:lnTo>
                  <a:lnTo>
                    <a:pt x="5277" y="57122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7B3B17BA-26E0-4854-AD5E-0B10E4942FCB}"/>
                </a:ext>
              </a:extLst>
            </p:cNvPr>
            <p:cNvSpPr/>
            <p:nvPr/>
          </p:nvSpPr>
          <p:spPr>
            <a:xfrm>
              <a:off x="4090065" y="4082210"/>
              <a:ext cx="12418" cy="9313"/>
            </a:xfrm>
            <a:custGeom>
              <a:avLst/>
              <a:gdLst>
                <a:gd name="connsiteX0" fmla="*/ 4036 w 12417"/>
                <a:gd name="connsiteY0" fmla="*/ 9624 h 9313"/>
                <a:gd name="connsiteX1" fmla="*/ 7140 w 12417"/>
                <a:gd name="connsiteY1" fmla="*/ 9624 h 9313"/>
                <a:gd name="connsiteX2" fmla="*/ 12418 w 12417"/>
                <a:gd name="connsiteY2" fmla="*/ 9624 h 9313"/>
                <a:gd name="connsiteX3" fmla="*/ 12418 w 12417"/>
                <a:gd name="connsiteY3" fmla="*/ 5278 h 9313"/>
                <a:gd name="connsiteX4" fmla="*/ 0 w 12417"/>
                <a:gd name="connsiteY4" fmla="*/ 0 h 9313"/>
                <a:gd name="connsiteX5" fmla="*/ 0 w 12417"/>
                <a:gd name="connsiteY5" fmla="*/ 5278 h 9313"/>
                <a:gd name="connsiteX6" fmla="*/ 0 w 12417"/>
                <a:gd name="connsiteY6" fmla="*/ 7451 h 9313"/>
                <a:gd name="connsiteX7" fmla="*/ 1863 w 12417"/>
                <a:gd name="connsiteY7" fmla="*/ 9624 h 9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417" h="9313">
                  <a:moveTo>
                    <a:pt x="4036" y="9624"/>
                  </a:moveTo>
                  <a:lnTo>
                    <a:pt x="7140" y="9624"/>
                  </a:lnTo>
                  <a:lnTo>
                    <a:pt x="12418" y="9624"/>
                  </a:lnTo>
                  <a:lnTo>
                    <a:pt x="12418" y="5278"/>
                  </a:lnTo>
                  <a:lnTo>
                    <a:pt x="0" y="0"/>
                  </a:lnTo>
                  <a:lnTo>
                    <a:pt x="0" y="5278"/>
                  </a:lnTo>
                  <a:lnTo>
                    <a:pt x="0" y="7451"/>
                  </a:lnTo>
                  <a:lnTo>
                    <a:pt x="1863" y="9624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2F3CD184-7915-4087-86BF-388C87CAC00E}"/>
                </a:ext>
              </a:extLst>
            </p:cNvPr>
            <p:cNvSpPr/>
            <p:nvPr/>
          </p:nvSpPr>
          <p:spPr>
            <a:xfrm>
              <a:off x="6122554" y="4209183"/>
              <a:ext cx="12418" cy="12418"/>
            </a:xfrm>
            <a:custGeom>
              <a:avLst/>
              <a:gdLst>
                <a:gd name="connsiteX0" fmla="*/ 1242 w 12417"/>
                <a:gd name="connsiteY0" fmla="*/ 4346 h 12417"/>
                <a:gd name="connsiteX1" fmla="*/ 0 w 12417"/>
                <a:gd name="connsiteY1" fmla="*/ 6519 h 12417"/>
                <a:gd name="connsiteX2" fmla="*/ 0 w 12417"/>
                <a:gd name="connsiteY2" fmla="*/ 9624 h 12417"/>
                <a:gd name="connsiteX3" fmla="*/ 0 w 12417"/>
                <a:gd name="connsiteY3" fmla="*/ 14901 h 12417"/>
                <a:gd name="connsiteX4" fmla="*/ 3104 w 12417"/>
                <a:gd name="connsiteY4" fmla="*/ 14901 h 12417"/>
                <a:gd name="connsiteX5" fmla="*/ 5278 w 12417"/>
                <a:gd name="connsiteY5" fmla="*/ 14901 h 12417"/>
                <a:gd name="connsiteX6" fmla="*/ 7451 w 12417"/>
                <a:gd name="connsiteY6" fmla="*/ 14901 h 12417"/>
                <a:gd name="connsiteX7" fmla="*/ 8382 w 12417"/>
                <a:gd name="connsiteY7" fmla="*/ 13970 h 12417"/>
                <a:gd name="connsiteX8" fmla="*/ 10555 w 12417"/>
                <a:gd name="connsiteY8" fmla="*/ 11797 h 12417"/>
                <a:gd name="connsiteX9" fmla="*/ 14591 w 12417"/>
                <a:gd name="connsiteY9" fmla="*/ 11797 h 12417"/>
                <a:gd name="connsiteX10" fmla="*/ 14591 w 12417"/>
                <a:gd name="connsiteY10" fmla="*/ 4346 h 12417"/>
                <a:gd name="connsiteX11" fmla="*/ 3104 w 12417"/>
                <a:gd name="connsiteY11" fmla="*/ 0 h 12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417" h="12417">
                  <a:moveTo>
                    <a:pt x="1242" y="4346"/>
                  </a:moveTo>
                  <a:lnTo>
                    <a:pt x="0" y="6519"/>
                  </a:lnTo>
                  <a:lnTo>
                    <a:pt x="0" y="9624"/>
                  </a:lnTo>
                  <a:lnTo>
                    <a:pt x="0" y="14901"/>
                  </a:lnTo>
                  <a:lnTo>
                    <a:pt x="3104" y="14901"/>
                  </a:lnTo>
                  <a:lnTo>
                    <a:pt x="5278" y="14901"/>
                  </a:lnTo>
                  <a:lnTo>
                    <a:pt x="7451" y="14901"/>
                  </a:lnTo>
                  <a:lnTo>
                    <a:pt x="8382" y="13970"/>
                  </a:lnTo>
                  <a:lnTo>
                    <a:pt x="10555" y="11797"/>
                  </a:lnTo>
                  <a:lnTo>
                    <a:pt x="14591" y="11797"/>
                  </a:lnTo>
                  <a:lnTo>
                    <a:pt x="14591" y="4346"/>
                  </a:lnTo>
                  <a:lnTo>
                    <a:pt x="3104" y="0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BBF24421-AFCF-4C16-9CFF-0649DB8946FB}"/>
                </a:ext>
              </a:extLst>
            </p:cNvPr>
            <p:cNvSpPr/>
            <p:nvPr/>
          </p:nvSpPr>
          <p:spPr>
            <a:xfrm>
              <a:off x="4937582" y="4135296"/>
              <a:ext cx="15522" cy="6209"/>
            </a:xfrm>
            <a:custGeom>
              <a:avLst/>
              <a:gdLst>
                <a:gd name="connsiteX0" fmla="*/ 5277 w 15522"/>
                <a:gd name="connsiteY0" fmla="*/ 6209 h 6208"/>
                <a:gd name="connsiteX1" fmla="*/ 7451 w 15522"/>
                <a:gd name="connsiteY1" fmla="*/ 6209 h 6208"/>
                <a:gd name="connsiteX2" fmla="*/ 8382 w 15522"/>
                <a:gd name="connsiteY2" fmla="*/ 6209 h 6208"/>
                <a:gd name="connsiteX3" fmla="*/ 12418 w 15522"/>
                <a:gd name="connsiteY3" fmla="*/ 4036 h 6208"/>
                <a:gd name="connsiteX4" fmla="*/ 15522 w 15522"/>
                <a:gd name="connsiteY4" fmla="*/ 4036 h 6208"/>
                <a:gd name="connsiteX5" fmla="*/ 15522 w 15522"/>
                <a:gd name="connsiteY5" fmla="*/ 0 h 6208"/>
                <a:gd name="connsiteX6" fmla="*/ 0 w 15522"/>
                <a:gd name="connsiteY6" fmla="*/ 0 h 6208"/>
                <a:gd name="connsiteX7" fmla="*/ 3104 w 15522"/>
                <a:gd name="connsiteY7" fmla="*/ 4036 h 6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522" h="6208">
                  <a:moveTo>
                    <a:pt x="5277" y="6209"/>
                  </a:moveTo>
                  <a:lnTo>
                    <a:pt x="7451" y="6209"/>
                  </a:lnTo>
                  <a:lnTo>
                    <a:pt x="8382" y="6209"/>
                  </a:lnTo>
                  <a:lnTo>
                    <a:pt x="12418" y="4036"/>
                  </a:lnTo>
                  <a:lnTo>
                    <a:pt x="15522" y="4036"/>
                  </a:lnTo>
                  <a:lnTo>
                    <a:pt x="15522" y="0"/>
                  </a:lnTo>
                  <a:lnTo>
                    <a:pt x="0" y="0"/>
                  </a:lnTo>
                  <a:lnTo>
                    <a:pt x="3104" y="4036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9E43A52D-C70F-4C22-B529-239422F9B659}"/>
                </a:ext>
              </a:extLst>
            </p:cNvPr>
            <p:cNvSpPr/>
            <p:nvPr/>
          </p:nvSpPr>
          <p:spPr>
            <a:xfrm>
              <a:off x="5256410" y="5105129"/>
              <a:ext cx="12418" cy="24836"/>
            </a:xfrm>
            <a:custGeom>
              <a:avLst/>
              <a:gdLst>
                <a:gd name="connsiteX0" fmla="*/ 9313 w 12417"/>
                <a:gd name="connsiteY0" fmla="*/ 22352 h 24835"/>
                <a:gd name="connsiteX1" fmla="*/ 10245 w 12417"/>
                <a:gd name="connsiteY1" fmla="*/ 18006 h 24835"/>
                <a:gd name="connsiteX2" fmla="*/ 10245 w 12417"/>
                <a:gd name="connsiteY2" fmla="*/ 12728 h 24835"/>
                <a:gd name="connsiteX3" fmla="*/ 10245 w 12417"/>
                <a:gd name="connsiteY3" fmla="*/ 7451 h 24835"/>
                <a:gd name="connsiteX4" fmla="*/ 12418 w 12417"/>
                <a:gd name="connsiteY4" fmla="*/ 0 h 24835"/>
                <a:gd name="connsiteX5" fmla="*/ 3104 w 12417"/>
                <a:gd name="connsiteY5" fmla="*/ 0 h 24835"/>
                <a:gd name="connsiteX6" fmla="*/ 2173 w 12417"/>
                <a:gd name="connsiteY6" fmla="*/ 5588 h 24835"/>
                <a:gd name="connsiteX7" fmla="*/ 2173 w 12417"/>
                <a:gd name="connsiteY7" fmla="*/ 12728 h 24835"/>
                <a:gd name="connsiteX8" fmla="*/ 0 w 12417"/>
                <a:gd name="connsiteY8" fmla="*/ 20179 h 24835"/>
                <a:gd name="connsiteX9" fmla="*/ 0 w 12417"/>
                <a:gd name="connsiteY9" fmla="*/ 27630 h 24835"/>
                <a:gd name="connsiteX10" fmla="*/ 7140 w 12417"/>
                <a:gd name="connsiteY10" fmla="*/ 27630 h 24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417" h="24835">
                  <a:moveTo>
                    <a:pt x="9313" y="22352"/>
                  </a:moveTo>
                  <a:lnTo>
                    <a:pt x="10245" y="18006"/>
                  </a:lnTo>
                  <a:lnTo>
                    <a:pt x="10245" y="12728"/>
                  </a:lnTo>
                  <a:lnTo>
                    <a:pt x="10245" y="7451"/>
                  </a:lnTo>
                  <a:lnTo>
                    <a:pt x="12418" y="0"/>
                  </a:lnTo>
                  <a:lnTo>
                    <a:pt x="3104" y="0"/>
                  </a:lnTo>
                  <a:lnTo>
                    <a:pt x="2173" y="5588"/>
                  </a:lnTo>
                  <a:lnTo>
                    <a:pt x="2173" y="12728"/>
                  </a:lnTo>
                  <a:lnTo>
                    <a:pt x="0" y="20179"/>
                  </a:lnTo>
                  <a:lnTo>
                    <a:pt x="0" y="27630"/>
                  </a:lnTo>
                  <a:lnTo>
                    <a:pt x="7140" y="27630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E35A9903-45AB-4C05-93FC-228B85BEE3E6}"/>
                </a:ext>
              </a:extLst>
            </p:cNvPr>
            <p:cNvSpPr/>
            <p:nvPr/>
          </p:nvSpPr>
          <p:spPr>
            <a:xfrm>
              <a:off x="3850401" y="4200801"/>
              <a:ext cx="406684" cy="447042"/>
            </a:xfrm>
            <a:custGeom>
              <a:avLst/>
              <a:gdLst>
                <a:gd name="connsiteX0" fmla="*/ 395818 w 406683"/>
                <a:gd name="connsiteY0" fmla="*/ 287783 h 447041"/>
                <a:gd name="connsiteX1" fmla="*/ 392714 w 406683"/>
                <a:gd name="connsiteY1" fmla="*/ 285610 h 447041"/>
                <a:gd name="connsiteX2" fmla="*/ 387436 w 406683"/>
                <a:gd name="connsiteY2" fmla="*/ 283437 h 447041"/>
                <a:gd name="connsiteX3" fmla="*/ 383401 w 406683"/>
                <a:gd name="connsiteY3" fmla="*/ 282506 h 447041"/>
                <a:gd name="connsiteX4" fmla="*/ 381227 w 406683"/>
                <a:gd name="connsiteY4" fmla="*/ 280333 h 447041"/>
                <a:gd name="connsiteX5" fmla="*/ 381227 w 406683"/>
                <a:gd name="connsiteY5" fmla="*/ 278159 h 447041"/>
                <a:gd name="connsiteX6" fmla="*/ 381227 w 406683"/>
                <a:gd name="connsiteY6" fmla="*/ 275986 h 447041"/>
                <a:gd name="connsiteX7" fmla="*/ 383401 w 406683"/>
                <a:gd name="connsiteY7" fmla="*/ 275055 h 447041"/>
                <a:gd name="connsiteX8" fmla="*/ 381227 w 406683"/>
                <a:gd name="connsiteY8" fmla="*/ 270709 h 447041"/>
                <a:gd name="connsiteX9" fmla="*/ 379986 w 406683"/>
                <a:gd name="connsiteY9" fmla="*/ 268846 h 447041"/>
                <a:gd name="connsiteX10" fmla="*/ 375950 w 406683"/>
                <a:gd name="connsiteY10" fmla="*/ 265431 h 447041"/>
                <a:gd name="connsiteX11" fmla="*/ 372845 w 406683"/>
                <a:gd name="connsiteY11" fmla="*/ 263568 h 447041"/>
                <a:gd name="connsiteX12" fmla="*/ 366636 w 406683"/>
                <a:gd name="connsiteY12" fmla="*/ 261395 h 447041"/>
                <a:gd name="connsiteX13" fmla="*/ 363532 w 406683"/>
                <a:gd name="connsiteY13" fmla="*/ 258291 h 447041"/>
                <a:gd name="connsiteX14" fmla="*/ 359186 w 406683"/>
                <a:gd name="connsiteY14" fmla="*/ 256118 h 447041"/>
                <a:gd name="connsiteX15" fmla="*/ 358254 w 406683"/>
                <a:gd name="connsiteY15" fmla="*/ 253945 h 447041"/>
                <a:gd name="connsiteX16" fmla="*/ 358254 w 406683"/>
                <a:gd name="connsiteY16" fmla="*/ 252703 h 447041"/>
                <a:gd name="connsiteX17" fmla="*/ 356081 w 406683"/>
                <a:gd name="connsiteY17" fmla="*/ 250840 h 447041"/>
                <a:gd name="connsiteX18" fmla="*/ 356081 w 406683"/>
                <a:gd name="connsiteY18" fmla="*/ 248667 h 447041"/>
                <a:gd name="connsiteX19" fmla="*/ 356081 w 406683"/>
                <a:gd name="connsiteY19" fmla="*/ 243389 h 447041"/>
                <a:gd name="connsiteX20" fmla="*/ 341490 w 406683"/>
                <a:gd name="connsiteY20" fmla="*/ 238112 h 447041"/>
                <a:gd name="connsiteX21" fmla="*/ 330004 w 406683"/>
                <a:gd name="connsiteY21" fmla="*/ 228488 h 447041"/>
                <a:gd name="connsiteX22" fmla="*/ 322864 w 406683"/>
                <a:gd name="connsiteY22" fmla="*/ 215760 h 447041"/>
                <a:gd name="connsiteX23" fmla="*/ 325037 w 406683"/>
                <a:gd name="connsiteY23" fmla="*/ 211724 h 447041"/>
                <a:gd name="connsiteX24" fmla="*/ 326899 w 406683"/>
                <a:gd name="connsiteY24" fmla="*/ 206446 h 447041"/>
                <a:gd name="connsiteX25" fmla="*/ 330004 w 406683"/>
                <a:gd name="connsiteY25" fmla="*/ 203032 h 447041"/>
                <a:gd name="connsiteX26" fmla="*/ 336523 w 406683"/>
                <a:gd name="connsiteY26" fmla="*/ 195581 h 447041"/>
                <a:gd name="connsiteX27" fmla="*/ 326899 w 406683"/>
                <a:gd name="connsiteY27" fmla="*/ 184094 h 447041"/>
                <a:gd name="connsiteX28" fmla="*/ 319759 w 406683"/>
                <a:gd name="connsiteY28" fmla="*/ 171366 h 447041"/>
                <a:gd name="connsiteX29" fmla="*/ 310446 w 406683"/>
                <a:gd name="connsiteY29" fmla="*/ 158638 h 447041"/>
                <a:gd name="connsiteX30" fmla="*/ 302995 w 406683"/>
                <a:gd name="connsiteY30" fmla="*/ 147151 h 447041"/>
                <a:gd name="connsiteX31" fmla="*/ 290577 w 406683"/>
                <a:gd name="connsiteY31" fmla="*/ 139701 h 447041"/>
                <a:gd name="connsiteX32" fmla="*/ 275986 w 406683"/>
                <a:gd name="connsiteY32" fmla="*/ 134423 h 447041"/>
                <a:gd name="connsiteX33" fmla="*/ 275986 w 406683"/>
                <a:gd name="connsiteY33" fmla="*/ 121695 h 447041"/>
                <a:gd name="connsiteX34" fmla="*/ 259222 w 406683"/>
                <a:gd name="connsiteY34" fmla="*/ 106793 h 447041"/>
                <a:gd name="connsiteX35" fmla="*/ 244631 w 406683"/>
                <a:gd name="connsiteY35" fmla="*/ 90029 h 447041"/>
                <a:gd name="connsiteX36" fmla="*/ 226936 w 406683"/>
                <a:gd name="connsiteY36" fmla="*/ 77301 h 447041"/>
                <a:gd name="connsiteX37" fmla="*/ 222900 w 406683"/>
                <a:gd name="connsiteY37" fmla="*/ 75128 h 447041"/>
                <a:gd name="connsiteX38" fmla="*/ 219796 w 406683"/>
                <a:gd name="connsiteY38" fmla="*/ 75128 h 447041"/>
                <a:gd name="connsiteX39" fmla="*/ 214518 w 406683"/>
                <a:gd name="connsiteY39" fmla="*/ 75128 h 447041"/>
                <a:gd name="connsiteX40" fmla="*/ 209240 w 406683"/>
                <a:gd name="connsiteY40" fmla="*/ 75128 h 447041"/>
                <a:gd name="connsiteX41" fmla="*/ 203032 w 406683"/>
                <a:gd name="connsiteY41" fmla="*/ 75128 h 447041"/>
                <a:gd name="connsiteX42" fmla="*/ 199927 w 406683"/>
                <a:gd name="connsiteY42" fmla="*/ 72955 h 447041"/>
                <a:gd name="connsiteX43" fmla="*/ 192787 w 406683"/>
                <a:gd name="connsiteY43" fmla="*/ 64573 h 447041"/>
                <a:gd name="connsiteX44" fmla="*/ 187509 w 406683"/>
                <a:gd name="connsiteY44" fmla="*/ 50913 h 447041"/>
                <a:gd name="connsiteX45" fmla="*/ 180059 w 406683"/>
                <a:gd name="connsiteY45" fmla="*/ 36012 h 447041"/>
                <a:gd name="connsiteX46" fmla="*/ 172918 w 406683"/>
                <a:gd name="connsiteY46" fmla="*/ 23283 h 447041"/>
                <a:gd name="connsiteX47" fmla="*/ 166709 w 406683"/>
                <a:gd name="connsiteY47" fmla="*/ 22352 h 447041"/>
                <a:gd name="connsiteX48" fmla="*/ 161432 w 406683"/>
                <a:gd name="connsiteY48" fmla="*/ 20179 h 447041"/>
                <a:gd name="connsiteX49" fmla="*/ 156154 w 406683"/>
                <a:gd name="connsiteY49" fmla="*/ 18006 h 447041"/>
                <a:gd name="connsiteX50" fmla="*/ 152118 w 406683"/>
                <a:gd name="connsiteY50" fmla="*/ 15833 h 447041"/>
                <a:gd name="connsiteX51" fmla="*/ 146841 w 406683"/>
                <a:gd name="connsiteY51" fmla="*/ 12728 h 447041"/>
                <a:gd name="connsiteX52" fmla="*/ 141563 w 406683"/>
                <a:gd name="connsiteY52" fmla="*/ 12728 h 447041"/>
                <a:gd name="connsiteX53" fmla="*/ 137527 w 406683"/>
                <a:gd name="connsiteY53" fmla="*/ 14901 h 447041"/>
                <a:gd name="connsiteX54" fmla="*/ 136596 w 406683"/>
                <a:gd name="connsiteY54" fmla="*/ 14901 h 447041"/>
                <a:gd name="connsiteX55" fmla="*/ 132250 w 406683"/>
                <a:gd name="connsiteY55" fmla="*/ 15833 h 447041"/>
                <a:gd name="connsiteX56" fmla="*/ 136596 w 406683"/>
                <a:gd name="connsiteY56" fmla="*/ 28561 h 447041"/>
                <a:gd name="connsiteX57" fmla="*/ 139701 w 406683"/>
                <a:gd name="connsiteY57" fmla="*/ 38185 h 447041"/>
                <a:gd name="connsiteX58" fmla="*/ 141563 w 406683"/>
                <a:gd name="connsiteY58" fmla="*/ 49671 h 447041"/>
                <a:gd name="connsiteX59" fmla="*/ 143736 w 406683"/>
                <a:gd name="connsiteY59" fmla="*/ 65504 h 447041"/>
                <a:gd name="connsiteX60" fmla="*/ 154291 w 406683"/>
                <a:gd name="connsiteY60" fmla="*/ 62400 h 447041"/>
                <a:gd name="connsiteX61" fmla="*/ 161432 w 406683"/>
                <a:gd name="connsiteY61" fmla="*/ 57122 h 447041"/>
                <a:gd name="connsiteX62" fmla="*/ 166709 w 406683"/>
                <a:gd name="connsiteY62" fmla="*/ 52776 h 447041"/>
                <a:gd name="connsiteX63" fmla="*/ 176023 w 406683"/>
                <a:gd name="connsiteY63" fmla="*/ 49671 h 447041"/>
                <a:gd name="connsiteX64" fmla="*/ 176023 w 406683"/>
                <a:gd name="connsiteY64" fmla="*/ 52776 h 447041"/>
                <a:gd name="connsiteX65" fmla="*/ 180059 w 406683"/>
                <a:gd name="connsiteY65" fmla="*/ 52776 h 447041"/>
                <a:gd name="connsiteX66" fmla="*/ 176023 w 406683"/>
                <a:gd name="connsiteY66" fmla="*/ 54949 h 447041"/>
                <a:gd name="connsiteX67" fmla="*/ 172918 w 406683"/>
                <a:gd name="connsiteY67" fmla="*/ 58053 h 447041"/>
                <a:gd name="connsiteX68" fmla="*/ 166709 w 406683"/>
                <a:gd name="connsiteY68" fmla="*/ 60226 h 447041"/>
                <a:gd name="connsiteX69" fmla="*/ 163605 w 406683"/>
                <a:gd name="connsiteY69" fmla="*/ 62400 h 447041"/>
                <a:gd name="connsiteX70" fmla="*/ 159259 w 406683"/>
                <a:gd name="connsiteY70" fmla="*/ 65504 h 447041"/>
                <a:gd name="connsiteX71" fmla="*/ 158327 w 406683"/>
                <a:gd name="connsiteY71" fmla="*/ 69850 h 447041"/>
                <a:gd name="connsiteX72" fmla="*/ 156154 w 406683"/>
                <a:gd name="connsiteY72" fmla="*/ 75128 h 447041"/>
                <a:gd name="connsiteX73" fmla="*/ 154291 w 406683"/>
                <a:gd name="connsiteY73" fmla="*/ 80405 h 447041"/>
                <a:gd name="connsiteX74" fmla="*/ 152118 w 406683"/>
                <a:gd name="connsiteY74" fmla="*/ 84752 h 447041"/>
                <a:gd name="connsiteX75" fmla="*/ 150877 w 406683"/>
                <a:gd name="connsiteY75" fmla="*/ 86614 h 447041"/>
                <a:gd name="connsiteX76" fmla="*/ 149014 w 406683"/>
                <a:gd name="connsiteY76" fmla="*/ 87856 h 447041"/>
                <a:gd name="connsiteX77" fmla="*/ 146841 w 406683"/>
                <a:gd name="connsiteY77" fmla="*/ 87856 h 447041"/>
                <a:gd name="connsiteX78" fmla="*/ 143736 w 406683"/>
                <a:gd name="connsiteY78" fmla="*/ 90029 h 447041"/>
                <a:gd name="connsiteX79" fmla="*/ 143736 w 406683"/>
                <a:gd name="connsiteY79" fmla="*/ 82579 h 447041"/>
                <a:gd name="connsiteX80" fmla="*/ 141563 w 406683"/>
                <a:gd name="connsiteY80" fmla="*/ 69850 h 447041"/>
                <a:gd name="connsiteX81" fmla="*/ 139701 w 406683"/>
                <a:gd name="connsiteY81" fmla="*/ 58053 h 447041"/>
                <a:gd name="connsiteX82" fmla="*/ 139701 w 406683"/>
                <a:gd name="connsiteY82" fmla="*/ 52776 h 447041"/>
                <a:gd name="connsiteX83" fmla="*/ 126972 w 406683"/>
                <a:gd name="connsiteY83" fmla="*/ 49671 h 447041"/>
                <a:gd name="connsiteX84" fmla="*/ 119832 w 406683"/>
                <a:gd name="connsiteY84" fmla="*/ 38185 h 447041"/>
                <a:gd name="connsiteX85" fmla="*/ 112381 w 406683"/>
                <a:gd name="connsiteY85" fmla="*/ 25457 h 447041"/>
                <a:gd name="connsiteX86" fmla="*/ 107414 w 406683"/>
                <a:gd name="connsiteY86" fmla="*/ 12728 h 447041"/>
                <a:gd name="connsiteX87" fmla="*/ 80095 w 406683"/>
                <a:gd name="connsiteY87" fmla="*/ 12728 h 447041"/>
                <a:gd name="connsiteX88" fmla="*/ 80095 w 406683"/>
                <a:gd name="connsiteY88" fmla="*/ 57122 h 447041"/>
                <a:gd name="connsiteX89" fmla="*/ 73886 w 406683"/>
                <a:gd name="connsiteY89" fmla="*/ 57122 h 447041"/>
                <a:gd name="connsiteX90" fmla="*/ 70782 w 406683"/>
                <a:gd name="connsiteY90" fmla="*/ 54949 h 447041"/>
                <a:gd name="connsiteX91" fmla="*/ 66746 w 406683"/>
                <a:gd name="connsiteY91" fmla="*/ 54949 h 447041"/>
                <a:gd name="connsiteX92" fmla="*/ 63641 w 406683"/>
                <a:gd name="connsiteY92" fmla="*/ 52776 h 447041"/>
                <a:gd name="connsiteX93" fmla="*/ 56191 w 406683"/>
                <a:gd name="connsiteY93" fmla="*/ 38185 h 447041"/>
                <a:gd name="connsiteX94" fmla="*/ 54328 w 406683"/>
                <a:gd name="connsiteY94" fmla="*/ 22352 h 447041"/>
                <a:gd name="connsiteX95" fmla="*/ 56191 w 406683"/>
                <a:gd name="connsiteY95" fmla="*/ 3104 h 447041"/>
                <a:gd name="connsiteX96" fmla="*/ 52155 w 406683"/>
                <a:gd name="connsiteY96" fmla="*/ 3104 h 447041"/>
                <a:gd name="connsiteX97" fmla="*/ 52155 w 406683"/>
                <a:gd name="connsiteY97" fmla="*/ 0 h 447041"/>
                <a:gd name="connsiteX98" fmla="*/ 22973 w 406683"/>
                <a:gd name="connsiteY98" fmla="*/ 3104 h 447041"/>
                <a:gd name="connsiteX99" fmla="*/ 19869 w 406683"/>
                <a:gd name="connsiteY99" fmla="*/ 28561 h 447041"/>
                <a:gd name="connsiteX100" fmla="*/ 16764 w 406683"/>
                <a:gd name="connsiteY100" fmla="*/ 54949 h 447041"/>
                <a:gd name="connsiteX101" fmla="*/ 9313 w 406683"/>
                <a:gd name="connsiteY101" fmla="*/ 79474 h 447041"/>
                <a:gd name="connsiteX102" fmla="*/ 0 w 406683"/>
                <a:gd name="connsiteY102" fmla="*/ 97480 h 447041"/>
                <a:gd name="connsiteX103" fmla="*/ 3104 w 406683"/>
                <a:gd name="connsiteY103" fmla="*/ 104620 h 447041"/>
                <a:gd name="connsiteX104" fmla="*/ 7451 w 406683"/>
                <a:gd name="connsiteY104" fmla="*/ 109898 h 447041"/>
                <a:gd name="connsiteX105" fmla="*/ 12418 w 406683"/>
                <a:gd name="connsiteY105" fmla="*/ 114244 h 447041"/>
                <a:gd name="connsiteX106" fmla="*/ 19869 w 406683"/>
                <a:gd name="connsiteY106" fmla="*/ 116417 h 447041"/>
                <a:gd name="connsiteX107" fmla="*/ 27009 w 406683"/>
                <a:gd name="connsiteY107" fmla="*/ 117349 h 447041"/>
                <a:gd name="connsiteX108" fmla="*/ 27009 w 406683"/>
                <a:gd name="connsiteY108" fmla="*/ 121695 h 447041"/>
                <a:gd name="connsiteX109" fmla="*/ 27009 w 406683"/>
                <a:gd name="connsiteY109" fmla="*/ 123868 h 447041"/>
                <a:gd name="connsiteX110" fmla="*/ 25146 w 406683"/>
                <a:gd name="connsiteY110" fmla="*/ 123868 h 447041"/>
                <a:gd name="connsiteX111" fmla="*/ 25146 w 406683"/>
                <a:gd name="connsiteY111" fmla="*/ 124799 h 447041"/>
                <a:gd name="connsiteX112" fmla="*/ 22973 w 406683"/>
                <a:gd name="connsiteY112" fmla="*/ 126972 h 447041"/>
                <a:gd name="connsiteX113" fmla="*/ 30113 w 406683"/>
                <a:gd name="connsiteY113" fmla="*/ 141874 h 447041"/>
                <a:gd name="connsiteX114" fmla="*/ 41600 w 406683"/>
                <a:gd name="connsiteY114" fmla="*/ 151187 h 447041"/>
                <a:gd name="connsiteX115" fmla="*/ 56191 w 406683"/>
                <a:gd name="connsiteY115" fmla="*/ 156465 h 447041"/>
                <a:gd name="connsiteX116" fmla="*/ 72955 w 406683"/>
                <a:gd name="connsiteY116" fmla="*/ 161742 h 447041"/>
                <a:gd name="connsiteX117" fmla="*/ 90650 w 406683"/>
                <a:gd name="connsiteY117" fmla="*/ 166089 h 447041"/>
                <a:gd name="connsiteX118" fmla="*/ 107414 w 406683"/>
                <a:gd name="connsiteY118" fmla="*/ 171366 h 447041"/>
                <a:gd name="connsiteX119" fmla="*/ 119832 w 406683"/>
                <a:gd name="connsiteY119" fmla="*/ 178817 h 447041"/>
                <a:gd name="connsiteX120" fmla="*/ 132250 w 406683"/>
                <a:gd name="connsiteY120" fmla="*/ 174471 h 447041"/>
                <a:gd name="connsiteX121" fmla="*/ 139701 w 406683"/>
                <a:gd name="connsiteY121" fmla="*/ 169193 h 447041"/>
                <a:gd name="connsiteX122" fmla="*/ 144668 w 406683"/>
                <a:gd name="connsiteY122" fmla="*/ 163915 h 447041"/>
                <a:gd name="connsiteX123" fmla="*/ 150877 w 406683"/>
                <a:gd name="connsiteY123" fmla="*/ 158638 h 447041"/>
                <a:gd name="connsiteX124" fmla="*/ 159259 w 406683"/>
                <a:gd name="connsiteY124" fmla="*/ 154602 h 447041"/>
                <a:gd name="connsiteX125" fmla="*/ 168882 w 406683"/>
                <a:gd name="connsiteY125" fmla="*/ 156465 h 447041"/>
                <a:gd name="connsiteX126" fmla="*/ 178196 w 406683"/>
                <a:gd name="connsiteY126" fmla="*/ 163915 h 447041"/>
                <a:gd name="connsiteX127" fmla="*/ 188441 w 406683"/>
                <a:gd name="connsiteY127" fmla="*/ 171366 h 447041"/>
                <a:gd name="connsiteX128" fmla="*/ 203032 w 406683"/>
                <a:gd name="connsiteY128" fmla="*/ 174471 h 447041"/>
                <a:gd name="connsiteX129" fmla="*/ 212345 w 406683"/>
                <a:gd name="connsiteY129" fmla="*/ 218864 h 447041"/>
                <a:gd name="connsiteX130" fmla="*/ 219796 w 406683"/>
                <a:gd name="connsiteY130" fmla="*/ 228488 h 447041"/>
                <a:gd name="connsiteX131" fmla="*/ 230040 w 406683"/>
                <a:gd name="connsiteY131" fmla="*/ 235939 h 447041"/>
                <a:gd name="connsiteX132" fmla="*/ 239664 w 406683"/>
                <a:gd name="connsiteY132" fmla="*/ 243389 h 447041"/>
                <a:gd name="connsiteX133" fmla="*/ 246804 w 406683"/>
                <a:gd name="connsiteY133" fmla="*/ 256118 h 447041"/>
                <a:gd name="connsiteX134" fmla="*/ 248977 w 406683"/>
                <a:gd name="connsiteY134" fmla="*/ 265431 h 447041"/>
                <a:gd name="connsiteX135" fmla="*/ 246804 w 406683"/>
                <a:gd name="connsiteY135" fmla="*/ 278159 h 447041"/>
                <a:gd name="connsiteX136" fmla="*/ 243700 w 406683"/>
                <a:gd name="connsiteY136" fmla="*/ 295234 h 447041"/>
                <a:gd name="connsiteX137" fmla="*/ 237491 w 406683"/>
                <a:gd name="connsiteY137" fmla="*/ 311998 h 447041"/>
                <a:gd name="connsiteX138" fmla="*/ 232213 w 406683"/>
                <a:gd name="connsiteY138" fmla="*/ 326899 h 447041"/>
                <a:gd name="connsiteX139" fmla="*/ 226936 w 406683"/>
                <a:gd name="connsiteY139" fmla="*/ 337455 h 447041"/>
                <a:gd name="connsiteX140" fmla="*/ 209240 w 406683"/>
                <a:gd name="connsiteY140" fmla="*/ 342732 h 447041"/>
                <a:gd name="connsiteX141" fmla="*/ 188441 w 406683"/>
                <a:gd name="connsiteY141" fmla="*/ 348010 h 447041"/>
                <a:gd name="connsiteX142" fmla="*/ 172918 w 406683"/>
                <a:gd name="connsiteY142" fmla="*/ 354529 h 447041"/>
                <a:gd name="connsiteX143" fmla="*/ 172918 w 406683"/>
                <a:gd name="connsiteY143" fmla="*/ 361669 h 447041"/>
                <a:gd name="connsiteX144" fmla="*/ 172918 w 406683"/>
                <a:gd name="connsiteY144" fmla="*/ 367257 h 447041"/>
                <a:gd name="connsiteX145" fmla="*/ 173850 w 406683"/>
                <a:gd name="connsiteY145" fmla="*/ 372535 h 447041"/>
                <a:gd name="connsiteX146" fmla="*/ 176023 w 406683"/>
                <a:gd name="connsiteY146" fmla="*/ 377813 h 447041"/>
                <a:gd name="connsiteX147" fmla="*/ 197754 w 406683"/>
                <a:gd name="connsiteY147" fmla="*/ 376571 h 447041"/>
                <a:gd name="connsiteX148" fmla="*/ 216691 w 406683"/>
                <a:gd name="connsiteY148" fmla="*/ 370362 h 447041"/>
                <a:gd name="connsiteX149" fmla="*/ 232213 w 406683"/>
                <a:gd name="connsiteY149" fmla="*/ 361669 h 447041"/>
                <a:gd name="connsiteX150" fmla="*/ 243700 w 406683"/>
                <a:gd name="connsiteY150" fmla="*/ 372535 h 447041"/>
                <a:gd name="connsiteX151" fmla="*/ 254255 w 406683"/>
                <a:gd name="connsiteY151" fmla="*/ 387126 h 447041"/>
                <a:gd name="connsiteX152" fmla="*/ 261395 w 406683"/>
                <a:gd name="connsiteY152" fmla="*/ 402027 h 447041"/>
                <a:gd name="connsiteX153" fmla="*/ 268846 w 406683"/>
                <a:gd name="connsiteY153" fmla="*/ 418791 h 447041"/>
                <a:gd name="connsiteX154" fmla="*/ 280022 w 406683"/>
                <a:gd name="connsiteY154" fmla="*/ 429657 h 447041"/>
                <a:gd name="connsiteX155" fmla="*/ 292750 w 406683"/>
                <a:gd name="connsiteY155" fmla="*/ 436797 h 447041"/>
                <a:gd name="connsiteX156" fmla="*/ 310446 w 406683"/>
                <a:gd name="connsiteY156" fmla="*/ 441143 h 447041"/>
                <a:gd name="connsiteX157" fmla="*/ 326899 w 406683"/>
                <a:gd name="connsiteY157" fmla="*/ 444248 h 447041"/>
                <a:gd name="connsiteX158" fmla="*/ 339628 w 406683"/>
                <a:gd name="connsiteY158" fmla="*/ 449526 h 447041"/>
                <a:gd name="connsiteX159" fmla="*/ 343663 w 406683"/>
                <a:gd name="connsiteY159" fmla="*/ 449526 h 447041"/>
                <a:gd name="connsiteX160" fmla="*/ 336523 w 406683"/>
                <a:gd name="connsiteY160" fmla="*/ 433693 h 447041"/>
                <a:gd name="connsiteX161" fmla="*/ 326899 w 406683"/>
                <a:gd name="connsiteY161" fmla="*/ 420964 h 447041"/>
                <a:gd name="connsiteX162" fmla="*/ 316655 w 406683"/>
                <a:gd name="connsiteY162" fmla="*/ 406374 h 447041"/>
                <a:gd name="connsiteX163" fmla="*/ 319759 w 406683"/>
                <a:gd name="connsiteY163" fmla="*/ 406374 h 447041"/>
                <a:gd name="connsiteX164" fmla="*/ 322864 w 406683"/>
                <a:gd name="connsiteY164" fmla="*/ 407305 h 447041"/>
                <a:gd name="connsiteX165" fmla="*/ 330004 w 406683"/>
                <a:gd name="connsiteY165" fmla="*/ 411651 h 447041"/>
                <a:gd name="connsiteX166" fmla="*/ 339628 w 406683"/>
                <a:gd name="connsiteY166" fmla="*/ 416929 h 447041"/>
                <a:gd name="connsiteX167" fmla="*/ 348941 w 406683"/>
                <a:gd name="connsiteY167" fmla="*/ 422206 h 447041"/>
                <a:gd name="connsiteX168" fmla="*/ 356081 w 406683"/>
                <a:gd name="connsiteY168" fmla="*/ 426242 h 447041"/>
                <a:gd name="connsiteX169" fmla="*/ 359186 w 406683"/>
                <a:gd name="connsiteY169" fmla="*/ 424379 h 447041"/>
                <a:gd name="connsiteX170" fmla="*/ 361359 w 406683"/>
                <a:gd name="connsiteY170" fmla="*/ 422206 h 447041"/>
                <a:gd name="connsiteX171" fmla="*/ 363532 w 406683"/>
                <a:gd name="connsiteY171" fmla="*/ 420964 h 447041"/>
                <a:gd name="connsiteX172" fmla="*/ 363532 w 406683"/>
                <a:gd name="connsiteY172" fmla="*/ 418791 h 447041"/>
                <a:gd name="connsiteX173" fmla="*/ 365395 w 406683"/>
                <a:gd name="connsiteY173" fmla="*/ 416929 h 447041"/>
                <a:gd name="connsiteX174" fmla="*/ 366636 w 406683"/>
                <a:gd name="connsiteY174" fmla="*/ 414756 h 447041"/>
                <a:gd name="connsiteX175" fmla="*/ 365395 w 406683"/>
                <a:gd name="connsiteY175" fmla="*/ 394577 h 447041"/>
                <a:gd name="connsiteX176" fmla="*/ 359186 w 406683"/>
                <a:gd name="connsiteY176" fmla="*/ 379675 h 447041"/>
                <a:gd name="connsiteX177" fmla="*/ 352045 w 406683"/>
                <a:gd name="connsiteY177" fmla="*/ 365084 h 447041"/>
                <a:gd name="connsiteX178" fmla="*/ 339628 w 406683"/>
                <a:gd name="connsiteY178" fmla="*/ 365084 h 447041"/>
                <a:gd name="connsiteX179" fmla="*/ 332177 w 406683"/>
                <a:gd name="connsiteY179" fmla="*/ 333108 h 447041"/>
                <a:gd name="connsiteX180" fmla="*/ 322864 w 406683"/>
                <a:gd name="connsiteY180" fmla="*/ 304547 h 447041"/>
                <a:gd name="connsiteX181" fmla="*/ 329073 w 406683"/>
                <a:gd name="connsiteY181" fmla="*/ 302685 h 447041"/>
                <a:gd name="connsiteX182" fmla="*/ 334350 w 406683"/>
                <a:gd name="connsiteY182" fmla="*/ 302685 h 447041"/>
                <a:gd name="connsiteX183" fmla="*/ 339628 w 406683"/>
                <a:gd name="connsiteY183" fmla="*/ 300512 h 447041"/>
                <a:gd name="connsiteX184" fmla="*/ 346768 w 406683"/>
                <a:gd name="connsiteY184" fmla="*/ 300512 h 447041"/>
                <a:gd name="connsiteX185" fmla="*/ 352045 w 406683"/>
                <a:gd name="connsiteY185" fmla="*/ 313240 h 447041"/>
                <a:gd name="connsiteX186" fmla="*/ 359186 w 406683"/>
                <a:gd name="connsiteY186" fmla="*/ 322553 h 447041"/>
                <a:gd name="connsiteX187" fmla="*/ 368810 w 406683"/>
                <a:gd name="connsiteY187" fmla="*/ 332177 h 447041"/>
                <a:gd name="connsiteX188" fmla="*/ 375950 w 406683"/>
                <a:gd name="connsiteY188" fmla="*/ 340559 h 447041"/>
                <a:gd name="connsiteX189" fmla="*/ 383401 w 406683"/>
                <a:gd name="connsiteY189" fmla="*/ 340559 h 447041"/>
                <a:gd name="connsiteX190" fmla="*/ 388368 w 406683"/>
                <a:gd name="connsiteY190" fmla="*/ 339628 h 447041"/>
                <a:gd name="connsiteX191" fmla="*/ 394577 w 406683"/>
                <a:gd name="connsiteY191" fmla="*/ 339628 h 447041"/>
                <a:gd name="connsiteX192" fmla="*/ 399854 w 406683"/>
                <a:gd name="connsiteY192" fmla="*/ 337455 h 447041"/>
                <a:gd name="connsiteX193" fmla="*/ 407305 w 406683"/>
                <a:gd name="connsiteY193" fmla="*/ 287783 h 447041"/>
                <a:gd name="connsiteX194" fmla="*/ 402027 w 406683"/>
                <a:gd name="connsiteY194" fmla="*/ 287783 h 447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</a:cxnLst>
              <a:rect l="l" t="t" r="r" b="b"/>
              <a:pathLst>
                <a:path w="406683" h="447041">
                  <a:moveTo>
                    <a:pt x="395818" y="287783"/>
                  </a:moveTo>
                  <a:lnTo>
                    <a:pt x="392714" y="285610"/>
                  </a:lnTo>
                  <a:lnTo>
                    <a:pt x="387436" y="283437"/>
                  </a:lnTo>
                  <a:lnTo>
                    <a:pt x="383401" y="282506"/>
                  </a:lnTo>
                  <a:lnTo>
                    <a:pt x="381227" y="280333"/>
                  </a:lnTo>
                  <a:lnTo>
                    <a:pt x="381227" y="278159"/>
                  </a:lnTo>
                  <a:lnTo>
                    <a:pt x="381227" y="275986"/>
                  </a:lnTo>
                  <a:lnTo>
                    <a:pt x="383401" y="275055"/>
                  </a:lnTo>
                  <a:lnTo>
                    <a:pt x="381227" y="270709"/>
                  </a:lnTo>
                  <a:lnTo>
                    <a:pt x="379986" y="268846"/>
                  </a:lnTo>
                  <a:lnTo>
                    <a:pt x="375950" y="265431"/>
                  </a:lnTo>
                  <a:lnTo>
                    <a:pt x="372845" y="263568"/>
                  </a:lnTo>
                  <a:lnTo>
                    <a:pt x="366636" y="261395"/>
                  </a:lnTo>
                  <a:lnTo>
                    <a:pt x="363532" y="258291"/>
                  </a:lnTo>
                  <a:lnTo>
                    <a:pt x="359186" y="256118"/>
                  </a:lnTo>
                  <a:lnTo>
                    <a:pt x="358254" y="253945"/>
                  </a:lnTo>
                  <a:lnTo>
                    <a:pt x="358254" y="252703"/>
                  </a:lnTo>
                  <a:lnTo>
                    <a:pt x="356081" y="250840"/>
                  </a:lnTo>
                  <a:lnTo>
                    <a:pt x="356081" y="248667"/>
                  </a:lnTo>
                  <a:lnTo>
                    <a:pt x="356081" y="243389"/>
                  </a:lnTo>
                  <a:lnTo>
                    <a:pt x="341490" y="238112"/>
                  </a:lnTo>
                  <a:lnTo>
                    <a:pt x="330004" y="228488"/>
                  </a:lnTo>
                  <a:lnTo>
                    <a:pt x="322864" y="215760"/>
                  </a:lnTo>
                  <a:lnTo>
                    <a:pt x="325037" y="211724"/>
                  </a:lnTo>
                  <a:lnTo>
                    <a:pt x="326899" y="206446"/>
                  </a:lnTo>
                  <a:lnTo>
                    <a:pt x="330004" y="203032"/>
                  </a:lnTo>
                  <a:lnTo>
                    <a:pt x="336523" y="195581"/>
                  </a:lnTo>
                  <a:lnTo>
                    <a:pt x="326899" y="184094"/>
                  </a:lnTo>
                  <a:lnTo>
                    <a:pt x="319759" y="171366"/>
                  </a:lnTo>
                  <a:lnTo>
                    <a:pt x="310446" y="158638"/>
                  </a:lnTo>
                  <a:lnTo>
                    <a:pt x="302995" y="147151"/>
                  </a:lnTo>
                  <a:lnTo>
                    <a:pt x="290577" y="139701"/>
                  </a:lnTo>
                  <a:lnTo>
                    <a:pt x="275986" y="134423"/>
                  </a:lnTo>
                  <a:lnTo>
                    <a:pt x="275986" y="121695"/>
                  </a:lnTo>
                  <a:lnTo>
                    <a:pt x="259222" y="106793"/>
                  </a:lnTo>
                  <a:lnTo>
                    <a:pt x="244631" y="90029"/>
                  </a:lnTo>
                  <a:lnTo>
                    <a:pt x="226936" y="77301"/>
                  </a:lnTo>
                  <a:lnTo>
                    <a:pt x="222900" y="75128"/>
                  </a:lnTo>
                  <a:lnTo>
                    <a:pt x="219796" y="75128"/>
                  </a:lnTo>
                  <a:lnTo>
                    <a:pt x="214518" y="75128"/>
                  </a:lnTo>
                  <a:lnTo>
                    <a:pt x="209240" y="75128"/>
                  </a:lnTo>
                  <a:lnTo>
                    <a:pt x="203032" y="75128"/>
                  </a:lnTo>
                  <a:lnTo>
                    <a:pt x="199927" y="72955"/>
                  </a:lnTo>
                  <a:lnTo>
                    <a:pt x="192787" y="64573"/>
                  </a:lnTo>
                  <a:lnTo>
                    <a:pt x="187509" y="50913"/>
                  </a:lnTo>
                  <a:lnTo>
                    <a:pt x="180059" y="36012"/>
                  </a:lnTo>
                  <a:lnTo>
                    <a:pt x="172918" y="23283"/>
                  </a:lnTo>
                  <a:lnTo>
                    <a:pt x="166709" y="22352"/>
                  </a:lnTo>
                  <a:lnTo>
                    <a:pt x="161432" y="20179"/>
                  </a:lnTo>
                  <a:lnTo>
                    <a:pt x="156154" y="18006"/>
                  </a:lnTo>
                  <a:lnTo>
                    <a:pt x="152118" y="15833"/>
                  </a:lnTo>
                  <a:lnTo>
                    <a:pt x="146841" y="12728"/>
                  </a:lnTo>
                  <a:lnTo>
                    <a:pt x="141563" y="12728"/>
                  </a:lnTo>
                  <a:lnTo>
                    <a:pt x="137527" y="14901"/>
                  </a:lnTo>
                  <a:lnTo>
                    <a:pt x="136596" y="14901"/>
                  </a:lnTo>
                  <a:lnTo>
                    <a:pt x="132250" y="15833"/>
                  </a:lnTo>
                  <a:lnTo>
                    <a:pt x="136596" y="28561"/>
                  </a:lnTo>
                  <a:lnTo>
                    <a:pt x="139701" y="38185"/>
                  </a:lnTo>
                  <a:lnTo>
                    <a:pt x="141563" y="49671"/>
                  </a:lnTo>
                  <a:lnTo>
                    <a:pt x="143736" y="65504"/>
                  </a:lnTo>
                  <a:lnTo>
                    <a:pt x="154291" y="62400"/>
                  </a:lnTo>
                  <a:lnTo>
                    <a:pt x="161432" y="57122"/>
                  </a:lnTo>
                  <a:lnTo>
                    <a:pt x="166709" y="52776"/>
                  </a:lnTo>
                  <a:lnTo>
                    <a:pt x="176023" y="49671"/>
                  </a:lnTo>
                  <a:lnTo>
                    <a:pt x="176023" y="52776"/>
                  </a:lnTo>
                  <a:lnTo>
                    <a:pt x="180059" y="52776"/>
                  </a:lnTo>
                  <a:lnTo>
                    <a:pt x="176023" y="54949"/>
                  </a:lnTo>
                  <a:lnTo>
                    <a:pt x="172918" y="58053"/>
                  </a:lnTo>
                  <a:lnTo>
                    <a:pt x="166709" y="60226"/>
                  </a:lnTo>
                  <a:lnTo>
                    <a:pt x="163605" y="62400"/>
                  </a:lnTo>
                  <a:lnTo>
                    <a:pt x="159259" y="65504"/>
                  </a:lnTo>
                  <a:lnTo>
                    <a:pt x="158327" y="69850"/>
                  </a:lnTo>
                  <a:lnTo>
                    <a:pt x="156154" y="75128"/>
                  </a:lnTo>
                  <a:lnTo>
                    <a:pt x="154291" y="80405"/>
                  </a:lnTo>
                  <a:lnTo>
                    <a:pt x="152118" y="84752"/>
                  </a:lnTo>
                  <a:lnTo>
                    <a:pt x="150877" y="86614"/>
                  </a:lnTo>
                  <a:lnTo>
                    <a:pt x="149014" y="87856"/>
                  </a:lnTo>
                  <a:lnTo>
                    <a:pt x="146841" y="87856"/>
                  </a:lnTo>
                  <a:lnTo>
                    <a:pt x="143736" y="90029"/>
                  </a:lnTo>
                  <a:lnTo>
                    <a:pt x="143736" y="82579"/>
                  </a:lnTo>
                  <a:lnTo>
                    <a:pt x="141563" y="69850"/>
                  </a:lnTo>
                  <a:lnTo>
                    <a:pt x="139701" y="58053"/>
                  </a:lnTo>
                  <a:lnTo>
                    <a:pt x="139701" y="52776"/>
                  </a:lnTo>
                  <a:lnTo>
                    <a:pt x="126972" y="49671"/>
                  </a:lnTo>
                  <a:lnTo>
                    <a:pt x="119832" y="38185"/>
                  </a:lnTo>
                  <a:lnTo>
                    <a:pt x="112381" y="25457"/>
                  </a:lnTo>
                  <a:lnTo>
                    <a:pt x="107414" y="12728"/>
                  </a:lnTo>
                  <a:lnTo>
                    <a:pt x="80095" y="12728"/>
                  </a:lnTo>
                  <a:lnTo>
                    <a:pt x="80095" y="57122"/>
                  </a:lnTo>
                  <a:lnTo>
                    <a:pt x="73886" y="57122"/>
                  </a:lnTo>
                  <a:lnTo>
                    <a:pt x="70782" y="54949"/>
                  </a:lnTo>
                  <a:lnTo>
                    <a:pt x="66746" y="54949"/>
                  </a:lnTo>
                  <a:lnTo>
                    <a:pt x="63641" y="52776"/>
                  </a:lnTo>
                  <a:lnTo>
                    <a:pt x="56191" y="38185"/>
                  </a:lnTo>
                  <a:lnTo>
                    <a:pt x="54328" y="22352"/>
                  </a:lnTo>
                  <a:lnTo>
                    <a:pt x="56191" y="3104"/>
                  </a:lnTo>
                  <a:lnTo>
                    <a:pt x="52155" y="3104"/>
                  </a:lnTo>
                  <a:lnTo>
                    <a:pt x="52155" y="0"/>
                  </a:lnTo>
                  <a:lnTo>
                    <a:pt x="22973" y="3104"/>
                  </a:lnTo>
                  <a:lnTo>
                    <a:pt x="19869" y="28561"/>
                  </a:lnTo>
                  <a:lnTo>
                    <a:pt x="16764" y="54949"/>
                  </a:lnTo>
                  <a:lnTo>
                    <a:pt x="9313" y="79474"/>
                  </a:lnTo>
                  <a:lnTo>
                    <a:pt x="0" y="97480"/>
                  </a:lnTo>
                  <a:lnTo>
                    <a:pt x="3104" y="104620"/>
                  </a:lnTo>
                  <a:lnTo>
                    <a:pt x="7451" y="109898"/>
                  </a:lnTo>
                  <a:lnTo>
                    <a:pt x="12418" y="114244"/>
                  </a:lnTo>
                  <a:lnTo>
                    <a:pt x="19869" y="116417"/>
                  </a:lnTo>
                  <a:lnTo>
                    <a:pt x="27009" y="117349"/>
                  </a:lnTo>
                  <a:lnTo>
                    <a:pt x="27009" y="121695"/>
                  </a:lnTo>
                  <a:lnTo>
                    <a:pt x="27009" y="123868"/>
                  </a:lnTo>
                  <a:lnTo>
                    <a:pt x="25146" y="123868"/>
                  </a:lnTo>
                  <a:lnTo>
                    <a:pt x="25146" y="124799"/>
                  </a:lnTo>
                  <a:lnTo>
                    <a:pt x="22973" y="126972"/>
                  </a:lnTo>
                  <a:lnTo>
                    <a:pt x="30113" y="141874"/>
                  </a:lnTo>
                  <a:lnTo>
                    <a:pt x="41600" y="151187"/>
                  </a:lnTo>
                  <a:lnTo>
                    <a:pt x="56191" y="156465"/>
                  </a:lnTo>
                  <a:lnTo>
                    <a:pt x="72955" y="161742"/>
                  </a:lnTo>
                  <a:lnTo>
                    <a:pt x="90650" y="166089"/>
                  </a:lnTo>
                  <a:lnTo>
                    <a:pt x="107414" y="171366"/>
                  </a:lnTo>
                  <a:lnTo>
                    <a:pt x="119832" y="178817"/>
                  </a:lnTo>
                  <a:lnTo>
                    <a:pt x="132250" y="174471"/>
                  </a:lnTo>
                  <a:lnTo>
                    <a:pt x="139701" y="169193"/>
                  </a:lnTo>
                  <a:lnTo>
                    <a:pt x="144668" y="163915"/>
                  </a:lnTo>
                  <a:lnTo>
                    <a:pt x="150877" y="158638"/>
                  </a:lnTo>
                  <a:lnTo>
                    <a:pt x="159259" y="154602"/>
                  </a:lnTo>
                  <a:lnTo>
                    <a:pt x="168882" y="156465"/>
                  </a:lnTo>
                  <a:lnTo>
                    <a:pt x="178196" y="163915"/>
                  </a:lnTo>
                  <a:lnTo>
                    <a:pt x="188441" y="171366"/>
                  </a:lnTo>
                  <a:lnTo>
                    <a:pt x="203032" y="174471"/>
                  </a:lnTo>
                  <a:lnTo>
                    <a:pt x="212345" y="218864"/>
                  </a:lnTo>
                  <a:lnTo>
                    <a:pt x="219796" y="228488"/>
                  </a:lnTo>
                  <a:lnTo>
                    <a:pt x="230040" y="235939"/>
                  </a:lnTo>
                  <a:lnTo>
                    <a:pt x="239664" y="243389"/>
                  </a:lnTo>
                  <a:lnTo>
                    <a:pt x="246804" y="256118"/>
                  </a:lnTo>
                  <a:lnTo>
                    <a:pt x="248977" y="265431"/>
                  </a:lnTo>
                  <a:lnTo>
                    <a:pt x="246804" y="278159"/>
                  </a:lnTo>
                  <a:lnTo>
                    <a:pt x="243700" y="295234"/>
                  </a:lnTo>
                  <a:lnTo>
                    <a:pt x="237491" y="311998"/>
                  </a:lnTo>
                  <a:lnTo>
                    <a:pt x="232213" y="326899"/>
                  </a:lnTo>
                  <a:lnTo>
                    <a:pt x="226936" y="337455"/>
                  </a:lnTo>
                  <a:lnTo>
                    <a:pt x="209240" y="342732"/>
                  </a:lnTo>
                  <a:lnTo>
                    <a:pt x="188441" y="348010"/>
                  </a:lnTo>
                  <a:lnTo>
                    <a:pt x="172918" y="354529"/>
                  </a:lnTo>
                  <a:lnTo>
                    <a:pt x="172918" y="361669"/>
                  </a:lnTo>
                  <a:lnTo>
                    <a:pt x="172918" y="367257"/>
                  </a:lnTo>
                  <a:lnTo>
                    <a:pt x="173850" y="372535"/>
                  </a:lnTo>
                  <a:lnTo>
                    <a:pt x="176023" y="377813"/>
                  </a:lnTo>
                  <a:lnTo>
                    <a:pt x="197754" y="376571"/>
                  </a:lnTo>
                  <a:lnTo>
                    <a:pt x="216691" y="370362"/>
                  </a:lnTo>
                  <a:lnTo>
                    <a:pt x="232213" y="361669"/>
                  </a:lnTo>
                  <a:lnTo>
                    <a:pt x="243700" y="372535"/>
                  </a:lnTo>
                  <a:lnTo>
                    <a:pt x="254255" y="387126"/>
                  </a:lnTo>
                  <a:lnTo>
                    <a:pt x="261395" y="402027"/>
                  </a:lnTo>
                  <a:lnTo>
                    <a:pt x="268846" y="418791"/>
                  </a:lnTo>
                  <a:lnTo>
                    <a:pt x="280022" y="429657"/>
                  </a:lnTo>
                  <a:lnTo>
                    <a:pt x="292750" y="436797"/>
                  </a:lnTo>
                  <a:lnTo>
                    <a:pt x="310446" y="441143"/>
                  </a:lnTo>
                  <a:lnTo>
                    <a:pt x="326899" y="444248"/>
                  </a:lnTo>
                  <a:lnTo>
                    <a:pt x="339628" y="449526"/>
                  </a:lnTo>
                  <a:lnTo>
                    <a:pt x="343663" y="449526"/>
                  </a:lnTo>
                  <a:lnTo>
                    <a:pt x="336523" y="433693"/>
                  </a:lnTo>
                  <a:lnTo>
                    <a:pt x="326899" y="420964"/>
                  </a:lnTo>
                  <a:lnTo>
                    <a:pt x="316655" y="406374"/>
                  </a:lnTo>
                  <a:lnTo>
                    <a:pt x="319759" y="406374"/>
                  </a:lnTo>
                  <a:lnTo>
                    <a:pt x="322864" y="407305"/>
                  </a:lnTo>
                  <a:lnTo>
                    <a:pt x="330004" y="411651"/>
                  </a:lnTo>
                  <a:lnTo>
                    <a:pt x="339628" y="416929"/>
                  </a:lnTo>
                  <a:lnTo>
                    <a:pt x="348941" y="422206"/>
                  </a:lnTo>
                  <a:lnTo>
                    <a:pt x="356081" y="426242"/>
                  </a:lnTo>
                  <a:lnTo>
                    <a:pt x="359186" y="424379"/>
                  </a:lnTo>
                  <a:lnTo>
                    <a:pt x="361359" y="422206"/>
                  </a:lnTo>
                  <a:lnTo>
                    <a:pt x="363532" y="420964"/>
                  </a:lnTo>
                  <a:lnTo>
                    <a:pt x="363532" y="418791"/>
                  </a:lnTo>
                  <a:lnTo>
                    <a:pt x="365395" y="416929"/>
                  </a:lnTo>
                  <a:lnTo>
                    <a:pt x="366636" y="414756"/>
                  </a:lnTo>
                  <a:lnTo>
                    <a:pt x="365395" y="394577"/>
                  </a:lnTo>
                  <a:lnTo>
                    <a:pt x="359186" y="379675"/>
                  </a:lnTo>
                  <a:lnTo>
                    <a:pt x="352045" y="365084"/>
                  </a:lnTo>
                  <a:lnTo>
                    <a:pt x="339628" y="365084"/>
                  </a:lnTo>
                  <a:lnTo>
                    <a:pt x="332177" y="333108"/>
                  </a:lnTo>
                  <a:lnTo>
                    <a:pt x="322864" y="304547"/>
                  </a:lnTo>
                  <a:lnTo>
                    <a:pt x="329073" y="302685"/>
                  </a:lnTo>
                  <a:lnTo>
                    <a:pt x="334350" y="302685"/>
                  </a:lnTo>
                  <a:lnTo>
                    <a:pt x="339628" y="300512"/>
                  </a:lnTo>
                  <a:lnTo>
                    <a:pt x="346768" y="300512"/>
                  </a:lnTo>
                  <a:lnTo>
                    <a:pt x="352045" y="313240"/>
                  </a:lnTo>
                  <a:lnTo>
                    <a:pt x="359186" y="322553"/>
                  </a:lnTo>
                  <a:lnTo>
                    <a:pt x="368810" y="332177"/>
                  </a:lnTo>
                  <a:lnTo>
                    <a:pt x="375950" y="340559"/>
                  </a:lnTo>
                  <a:lnTo>
                    <a:pt x="383401" y="340559"/>
                  </a:lnTo>
                  <a:lnTo>
                    <a:pt x="388368" y="339628"/>
                  </a:lnTo>
                  <a:lnTo>
                    <a:pt x="394577" y="339628"/>
                  </a:lnTo>
                  <a:lnTo>
                    <a:pt x="399854" y="337455"/>
                  </a:lnTo>
                  <a:lnTo>
                    <a:pt x="407305" y="287783"/>
                  </a:lnTo>
                  <a:lnTo>
                    <a:pt x="402027" y="287783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559DE1C3-66AA-4D20-AA30-286FC5BBE7B3}"/>
                </a:ext>
              </a:extLst>
            </p:cNvPr>
            <p:cNvSpPr/>
            <p:nvPr/>
          </p:nvSpPr>
          <p:spPr>
            <a:xfrm>
              <a:off x="5463788" y="5234275"/>
              <a:ext cx="43462" cy="15522"/>
            </a:xfrm>
            <a:custGeom>
              <a:avLst/>
              <a:gdLst>
                <a:gd name="connsiteX0" fmla="*/ 24836 w 43462"/>
                <a:gd name="connsiteY0" fmla="*/ 7451 h 15522"/>
                <a:gd name="connsiteX1" fmla="*/ 14591 w 43462"/>
                <a:gd name="connsiteY1" fmla="*/ 3415 h 15522"/>
                <a:gd name="connsiteX2" fmla="*/ 4967 w 43462"/>
                <a:gd name="connsiteY2" fmla="*/ 0 h 15522"/>
                <a:gd name="connsiteX3" fmla="*/ 3104 w 43462"/>
                <a:gd name="connsiteY3" fmla="*/ 3415 h 15522"/>
                <a:gd name="connsiteX4" fmla="*/ 3104 w 43462"/>
                <a:gd name="connsiteY4" fmla="*/ 5278 h 15522"/>
                <a:gd name="connsiteX5" fmla="*/ 1863 w 43462"/>
                <a:gd name="connsiteY5" fmla="*/ 7451 h 15522"/>
                <a:gd name="connsiteX6" fmla="*/ 0 w 43462"/>
                <a:gd name="connsiteY6" fmla="*/ 8692 h 15522"/>
                <a:gd name="connsiteX7" fmla="*/ 0 w 43462"/>
                <a:gd name="connsiteY7" fmla="*/ 12728 h 15522"/>
                <a:gd name="connsiteX8" fmla="*/ 7140 w 43462"/>
                <a:gd name="connsiteY8" fmla="*/ 12728 h 15522"/>
                <a:gd name="connsiteX9" fmla="*/ 10245 w 43462"/>
                <a:gd name="connsiteY9" fmla="*/ 14901 h 15522"/>
                <a:gd name="connsiteX10" fmla="*/ 12418 w 43462"/>
                <a:gd name="connsiteY10" fmla="*/ 14901 h 15522"/>
                <a:gd name="connsiteX11" fmla="*/ 15522 w 43462"/>
                <a:gd name="connsiteY11" fmla="*/ 15833 h 15522"/>
                <a:gd name="connsiteX12" fmla="*/ 44704 w 43462"/>
                <a:gd name="connsiteY12" fmla="*/ 15833 h 15522"/>
                <a:gd name="connsiteX13" fmla="*/ 37253 w 43462"/>
                <a:gd name="connsiteY13" fmla="*/ 10555 h 15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62" h="15522">
                  <a:moveTo>
                    <a:pt x="24836" y="7451"/>
                  </a:moveTo>
                  <a:lnTo>
                    <a:pt x="14591" y="3415"/>
                  </a:lnTo>
                  <a:lnTo>
                    <a:pt x="4967" y="0"/>
                  </a:lnTo>
                  <a:lnTo>
                    <a:pt x="3104" y="3415"/>
                  </a:lnTo>
                  <a:lnTo>
                    <a:pt x="3104" y="5278"/>
                  </a:lnTo>
                  <a:lnTo>
                    <a:pt x="1863" y="7451"/>
                  </a:lnTo>
                  <a:lnTo>
                    <a:pt x="0" y="8692"/>
                  </a:lnTo>
                  <a:lnTo>
                    <a:pt x="0" y="12728"/>
                  </a:lnTo>
                  <a:lnTo>
                    <a:pt x="7140" y="12728"/>
                  </a:lnTo>
                  <a:lnTo>
                    <a:pt x="10245" y="14901"/>
                  </a:lnTo>
                  <a:lnTo>
                    <a:pt x="12418" y="14901"/>
                  </a:lnTo>
                  <a:lnTo>
                    <a:pt x="15522" y="15833"/>
                  </a:lnTo>
                  <a:lnTo>
                    <a:pt x="44704" y="15833"/>
                  </a:lnTo>
                  <a:lnTo>
                    <a:pt x="37253" y="10555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A3B2F6F4-4903-4519-9F28-371D93FD8490}"/>
                </a:ext>
              </a:extLst>
            </p:cNvPr>
            <p:cNvSpPr/>
            <p:nvPr/>
          </p:nvSpPr>
          <p:spPr>
            <a:xfrm>
              <a:off x="5144029" y="5162562"/>
              <a:ext cx="24836" cy="9313"/>
            </a:xfrm>
            <a:custGeom>
              <a:avLst/>
              <a:gdLst>
                <a:gd name="connsiteX0" fmla="*/ 4967 w 24835"/>
                <a:gd name="connsiteY0" fmla="*/ 10555 h 9313"/>
                <a:gd name="connsiteX1" fmla="*/ 10245 w 24835"/>
                <a:gd name="connsiteY1" fmla="*/ 10555 h 9313"/>
                <a:gd name="connsiteX2" fmla="*/ 14280 w 24835"/>
                <a:gd name="connsiteY2" fmla="*/ 8382 h 9313"/>
                <a:gd name="connsiteX3" fmla="*/ 17695 w 24835"/>
                <a:gd name="connsiteY3" fmla="*/ 7140 h 9313"/>
                <a:gd name="connsiteX4" fmla="*/ 19558 w 24835"/>
                <a:gd name="connsiteY4" fmla="*/ 5278 h 9313"/>
                <a:gd name="connsiteX5" fmla="*/ 24836 w 24835"/>
                <a:gd name="connsiteY5" fmla="*/ 3104 h 9313"/>
                <a:gd name="connsiteX6" fmla="*/ 24836 w 24835"/>
                <a:gd name="connsiteY6" fmla="*/ 0 h 9313"/>
                <a:gd name="connsiteX7" fmla="*/ 0 w 24835"/>
                <a:gd name="connsiteY7" fmla="*/ 0 h 9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835" h="9313">
                  <a:moveTo>
                    <a:pt x="4967" y="10555"/>
                  </a:moveTo>
                  <a:lnTo>
                    <a:pt x="10245" y="10555"/>
                  </a:lnTo>
                  <a:lnTo>
                    <a:pt x="14280" y="8382"/>
                  </a:lnTo>
                  <a:lnTo>
                    <a:pt x="17695" y="7140"/>
                  </a:lnTo>
                  <a:lnTo>
                    <a:pt x="19558" y="5278"/>
                  </a:lnTo>
                  <a:lnTo>
                    <a:pt x="24836" y="3104"/>
                  </a:lnTo>
                  <a:lnTo>
                    <a:pt x="2483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2E2DD9C0-2A39-4223-89E9-3A15EB798625}"/>
                </a:ext>
              </a:extLst>
            </p:cNvPr>
            <p:cNvSpPr/>
            <p:nvPr/>
          </p:nvSpPr>
          <p:spPr>
            <a:xfrm>
              <a:off x="5247097" y="5141141"/>
              <a:ext cx="24836" cy="40358"/>
            </a:xfrm>
            <a:custGeom>
              <a:avLst/>
              <a:gdLst>
                <a:gd name="connsiteX0" fmla="*/ 21731 w 24835"/>
                <a:gd name="connsiteY0" fmla="*/ 0 h 40357"/>
                <a:gd name="connsiteX1" fmla="*/ 14591 w 24835"/>
                <a:gd name="connsiteY1" fmla="*/ 0 h 40357"/>
                <a:gd name="connsiteX2" fmla="*/ 9313 w 24835"/>
                <a:gd name="connsiteY2" fmla="*/ 0 h 40357"/>
                <a:gd name="connsiteX3" fmla="*/ 4967 w 24835"/>
                <a:gd name="connsiteY3" fmla="*/ 2173 h 40357"/>
                <a:gd name="connsiteX4" fmla="*/ 1863 w 24835"/>
                <a:gd name="connsiteY4" fmla="*/ 4346 h 40357"/>
                <a:gd name="connsiteX5" fmla="*/ 0 w 24835"/>
                <a:gd name="connsiteY5" fmla="*/ 11797 h 40357"/>
                <a:gd name="connsiteX6" fmla="*/ 0 w 24835"/>
                <a:gd name="connsiteY6" fmla="*/ 26698 h 40357"/>
                <a:gd name="connsiteX7" fmla="*/ 1863 w 24835"/>
                <a:gd name="connsiteY7" fmla="*/ 41289 h 40357"/>
                <a:gd name="connsiteX8" fmla="*/ 7140 w 24835"/>
                <a:gd name="connsiteY8" fmla="*/ 39116 h 40357"/>
                <a:gd name="connsiteX9" fmla="*/ 11487 w 24835"/>
                <a:gd name="connsiteY9" fmla="*/ 39116 h 40357"/>
                <a:gd name="connsiteX10" fmla="*/ 14591 w 24835"/>
                <a:gd name="connsiteY10" fmla="*/ 39116 h 40357"/>
                <a:gd name="connsiteX11" fmla="*/ 16454 w 24835"/>
                <a:gd name="connsiteY11" fmla="*/ 37253 h 40357"/>
                <a:gd name="connsiteX12" fmla="*/ 26078 w 24835"/>
                <a:gd name="connsiteY12" fmla="*/ 37253 h 40357"/>
                <a:gd name="connsiteX13" fmla="*/ 23904 w 24835"/>
                <a:gd name="connsiteY13" fmla="*/ 17075 h 40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835" h="40357">
                  <a:moveTo>
                    <a:pt x="21731" y="0"/>
                  </a:moveTo>
                  <a:lnTo>
                    <a:pt x="14591" y="0"/>
                  </a:lnTo>
                  <a:lnTo>
                    <a:pt x="9313" y="0"/>
                  </a:lnTo>
                  <a:lnTo>
                    <a:pt x="4967" y="2173"/>
                  </a:lnTo>
                  <a:lnTo>
                    <a:pt x="1863" y="4346"/>
                  </a:lnTo>
                  <a:lnTo>
                    <a:pt x="0" y="11797"/>
                  </a:lnTo>
                  <a:lnTo>
                    <a:pt x="0" y="26698"/>
                  </a:lnTo>
                  <a:lnTo>
                    <a:pt x="1863" y="41289"/>
                  </a:lnTo>
                  <a:lnTo>
                    <a:pt x="7140" y="39116"/>
                  </a:lnTo>
                  <a:lnTo>
                    <a:pt x="11487" y="39116"/>
                  </a:lnTo>
                  <a:lnTo>
                    <a:pt x="14591" y="39116"/>
                  </a:lnTo>
                  <a:lnTo>
                    <a:pt x="16454" y="37253"/>
                  </a:lnTo>
                  <a:lnTo>
                    <a:pt x="26078" y="37253"/>
                  </a:lnTo>
                  <a:lnTo>
                    <a:pt x="23904" y="17075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3D9C6860-5ECB-4D2B-9F35-3E31CE536157}"/>
                </a:ext>
              </a:extLst>
            </p:cNvPr>
            <p:cNvSpPr/>
            <p:nvPr/>
          </p:nvSpPr>
          <p:spPr>
            <a:xfrm>
              <a:off x="5592933" y="5239552"/>
              <a:ext cx="34149" cy="21731"/>
            </a:xfrm>
            <a:custGeom>
              <a:avLst/>
              <a:gdLst>
                <a:gd name="connsiteX0" fmla="*/ 21731 w 34149"/>
                <a:gd name="connsiteY0" fmla="*/ 3415 h 21731"/>
                <a:gd name="connsiteX1" fmla="*/ 14591 w 34149"/>
                <a:gd name="connsiteY1" fmla="*/ 5278 h 21731"/>
                <a:gd name="connsiteX2" fmla="*/ 7140 w 34149"/>
                <a:gd name="connsiteY2" fmla="*/ 9624 h 21731"/>
                <a:gd name="connsiteX3" fmla="*/ 0 w 34149"/>
                <a:gd name="connsiteY3" fmla="*/ 10555 h 21731"/>
                <a:gd name="connsiteX4" fmla="*/ 3104 w 34149"/>
                <a:gd name="connsiteY4" fmla="*/ 24525 h 21731"/>
                <a:gd name="connsiteX5" fmla="*/ 7140 w 34149"/>
                <a:gd name="connsiteY5" fmla="*/ 22352 h 21731"/>
                <a:gd name="connsiteX6" fmla="*/ 10245 w 34149"/>
                <a:gd name="connsiteY6" fmla="*/ 22352 h 21731"/>
                <a:gd name="connsiteX7" fmla="*/ 12418 w 34149"/>
                <a:gd name="connsiteY7" fmla="*/ 22352 h 21731"/>
                <a:gd name="connsiteX8" fmla="*/ 12418 w 34149"/>
                <a:gd name="connsiteY8" fmla="*/ 20179 h 21731"/>
                <a:gd name="connsiteX9" fmla="*/ 15522 w 34149"/>
                <a:gd name="connsiteY9" fmla="*/ 20179 h 21731"/>
                <a:gd name="connsiteX10" fmla="*/ 21731 w 34149"/>
                <a:gd name="connsiteY10" fmla="*/ 17075 h 21731"/>
                <a:gd name="connsiteX11" fmla="*/ 24836 w 34149"/>
                <a:gd name="connsiteY11" fmla="*/ 12728 h 21731"/>
                <a:gd name="connsiteX12" fmla="*/ 29182 w 34149"/>
                <a:gd name="connsiteY12" fmla="*/ 9624 h 21731"/>
                <a:gd name="connsiteX13" fmla="*/ 32286 w 34149"/>
                <a:gd name="connsiteY13" fmla="*/ 5278 h 21731"/>
                <a:gd name="connsiteX14" fmla="*/ 36322 w 34149"/>
                <a:gd name="connsiteY14" fmla="*/ 0 h 21731"/>
                <a:gd name="connsiteX15" fmla="*/ 27009 w 34149"/>
                <a:gd name="connsiteY15" fmla="*/ 0 h 21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4149" h="21731">
                  <a:moveTo>
                    <a:pt x="21731" y="3415"/>
                  </a:moveTo>
                  <a:lnTo>
                    <a:pt x="14591" y="5278"/>
                  </a:lnTo>
                  <a:lnTo>
                    <a:pt x="7140" y="9624"/>
                  </a:lnTo>
                  <a:lnTo>
                    <a:pt x="0" y="10555"/>
                  </a:lnTo>
                  <a:lnTo>
                    <a:pt x="3104" y="24525"/>
                  </a:lnTo>
                  <a:lnTo>
                    <a:pt x="7140" y="22352"/>
                  </a:lnTo>
                  <a:lnTo>
                    <a:pt x="10245" y="22352"/>
                  </a:lnTo>
                  <a:lnTo>
                    <a:pt x="12418" y="22352"/>
                  </a:lnTo>
                  <a:lnTo>
                    <a:pt x="12418" y="20179"/>
                  </a:lnTo>
                  <a:lnTo>
                    <a:pt x="15522" y="20179"/>
                  </a:lnTo>
                  <a:lnTo>
                    <a:pt x="21731" y="17075"/>
                  </a:lnTo>
                  <a:lnTo>
                    <a:pt x="24836" y="12728"/>
                  </a:lnTo>
                  <a:lnTo>
                    <a:pt x="29182" y="9624"/>
                  </a:lnTo>
                  <a:lnTo>
                    <a:pt x="32286" y="5278"/>
                  </a:lnTo>
                  <a:lnTo>
                    <a:pt x="36322" y="0"/>
                  </a:lnTo>
                  <a:lnTo>
                    <a:pt x="27009" y="0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C30E323-B723-4D27-B859-C42F152D446C}"/>
                </a:ext>
              </a:extLst>
            </p:cNvPr>
            <p:cNvSpPr/>
            <p:nvPr/>
          </p:nvSpPr>
          <p:spPr>
            <a:xfrm>
              <a:off x="4877977" y="3996527"/>
              <a:ext cx="2967861" cy="2340761"/>
            </a:xfrm>
            <a:custGeom>
              <a:avLst/>
              <a:gdLst>
                <a:gd name="connsiteX0" fmla="*/ 2965999 w 2967861"/>
                <a:gd name="connsiteY0" fmla="*/ 516271 h 2340761"/>
                <a:gd name="connsiteX1" fmla="*/ 2956685 w 2967861"/>
                <a:gd name="connsiteY1" fmla="*/ 502612 h 2340761"/>
                <a:gd name="connsiteX2" fmla="*/ 2945199 w 2967861"/>
                <a:gd name="connsiteY2" fmla="*/ 489883 h 2340761"/>
                <a:gd name="connsiteX3" fmla="*/ 2934644 w 2967861"/>
                <a:gd name="connsiteY3" fmla="*/ 477155 h 2340761"/>
                <a:gd name="connsiteX4" fmla="*/ 2930608 w 2967861"/>
                <a:gd name="connsiteY4" fmla="*/ 477155 h 2340761"/>
                <a:gd name="connsiteX5" fmla="*/ 2929677 w 2967861"/>
                <a:gd name="connsiteY5" fmla="*/ 477155 h 2340761"/>
                <a:gd name="connsiteX6" fmla="*/ 2927503 w 2967861"/>
                <a:gd name="connsiteY6" fmla="*/ 479328 h 2340761"/>
                <a:gd name="connsiteX7" fmla="*/ 2925330 w 2967861"/>
                <a:gd name="connsiteY7" fmla="*/ 479328 h 2340761"/>
                <a:gd name="connsiteX8" fmla="*/ 2923158 w 2967861"/>
                <a:gd name="connsiteY8" fmla="*/ 480260 h 2340761"/>
                <a:gd name="connsiteX9" fmla="*/ 2905462 w 2967861"/>
                <a:gd name="connsiteY9" fmla="*/ 477155 h 2340761"/>
                <a:gd name="connsiteX10" fmla="*/ 2896149 w 2967861"/>
                <a:gd name="connsiteY10" fmla="*/ 469705 h 2340761"/>
                <a:gd name="connsiteX11" fmla="*/ 2889008 w 2967861"/>
                <a:gd name="connsiteY11" fmla="*/ 460081 h 2340761"/>
                <a:gd name="connsiteX12" fmla="*/ 2881868 w 2967861"/>
                <a:gd name="connsiteY12" fmla="*/ 449526 h 2340761"/>
                <a:gd name="connsiteX13" fmla="*/ 2871313 w 2967861"/>
                <a:gd name="connsiteY13" fmla="*/ 439902 h 2340761"/>
                <a:gd name="connsiteX14" fmla="*/ 2866035 w 2967861"/>
                <a:gd name="connsiteY14" fmla="*/ 435555 h 2340761"/>
                <a:gd name="connsiteX15" fmla="*/ 2859827 w 2967861"/>
                <a:gd name="connsiteY15" fmla="*/ 435555 h 2340761"/>
                <a:gd name="connsiteX16" fmla="*/ 2854549 w 2967861"/>
                <a:gd name="connsiteY16" fmla="*/ 434624 h 2340761"/>
                <a:gd name="connsiteX17" fmla="*/ 2849271 w 2967861"/>
                <a:gd name="connsiteY17" fmla="*/ 434624 h 2340761"/>
                <a:gd name="connsiteX18" fmla="*/ 2843994 w 2967861"/>
                <a:gd name="connsiteY18" fmla="*/ 430278 h 2340761"/>
                <a:gd name="connsiteX19" fmla="*/ 2810776 w 2967861"/>
                <a:gd name="connsiteY19" fmla="*/ 395508 h 2340761"/>
                <a:gd name="connsiteX20" fmla="*/ 2751481 w 2967861"/>
                <a:gd name="connsiteY20" fmla="*/ 370051 h 2340761"/>
                <a:gd name="connsiteX21" fmla="*/ 2747445 w 2967861"/>
                <a:gd name="connsiteY21" fmla="*/ 370983 h 2340761"/>
                <a:gd name="connsiteX22" fmla="*/ 2744340 w 2967861"/>
                <a:gd name="connsiteY22" fmla="*/ 373156 h 2340761"/>
                <a:gd name="connsiteX23" fmla="*/ 2740305 w 2967861"/>
                <a:gd name="connsiteY23" fmla="*/ 377502 h 2340761"/>
                <a:gd name="connsiteX24" fmla="*/ 2735027 w 2967861"/>
                <a:gd name="connsiteY24" fmla="*/ 378433 h 2340761"/>
                <a:gd name="connsiteX25" fmla="*/ 2729750 w 2967861"/>
                <a:gd name="connsiteY25" fmla="*/ 378433 h 2340761"/>
                <a:gd name="connsiteX26" fmla="*/ 2723541 w 2967861"/>
                <a:gd name="connsiteY26" fmla="*/ 378433 h 2340761"/>
                <a:gd name="connsiteX27" fmla="*/ 2708950 w 2967861"/>
                <a:gd name="connsiteY27" fmla="*/ 373156 h 2340761"/>
                <a:gd name="connsiteX28" fmla="*/ 2696532 w 2967861"/>
                <a:gd name="connsiteY28" fmla="*/ 365705 h 2340761"/>
                <a:gd name="connsiteX29" fmla="*/ 2678836 w 2967861"/>
                <a:gd name="connsiteY29" fmla="*/ 362601 h 2340761"/>
                <a:gd name="connsiteX30" fmla="*/ 2678836 w 2967861"/>
                <a:gd name="connsiteY30" fmla="*/ 367878 h 2340761"/>
                <a:gd name="connsiteX31" fmla="*/ 2678836 w 2967861"/>
                <a:gd name="connsiteY31" fmla="*/ 373156 h 2340761"/>
                <a:gd name="connsiteX32" fmla="*/ 2676664 w 2967861"/>
                <a:gd name="connsiteY32" fmla="*/ 377502 h 2340761"/>
                <a:gd name="connsiteX33" fmla="*/ 2676664 w 2967861"/>
                <a:gd name="connsiteY33" fmla="*/ 380607 h 2340761"/>
                <a:gd name="connsiteX34" fmla="*/ 2678836 w 2967861"/>
                <a:gd name="connsiteY34" fmla="*/ 382780 h 2340761"/>
                <a:gd name="connsiteX35" fmla="*/ 2681010 w 2967861"/>
                <a:gd name="connsiteY35" fmla="*/ 385884 h 2340761"/>
                <a:gd name="connsiteX36" fmla="*/ 2684114 w 2967861"/>
                <a:gd name="connsiteY36" fmla="*/ 392093 h 2340761"/>
                <a:gd name="connsiteX37" fmla="*/ 2681941 w 2967861"/>
                <a:gd name="connsiteY37" fmla="*/ 397371 h 2340761"/>
                <a:gd name="connsiteX38" fmla="*/ 2681941 w 2967861"/>
                <a:gd name="connsiteY38" fmla="*/ 400475 h 2340761"/>
                <a:gd name="connsiteX39" fmla="*/ 2681010 w 2967861"/>
                <a:gd name="connsiteY39" fmla="*/ 404821 h 2340761"/>
                <a:gd name="connsiteX40" fmla="*/ 2678836 w 2967861"/>
                <a:gd name="connsiteY40" fmla="*/ 406994 h 2340761"/>
                <a:gd name="connsiteX41" fmla="*/ 2678836 w 2967861"/>
                <a:gd name="connsiteY41" fmla="*/ 412272 h 2340761"/>
                <a:gd name="connsiteX42" fmla="*/ 2671696 w 2967861"/>
                <a:gd name="connsiteY42" fmla="*/ 406994 h 2340761"/>
                <a:gd name="connsiteX43" fmla="*/ 2666419 w 2967861"/>
                <a:gd name="connsiteY43" fmla="*/ 402648 h 2340761"/>
                <a:gd name="connsiteX44" fmla="*/ 2660210 w 2967861"/>
                <a:gd name="connsiteY44" fmla="*/ 395198 h 2340761"/>
                <a:gd name="connsiteX45" fmla="*/ 2654932 w 2967861"/>
                <a:gd name="connsiteY45" fmla="*/ 389920 h 2340761"/>
                <a:gd name="connsiteX46" fmla="*/ 2651828 w 2967861"/>
                <a:gd name="connsiteY46" fmla="*/ 382469 h 2340761"/>
                <a:gd name="connsiteX47" fmla="*/ 2616437 w 2967861"/>
                <a:gd name="connsiteY47" fmla="*/ 382469 h 2340761"/>
                <a:gd name="connsiteX48" fmla="*/ 2581978 w 2967861"/>
                <a:gd name="connsiteY48" fmla="*/ 382469 h 2340761"/>
                <a:gd name="connsiteX49" fmla="*/ 2547518 w 2967861"/>
                <a:gd name="connsiteY49" fmla="*/ 385574 h 2340761"/>
                <a:gd name="connsiteX50" fmla="*/ 2544414 w 2967861"/>
                <a:gd name="connsiteY50" fmla="*/ 384642 h 2340761"/>
                <a:gd name="connsiteX51" fmla="*/ 2542240 w 2967861"/>
                <a:gd name="connsiteY51" fmla="*/ 380296 h 2340761"/>
                <a:gd name="connsiteX52" fmla="*/ 2538205 w 2967861"/>
                <a:gd name="connsiteY52" fmla="*/ 378123 h 2340761"/>
                <a:gd name="connsiteX53" fmla="*/ 2535100 w 2967861"/>
                <a:gd name="connsiteY53" fmla="*/ 365395 h 2340761"/>
                <a:gd name="connsiteX54" fmla="*/ 2532927 w 2967861"/>
                <a:gd name="connsiteY54" fmla="*/ 350493 h 2340761"/>
                <a:gd name="connsiteX55" fmla="*/ 2527650 w 2967861"/>
                <a:gd name="connsiteY55" fmla="*/ 333419 h 2340761"/>
                <a:gd name="connsiteX56" fmla="*/ 2515232 w 2967861"/>
                <a:gd name="connsiteY56" fmla="*/ 330314 h 2340761"/>
                <a:gd name="connsiteX57" fmla="*/ 2498468 w 2967861"/>
                <a:gd name="connsiteY57" fmla="*/ 327210 h 2340761"/>
                <a:gd name="connsiteX58" fmla="*/ 2481703 w 2967861"/>
                <a:gd name="connsiteY58" fmla="*/ 325037 h 2340761"/>
                <a:gd name="connsiteX59" fmla="*/ 2464008 w 2967861"/>
                <a:gd name="connsiteY59" fmla="*/ 325037 h 2340761"/>
                <a:gd name="connsiteX60" fmla="*/ 2451590 w 2967861"/>
                <a:gd name="connsiteY60" fmla="*/ 330314 h 2340761"/>
                <a:gd name="connsiteX61" fmla="*/ 2437931 w 2967861"/>
                <a:gd name="connsiteY61" fmla="*/ 325037 h 2340761"/>
                <a:gd name="connsiteX62" fmla="*/ 2427375 w 2967861"/>
                <a:gd name="connsiteY62" fmla="*/ 315413 h 2340761"/>
                <a:gd name="connsiteX63" fmla="*/ 2420235 w 2967861"/>
                <a:gd name="connsiteY63" fmla="*/ 304858 h 2340761"/>
                <a:gd name="connsiteX64" fmla="*/ 2414958 w 2967861"/>
                <a:gd name="connsiteY64" fmla="*/ 293371 h 2340761"/>
                <a:gd name="connsiteX65" fmla="*/ 2401298 w 2967861"/>
                <a:gd name="connsiteY65" fmla="*/ 293371 h 2340761"/>
                <a:gd name="connsiteX66" fmla="*/ 2388880 w 2967861"/>
                <a:gd name="connsiteY66" fmla="*/ 293371 h 2340761"/>
                <a:gd name="connsiteX67" fmla="*/ 2378325 w 2967861"/>
                <a:gd name="connsiteY67" fmla="*/ 297718 h 2340761"/>
                <a:gd name="connsiteX68" fmla="*/ 2373047 w 2967861"/>
                <a:gd name="connsiteY68" fmla="*/ 295544 h 2340761"/>
                <a:gd name="connsiteX69" fmla="*/ 2369012 w 2967861"/>
                <a:gd name="connsiteY69" fmla="*/ 293371 h 2340761"/>
                <a:gd name="connsiteX70" fmla="*/ 2365907 w 2967861"/>
                <a:gd name="connsiteY70" fmla="*/ 291198 h 2340761"/>
                <a:gd name="connsiteX71" fmla="*/ 2365907 w 2967861"/>
                <a:gd name="connsiteY71" fmla="*/ 288094 h 2340761"/>
                <a:gd name="connsiteX72" fmla="*/ 2363734 w 2967861"/>
                <a:gd name="connsiteY72" fmla="*/ 285921 h 2340761"/>
                <a:gd name="connsiteX73" fmla="*/ 2363734 w 2967861"/>
                <a:gd name="connsiteY73" fmla="*/ 282816 h 2340761"/>
                <a:gd name="connsiteX74" fmla="*/ 2361561 w 2967861"/>
                <a:gd name="connsiteY74" fmla="*/ 276607 h 2340761"/>
                <a:gd name="connsiteX75" fmla="*/ 2358457 w 2967861"/>
                <a:gd name="connsiteY75" fmla="*/ 273503 h 2340761"/>
                <a:gd name="connsiteX76" fmla="*/ 2351316 w 2967861"/>
                <a:gd name="connsiteY76" fmla="*/ 268225 h 2340761"/>
                <a:gd name="connsiteX77" fmla="*/ 2334552 w 2967861"/>
                <a:gd name="connsiteY77" fmla="*/ 262016 h 2340761"/>
                <a:gd name="connsiteX78" fmla="*/ 2315925 w 2967861"/>
                <a:gd name="connsiteY78" fmla="*/ 256739 h 2340761"/>
                <a:gd name="connsiteX79" fmla="*/ 2296057 w 2967861"/>
                <a:gd name="connsiteY79" fmla="*/ 251461 h 2340761"/>
                <a:gd name="connsiteX80" fmla="*/ 2276188 w 2967861"/>
                <a:gd name="connsiteY80" fmla="*/ 249288 h 2340761"/>
                <a:gd name="connsiteX81" fmla="*/ 2258493 w 2967861"/>
                <a:gd name="connsiteY81" fmla="*/ 249288 h 2340761"/>
                <a:gd name="connsiteX82" fmla="*/ 2247007 w 2967861"/>
                <a:gd name="connsiteY82" fmla="*/ 253634 h 2340761"/>
                <a:gd name="connsiteX83" fmla="*/ 2234589 w 2967861"/>
                <a:gd name="connsiteY83" fmla="*/ 256739 h 2340761"/>
                <a:gd name="connsiteX84" fmla="*/ 2237693 w 2967861"/>
                <a:gd name="connsiteY84" fmla="*/ 273813 h 2340761"/>
                <a:gd name="connsiteX85" fmla="*/ 2241729 w 2967861"/>
                <a:gd name="connsiteY85" fmla="*/ 286541 h 2340761"/>
                <a:gd name="connsiteX86" fmla="*/ 2243902 w 2967861"/>
                <a:gd name="connsiteY86" fmla="*/ 305479 h 2340761"/>
                <a:gd name="connsiteX87" fmla="*/ 2236762 w 2967861"/>
                <a:gd name="connsiteY87" fmla="*/ 305479 h 2340761"/>
                <a:gd name="connsiteX88" fmla="*/ 2232726 w 2967861"/>
                <a:gd name="connsiteY88" fmla="*/ 303306 h 2340761"/>
                <a:gd name="connsiteX89" fmla="*/ 2227448 w 2967861"/>
                <a:gd name="connsiteY89" fmla="*/ 303306 h 2340761"/>
                <a:gd name="connsiteX90" fmla="*/ 2225275 w 2967861"/>
                <a:gd name="connsiteY90" fmla="*/ 303306 h 2340761"/>
                <a:gd name="connsiteX91" fmla="*/ 2222171 w 2967861"/>
                <a:gd name="connsiteY91" fmla="*/ 303306 h 2340761"/>
                <a:gd name="connsiteX92" fmla="*/ 2218135 w 2967861"/>
                <a:gd name="connsiteY92" fmla="*/ 306410 h 2340761"/>
                <a:gd name="connsiteX93" fmla="*/ 2215030 w 2967861"/>
                <a:gd name="connsiteY93" fmla="*/ 310756 h 2340761"/>
                <a:gd name="connsiteX94" fmla="*/ 2207890 w 2967861"/>
                <a:gd name="connsiteY94" fmla="*/ 306410 h 2340761"/>
                <a:gd name="connsiteX95" fmla="*/ 2201681 w 2967861"/>
                <a:gd name="connsiteY95" fmla="*/ 303306 h 2340761"/>
                <a:gd name="connsiteX96" fmla="*/ 2198577 w 2967861"/>
                <a:gd name="connsiteY96" fmla="*/ 298028 h 2340761"/>
                <a:gd name="connsiteX97" fmla="*/ 2193299 w 2967861"/>
                <a:gd name="connsiteY97" fmla="*/ 293682 h 2340761"/>
                <a:gd name="connsiteX98" fmla="*/ 2188022 w 2967861"/>
                <a:gd name="connsiteY98" fmla="*/ 288404 h 2340761"/>
                <a:gd name="connsiteX99" fmla="*/ 2174362 w 2967861"/>
                <a:gd name="connsiteY99" fmla="*/ 310756 h 2340761"/>
                <a:gd name="connsiteX100" fmla="*/ 2165980 w 2967861"/>
                <a:gd name="connsiteY100" fmla="*/ 308583 h 2340761"/>
                <a:gd name="connsiteX101" fmla="*/ 2158840 w 2967861"/>
                <a:gd name="connsiteY101" fmla="*/ 306410 h 2340761"/>
                <a:gd name="connsiteX102" fmla="*/ 2152631 w 2967861"/>
                <a:gd name="connsiteY102" fmla="*/ 303306 h 2340761"/>
                <a:gd name="connsiteX103" fmla="*/ 2149526 w 2967861"/>
                <a:gd name="connsiteY103" fmla="*/ 298028 h 2340761"/>
                <a:gd name="connsiteX104" fmla="*/ 2147353 w 2967861"/>
                <a:gd name="connsiteY104" fmla="*/ 290577 h 2340761"/>
                <a:gd name="connsiteX105" fmla="*/ 2147353 w 2967861"/>
                <a:gd name="connsiteY105" fmla="*/ 280953 h 2340761"/>
                <a:gd name="connsiteX106" fmla="*/ 2140213 w 2967861"/>
                <a:gd name="connsiteY106" fmla="*/ 290577 h 2340761"/>
                <a:gd name="connsiteX107" fmla="*/ 2137109 w 2967861"/>
                <a:gd name="connsiteY107" fmla="*/ 301132 h 2340761"/>
                <a:gd name="connsiteX108" fmla="*/ 2133073 w 2967861"/>
                <a:gd name="connsiteY108" fmla="*/ 312619 h 2340761"/>
                <a:gd name="connsiteX109" fmla="*/ 2127795 w 2967861"/>
                <a:gd name="connsiteY109" fmla="*/ 321001 h 2340761"/>
                <a:gd name="connsiteX110" fmla="*/ 2125622 w 2967861"/>
                <a:gd name="connsiteY110" fmla="*/ 323174 h 2340761"/>
                <a:gd name="connsiteX111" fmla="*/ 2123449 w 2967861"/>
                <a:gd name="connsiteY111" fmla="*/ 325347 h 2340761"/>
                <a:gd name="connsiteX112" fmla="*/ 2112894 w 2967861"/>
                <a:gd name="connsiteY112" fmla="*/ 317896 h 2340761"/>
                <a:gd name="connsiteX113" fmla="*/ 2100476 w 2967861"/>
                <a:gd name="connsiteY113" fmla="*/ 310446 h 2340761"/>
                <a:gd name="connsiteX114" fmla="*/ 2091163 w 2967861"/>
                <a:gd name="connsiteY114" fmla="*/ 300822 h 2340761"/>
                <a:gd name="connsiteX115" fmla="*/ 2088989 w 2967861"/>
                <a:gd name="connsiteY115" fmla="*/ 295544 h 2340761"/>
                <a:gd name="connsiteX116" fmla="*/ 2088058 w 2967861"/>
                <a:gd name="connsiteY116" fmla="*/ 291198 h 2340761"/>
                <a:gd name="connsiteX117" fmla="*/ 2088058 w 2967861"/>
                <a:gd name="connsiteY117" fmla="*/ 288094 h 2340761"/>
                <a:gd name="connsiteX118" fmla="*/ 2085885 w 2967861"/>
                <a:gd name="connsiteY118" fmla="*/ 283747 h 2340761"/>
                <a:gd name="connsiteX119" fmla="*/ 2083712 w 2967861"/>
                <a:gd name="connsiteY119" fmla="*/ 280643 h 2340761"/>
                <a:gd name="connsiteX120" fmla="*/ 2090852 w 2967861"/>
                <a:gd name="connsiteY120" fmla="*/ 261706 h 2340761"/>
                <a:gd name="connsiteX121" fmla="*/ 2103270 w 2967861"/>
                <a:gd name="connsiteY121" fmla="*/ 248978 h 2340761"/>
                <a:gd name="connsiteX122" fmla="*/ 2093957 w 2967861"/>
                <a:gd name="connsiteY122" fmla="*/ 212034 h 2340761"/>
                <a:gd name="connsiteX123" fmla="*/ 2090852 w 2967861"/>
                <a:gd name="connsiteY123" fmla="*/ 212034 h 2340761"/>
                <a:gd name="connsiteX124" fmla="*/ 2090852 w 2967861"/>
                <a:gd name="connsiteY124" fmla="*/ 206757 h 2340761"/>
                <a:gd name="connsiteX125" fmla="*/ 2070984 w 2967861"/>
                <a:gd name="connsiteY125" fmla="*/ 208930 h 2340761"/>
                <a:gd name="connsiteX126" fmla="*/ 2058566 w 2967861"/>
                <a:gd name="connsiteY126" fmla="*/ 214208 h 2340761"/>
                <a:gd name="connsiteX127" fmla="*/ 2047079 w 2967861"/>
                <a:gd name="connsiteY127" fmla="*/ 223831 h 2340761"/>
                <a:gd name="connsiteX128" fmla="*/ 2036524 w 2967861"/>
                <a:gd name="connsiteY128" fmla="*/ 218554 h 2340761"/>
                <a:gd name="connsiteX129" fmla="*/ 2025038 w 2967861"/>
                <a:gd name="connsiteY129" fmla="*/ 212345 h 2340761"/>
                <a:gd name="connsiteX130" fmla="*/ 2014482 w 2967861"/>
                <a:gd name="connsiteY130" fmla="*/ 207067 h 2340761"/>
                <a:gd name="connsiteX131" fmla="*/ 2012310 w 2967861"/>
                <a:gd name="connsiteY131" fmla="*/ 209240 h 2340761"/>
                <a:gd name="connsiteX132" fmla="*/ 2012310 w 2967861"/>
                <a:gd name="connsiteY132" fmla="*/ 211414 h 2340761"/>
                <a:gd name="connsiteX133" fmla="*/ 2010136 w 2967861"/>
                <a:gd name="connsiteY133" fmla="*/ 211414 h 2340761"/>
                <a:gd name="connsiteX134" fmla="*/ 2007032 w 2967861"/>
                <a:gd name="connsiteY134" fmla="*/ 212345 h 2340761"/>
                <a:gd name="connsiteX135" fmla="*/ 2007032 w 2967861"/>
                <a:gd name="connsiteY135" fmla="*/ 218554 h 2340761"/>
                <a:gd name="connsiteX136" fmla="*/ 2007032 w 2967861"/>
                <a:gd name="connsiteY136" fmla="*/ 223831 h 2340761"/>
                <a:gd name="connsiteX137" fmla="*/ 2007032 w 2967861"/>
                <a:gd name="connsiteY137" fmla="*/ 226936 h 2340761"/>
                <a:gd name="connsiteX138" fmla="*/ 2007032 w 2967861"/>
                <a:gd name="connsiteY138" fmla="*/ 229109 h 2340761"/>
                <a:gd name="connsiteX139" fmla="*/ 2007032 w 2967861"/>
                <a:gd name="connsiteY139" fmla="*/ 232213 h 2340761"/>
                <a:gd name="connsiteX140" fmla="*/ 2002996 w 2967861"/>
                <a:gd name="connsiteY140" fmla="*/ 243700 h 2340761"/>
                <a:gd name="connsiteX141" fmla="*/ 1950841 w 2967861"/>
                <a:gd name="connsiteY141" fmla="*/ 239354 h 2340761"/>
                <a:gd name="connsiteX142" fmla="*/ 1948668 w 2967861"/>
                <a:gd name="connsiteY142" fmla="*/ 234076 h 2340761"/>
                <a:gd name="connsiteX143" fmla="*/ 1948668 w 2967861"/>
                <a:gd name="connsiteY143" fmla="*/ 228799 h 2340761"/>
                <a:gd name="connsiteX144" fmla="*/ 1946495 w 2967861"/>
                <a:gd name="connsiteY144" fmla="*/ 223521 h 2340761"/>
                <a:gd name="connsiteX145" fmla="*/ 1946495 w 2967861"/>
                <a:gd name="connsiteY145" fmla="*/ 218243 h 2340761"/>
                <a:gd name="connsiteX146" fmla="*/ 1946495 w 2967861"/>
                <a:gd name="connsiteY146" fmla="*/ 216070 h 2340761"/>
                <a:gd name="connsiteX147" fmla="*/ 1934077 w 2967861"/>
                <a:gd name="connsiteY147" fmla="*/ 206446 h 2340761"/>
                <a:gd name="connsiteX148" fmla="*/ 1921659 w 2967861"/>
                <a:gd name="connsiteY148" fmla="*/ 204273 h 2340761"/>
                <a:gd name="connsiteX149" fmla="*/ 1904895 w 2967861"/>
                <a:gd name="connsiteY149" fmla="*/ 204273 h 2340761"/>
                <a:gd name="connsiteX150" fmla="*/ 1887200 w 2967861"/>
                <a:gd name="connsiteY150" fmla="*/ 206446 h 2340761"/>
                <a:gd name="connsiteX151" fmla="*/ 1887200 w 2967861"/>
                <a:gd name="connsiteY151" fmla="*/ 219175 h 2340761"/>
                <a:gd name="connsiteX152" fmla="*/ 1877886 w 2967861"/>
                <a:gd name="connsiteY152" fmla="*/ 219175 h 2340761"/>
                <a:gd name="connsiteX153" fmla="*/ 1877886 w 2967861"/>
                <a:gd name="connsiteY153" fmla="*/ 218243 h 2340761"/>
                <a:gd name="connsiteX154" fmla="*/ 1875713 w 2967861"/>
                <a:gd name="connsiteY154" fmla="*/ 218243 h 2340761"/>
                <a:gd name="connsiteX155" fmla="*/ 1873540 w 2967861"/>
                <a:gd name="connsiteY155" fmla="*/ 216070 h 2340761"/>
                <a:gd name="connsiteX156" fmla="*/ 1875713 w 2967861"/>
                <a:gd name="connsiteY156" fmla="*/ 206446 h 2340761"/>
                <a:gd name="connsiteX157" fmla="*/ 1877886 w 2967861"/>
                <a:gd name="connsiteY157" fmla="*/ 198996 h 2340761"/>
                <a:gd name="connsiteX158" fmla="*/ 1880060 w 2967861"/>
                <a:gd name="connsiteY158" fmla="*/ 193718 h 2340761"/>
                <a:gd name="connsiteX159" fmla="*/ 1883164 w 2967861"/>
                <a:gd name="connsiteY159" fmla="*/ 188441 h 2340761"/>
                <a:gd name="connsiteX160" fmla="*/ 1883164 w 2967861"/>
                <a:gd name="connsiteY160" fmla="*/ 182232 h 2340761"/>
                <a:gd name="connsiteX161" fmla="*/ 1873851 w 2967861"/>
                <a:gd name="connsiteY161" fmla="*/ 186578 h 2340761"/>
                <a:gd name="connsiteX162" fmla="*/ 1866710 w 2967861"/>
                <a:gd name="connsiteY162" fmla="*/ 191856 h 2340761"/>
                <a:gd name="connsiteX163" fmla="*/ 1859570 w 2967861"/>
                <a:gd name="connsiteY163" fmla="*/ 197133 h 2340761"/>
                <a:gd name="connsiteX164" fmla="*/ 1854293 w 2967861"/>
                <a:gd name="connsiteY164" fmla="*/ 203342 h 2340761"/>
                <a:gd name="connsiteX165" fmla="*/ 1851188 w 2967861"/>
                <a:gd name="connsiteY165" fmla="*/ 201169 h 2340761"/>
                <a:gd name="connsiteX166" fmla="*/ 1849015 w 2967861"/>
                <a:gd name="connsiteY166" fmla="*/ 201169 h 2340761"/>
                <a:gd name="connsiteX167" fmla="*/ 1849015 w 2967861"/>
                <a:gd name="connsiteY167" fmla="*/ 198996 h 2340761"/>
                <a:gd name="connsiteX168" fmla="*/ 1849015 w 2967861"/>
                <a:gd name="connsiteY168" fmla="*/ 196823 h 2340761"/>
                <a:gd name="connsiteX169" fmla="*/ 1849015 w 2967861"/>
                <a:gd name="connsiteY169" fmla="*/ 195891 h 2340761"/>
                <a:gd name="connsiteX170" fmla="*/ 1851188 w 2967861"/>
                <a:gd name="connsiteY170" fmla="*/ 191545 h 2340761"/>
                <a:gd name="connsiteX171" fmla="*/ 1851188 w 2967861"/>
                <a:gd name="connsiteY171" fmla="*/ 188441 h 2340761"/>
                <a:gd name="connsiteX172" fmla="*/ 1834424 w 2967861"/>
                <a:gd name="connsiteY172" fmla="*/ 186267 h 2340761"/>
                <a:gd name="connsiteX173" fmla="*/ 1819833 w 2967861"/>
                <a:gd name="connsiteY173" fmla="*/ 188441 h 2340761"/>
                <a:gd name="connsiteX174" fmla="*/ 1807415 w 2967861"/>
                <a:gd name="connsiteY174" fmla="*/ 195891 h 2340761"/>
                <a:gd name="connsiteX175" fmla="*/ 1803379 w 2967861"/>
                <a:gd name="connsiteY175" fmla="*/ 195891 h 2340761"/>
                <a:gd name="connsiteX176" fmla="*/ 1815797 w 2967861"/>
                <a:gd name="connsiteY176" fmla="*/ 180990 h 2340761"/>
                <a:gd name="connsiteX177" fmla="*/ 1832561 w 2967861"/>
                <a:gd name="connsiteY177" fmla="*/ 169503 h 2340761"/>
                <a:gd name="connsiteX178" fmla="*/ 1849325 w 2967861"/>
                <a:gd name="connsiteY178" fmla="*/ 159880 h 2340761"/>
                <a:gd name="connsiteX179" fmla="*/ 1863916 w 2967861"/>
                <a:gd name="connsiteY179" fmla="*/ 151498 h 2340761"/>
                <a:gd name="connsiteX180" fmla="*/ 1869194 w 2967861"/>
                <a:gd name="connsiteY180" fmla="*/ 141874 h 2340761"/>
                <a:gd name="connsiteX181" fmla="*/ 1873230 w 2967861"/>
                <a:gd name="connsiteY181" fmla="*/ 132250 h 2340761"/>
                <a:gd name="connsiteX182" fmla="*/ 1878507 w 2967861"/>
                <a:gd name="connsiteY182" fmla="*/ 123868 h 2340761"/>
                <a:gd name="connsiteX183" fmla="*/ 1890925 w 2967861"/>
                <a:gd name="connsiteY183" fmla="*/ 114244 h 2340761"/>
                <a:gd name="connsiteX184" fmla="*/ 1890925 w 2967861"/>
                <a:gd name="connsiteY184" fmla="*/ 90029 h 2340761"/>
                <a:gd name="connsiteX185" fmla="*/ 1881612 w 2967861"/>
                <a:gd name="connsiteY185" fmla="*/ 77301 h 2340761"/>
                <a:gd name="connsiteX186" fmla="*/ 1873230 w 2967861"/>
                <a:gd name="connsiteY186" fmla="*/ 65815 h 2340761"/>
                <a:gd name="connsiteX187" fmla="*/ 1861743 w 2967861"/>
                <a:gd name="connsiteY187" fmla="*/ 57432 h 2340761"/>
                <a:gd name="connsiteX188" fmla="*/ 1847152 w 2967861"/>
                <a:gd name="connsiteY188" fmla="*/ 49982 h 2340761"/>
                <a:gd name="connsiteX189" fmla="*/ 1847152 w 2967861"/>
                <a:gd name="connsiteY189" fmla="*/ 47809 h 2340761"/>
                <a:gd name="connsiteX190" fmla="*/ 1847152 w 2967861"/>
                <a:gd name="connsiteY190" fmla="*/ 45636 h 2340761"/>
                <a:gd name="connsiteX191" fmla="*/ 1844979 w 2967861"/>
                <a:gd name="connsiteY191" fmla="*/ 43462 h 2340761"/>
                <a:gd name="connsiteX192" fmla="*/ 1844048 w 2967861"/>
                <a:gd name="connsiteY192" fmla="*/ 45636 h 2340761"/>
                <a:gd name="connsiteX193" fmla="*/ 1827284 w 2967861"/>
                <a:gd name="connsiteY193" fmla="*/ 50913 h 2340761"/>
                <a:gd name="connsiteX194" fmla="*/ 1812693 w 2967861"/>
                <a:gd name="connsiteY194" fmla="*/ 53086 h 2340761"/>
                <a:gd name="connsiteX195" fmla="*/ 1800275 w 2967861"/>
                <a:gd name="connsiteY195" fmla="*/ 55259 h 2340761"/>
                <a:gd name="connsiteX196" fmla="*/ 1787857 w 2967861"/>
                <a:gd name="connsiteY196" fmla="*/ 60537 h 2340761"/>
                <a:gd name="connsiteX197" fmla="*/ 1780717 w 2967861"/>
                <a:gd name="connsiteY197" fmla="*/ 50913 h 2340761"/>
                <a:gd name="connsiteX198" fmla="*/ 1773577 w 2967861"/>
                <a:gd name="connsiteY198" fmla="*/ 43462 h 2340761"/>
                <a:gd name="connsiteX199" fmla="*/ 1766436 w 2967861"/>
                <a:gd name="connsiteY199" fmla="*/ 40358 h 2340761"/>
                <a:gd name="connsiteX200" fmla="*/ 1751845 w 2967861"/>
                <a:gd name="connsiteY200" fmla="*/ 36012 h 2340761"/>
                <a:gd name="connsiteX201" fmla="*/ 1752777 w 2967861"/>
                <a:gd name="connsiteY201" fmla="*/ 30734 h 2340761"/>
                <a:gd name="connsiteX202" fmla="*/ 1754950 w 2967861"/>
                <a:gd name="connsiteY202" fmla="*/ 28561 h 2340761"/>
                <a:gd name="connsiteX203" fmla="*/ 1757123 w 2967861"/>
                <a:gd name="connsiteY203" fmla="*/ 25457 h 2340761"/>
                <a:gd name="connsiteX204" fmla="*/ 1760227 w 2967861"/>
                <a:gd name="connsiteY204" fmla="*/ 23283 h 2340761"/>
                <a:gd name="connsiteX205" fmla="*/ 1762401 w 2967861"/>
                <a:gd name="connsiteY205" fmla="*/ 22352 h 2340761"/>
                <a:gd name="connsiteX206" fmla="*/ 1767678 w 2967861"/>
                <a:gd name="connsiteY206" fmla="*/ 20179 h 2340761"/>
                <a:gd name="connsiteX207" fmla="*/ 1766747 w 2967861"/>
                <a:gd name="connsiteY207" fmla="*/ 14901 h 2340761"/>
                <a:gd name="connsiteX208" fmla="*/ 1762711 w 2967861"/>
                <a:gd name="connsiteY208" fmla="*/ 10555 h 2340761"/>
                <a:gd name="connsiteX209" fmla="*/ 1760538 w 2967861"/>
                <a:gd name="connsiteY209" fmla="*/ 7451 h 2340761"/>
                <a:gd name="connsiteX210" fmla="*/ 1759607 w 2967861"/>
                <a:gd name="connsiteY210" fmla="*/ 5278 h 2340761"/>
                <a:gd name="connsiteX211" fmla="*/ 1755571 w 2967861"/>
                <a:gd name="connsiteY211" fmla="*/ 0 h 2340761"/>
                <a:gd name="connsiteX212" fmla="*/ 1735702 w 2967861"/>
                <a:gd name="connsiteY212" fmla="*/ 0 h 2340761"/>
                <a:gd name="connsiteX213" fmla="*/ 1731666 w 2967861"/>
                <a:gd name="connsiteY213" fmla="*/ 18006 h 2340761"/>
                <a:gd name="connsiteX214" fmla="*/ 1721111 w 2967861"/>
                <a:gd name="connsiteY214" fmla="*/ 28561 h 2340761"/>
                <a:gd name="connsiteX215" fmla="*/ 1708693 w 2967861"/>
                <a:gd name="connsiteY215" fmla="*/ 38185 h 2340761"/>
                <a:gd name="connsiteX216" fmla="*/ 1695034 w 2967861"/>
                <a:gd name="connsiteY216" fmla="*/ 45636 h 2340761"/>
                <a:gd name="connsiteX217" fmla="*/ 1679511 w 2967861"/>
                <a:gd name="connsiteY217" fmla="*/ 53086 h 2340761"/>
                <a:gd name="connsiteX218" fmla="*/ 1679511 w 2967861"/>
                <a:gd name="connsiteY218" fmla="*/ 73265 h 2340761"/>
                <a:gd name="connsiteX219" fmla="*/ 1674234 w 2967861"/>
                <a:gd name="connsiteY219" fmla="*/ 73265 h 2340761"/>
                <a:gd name="connsiteX220" fmla="*/ 1668025 w 2967861"/>
                <a:gd name="connsiteY220" fmla="*/ 72334 h 2340761"/>
                <a:gd name="connsiteX221" fmla="*/ 1664921 w 2967861"/>
                <a:gd name="connsiteY221" fmla="*/ 72334 h 2340761"/>
                <a:gd name="connsiteX222" fmla="*/ 1659643 w 2967861"/>
                <a:gd name="connsiteY222" fmla="*/ 70161 h 2340761"/>
                <a:gd name="connsiteX223" fmla="*/ 1653434 w 2967861"/>
                <a:gd name="connsiteY223" fmla="*/ 75438 h 2340761"/>
                <a:gd name="connsiteX224" fmla="*/ 1646294 w 2967861"/>
                <a:gd name="connsiteY224" fmla="*/ 82889 h 2340761"/>
                <a:gd name="connsiteX225" fmla="*/ 1639153 w 2967861"/>
                <a:gd name="connsiteY225" fmla="*/ 88167 h 2340761"/>
                <a:gd name="connsiteX226" fmla="*/ 1632013 w 2967861"/>
                <a:gd name="connsiteY226" fmla="*/ 94376 h 2340761"/>
                <a:gd name="connsiteX227" fmla="*/ 1626736 w 2967861"/>
                <a:gd name="connsiteY227" fmla="*/ 94376 h 2340761"/>
                <a:gd name="connsiteX228" fmla="*/ 1616181 w 2967861"/>
                <a:gd name="connsiteY228" fmla="*/ 94376 h 2340761"/>
                <a:gd name="connsiteX229" fmla="*/ 1601590 w 2967861"/>
                <a:gd name="connsiteY229" fmla="*/ 94376 h 2340761"/>
                <a:gd name="connsiteX230" fmla="*/ 1586999 w 2967861"/>
                <a:gd name="connsiteY230" fmla="*/ 94376 h 2340761"/>
                <a:gd name="connsiteX231" fmla="*/ 1575512 w 2967861"/>
                <a:gd name="connsiteY231" fmla="*/ 94376 h 2340761"/>
                <a:gd name="connsiteX232" fmla="*/ 1572408 w 2967861"/>
                <a:gd name="connsiteY232" fmla="*/ 99653 h 2340761"/>
                <a:gd name="connsiteX233" fmla="*/ 1570235 w 2967861"/>
                <a:gd name="connsiteY233" fmla="*/ 104931 h 2340761"/>
                <a:gd name="connsiteX234" fmla="*/ 1567130 w 2967861"/>
                <a:gd name="connsiteY234" fmla="*/ 110208 h 2340761"/>
                <a:gd name="connsiteX235" fmla="*/ 1564957 w 2967861"/>
                <a:gd name="connsiteY235" fmla="*/ 117659 h 2340761"/>
                <a:gd name="connsiteX236" fmla="*/ 1543226 w 2967861"/>
                <a:gd name="connsiteY236" fmla="*/ 117659 h 2340761"/>
                <a:gd name="connsiteX237" fmla="*/ 1526462 w 2967861"/>
                <a:gd name="connsiteY237" fmla="*/ 123868 h 2340761"/>
                <a:gd name="connsiteX238" fmla="*/ 1511871 w 2967861"/>
                <a:gd name="connsiteY238" fmla="*/ 130077 h 2340761"/>
                <a:gd name="connsiteX239" fmla="*/ 1497280 w 2967861"/>
                <a:gd name="connsiteY239" fmla="*/ 141563 h 2340761"/>
                <a:gd name="connsiteX240" fmla="*/ 1484862 w 2967861"/>
                <a:gd name="connsiteY240" fmla="*/ 152118 h 2340761"/>
                <a:gd name="connsiteX241" fmla="*/ 1468098 w 2967861"/>
                <a:gd name="connsiteY241" fmla="*/ 161742 h 2340761"/>
                <a:gd name="connsiteX242" fmla="*/ 1462821 w 2967861"/>
                <a:gd name="connsiteY242" fmla="*/ 180679 h 2340761"/>
                <a:gd name="connsiteX243" fmla="*/ 1459716 w 2967861"/>
                <a:gd name="connsiteY243" fmla="*/ 198685 h 2340761"/>
                <a:gd name="connsiteX244" fmla="*/ 1455680 w 2967861"/>
                <a:gd name="connsiteY244" fmla="*/ 215760 h 2340761"/>
                <a:gd name="connsiteX245" fmla="*/ 1452576 w 2967861"/>
                <a:gd name="connsiteY245" fmla="*/ 215760 h 2340761"/>
                <a:gd name="connsiteX246" fmla="*/ 1445436 w 2967861"/>
                <a:gd name="connsiteY246" fmla="*/ 198685 h 2340761"/>
                <a:gd name="connsiteX247" fmla="*/ 1419358 w 2967861"/>
                <a:gd name="connsiteY247" fmla="*/ 203963 h 2340761"/>
                <a:gd name="connsiteX248" fmla="*/ 1395454 w 2967861"/>
                <a:gd name="connsiteY248" fmla="*/ 211414 h 2340761"/>
                <a:gd name="connsiteX249" fmla="*/ 1399490 w 2967861"/>
                <a:gd name="connsiteY249" fmla="*/ 233766 h 2340761"/>
                <a:gd name="connsiteX250" fmla="*/ 1404767 w 2967861"/>
                <a:gd name="connsiteY250" fmla="*/ 253945 h 2340761"/>
                <a:gd name="connsiteX251" fmla="*/ 1410045 w 2967861"/>
                <a:gd name="connsiteY251" fmla="*/ 275055 h 2340761"/>
                <a:gd name="connsiteX252" fmla="*/ 1419358 w 2967861"/>
                <a:gd name="connsiteY252" fmla="*/ 290888 h 2340761"/>
                <a:gd name="connsiteX253" fmla="*/ 1431776 w 2967861"/>
                <a:gd name="connsiteY253" fmla="*/ 304547 h 2340761"/>
                <a:gd name="connsiteX254" fmla="*/ 1431776 w 2967861"/>
                <a:gd name="connsiteY254" fmla="*/ 312929 h 2340761"/>
                <a:gd name="connsiteX255" fmla="*/ 1416254 w 2967861"/>
                <a:gd name="connsiteY255" fmla="*/ 302374 h 2340761"/>
                <a:gd name="connsiteX256" fmla="*/ 1399490 w 2967861"/>
                <a:gd name="connsiteY256" fmla="*/ 287473 h 2340761"/>
                <a:gd name="connsiteX257" fmla="*/ 1388934 w 2967861"/>
                <a:gd name="connsiteY257" fmla="*/ 272571 h 2340761"/>
                <a:gd name="connsiteX258" fmla="*/ 1368135 w 2967861"/>
                <a:gd name="connsiteY258" fmla="*/ 272571 h 2340761"/>
                <a:gd name="connsiteX259" fmla="*/ 1352612 w 2967861"/>
                <a:gd name="connsiteY259" fmla="*/ 275676 h 2340761"/>
                <a:gd name="connsiteX260" fmla="*/ 1338953 w 2967861"/>
                <a:gd name="connsiteY260" fmla="*/ 283127 h 2340761"/>
                <a:gd name="connsiteX261" fmla="*/ 1331812 w 2967861"/>
                <a:gd name="connsiteY261" fmla="*/ 274745 h 2340761"/>
                <a:gd name="connsiteX262" fmla="*/ 1328708 w 2967861"/>
                <a:gd name="connsiteY262" fmla="*/ 263258 h 2340761"/>
                <a:gd name="connsiteX263" fmla="*/ 1324672 w 2967861"/>
                <a:gd name="connsiteY263" fmla="*/ 252703 h 2340761"/>
                <a:gd name="connsiteX264" fmla="*/ 1321568 w 2967861"/>
                <a:gd name="connsiteY264" fmla="*/ 250530 h 2340761"/>
                <a:gd name="connsiteX265" fmla="*/ 1321568 w 2967861"/>
                <a:gd name="connsiteY265" fmla="*/ 249909 h 2340761"/>
                <a:gd name="connsiteX266" fmla="*/ 1319394 w 2967861"/>
                <a:gd name="connsiteY266" fmla="*/ 249909 h 2340761"/>
                <a:gd name="connsiteX267" fmla="*/ 1316290 w 2967861"/>
                <a:gd name="connsiteY267" fmla="*/ 249909 h 2340761"/>
                <a:gd name="connsiteX268" fmla="*/ 1312254 w 2967861"/>
                <a:gd name="connsiteY268" fmla="*/ 249909 h 2340761"/>
                <a:gd name="connsiteX269" fmla="*/ 1312254 w 2967861"/>
                <a:gd name="connsiteY269" fmla="*/ 284679 h 2340761"/>
                <a:gd name="connsiteX270" fmla="*/ 1289281 w 2967861"/>
                <a:gd name="connsiteY270" fmla="*/ 305789 h 2340761"/>
                <a:gd name="connsiteX271" fmla="*/ 1294559 w 2967861"/>
                <a:gd name="connsiteY271" fmla="*/ 320691 h 2340761"/>
                <a:gd name="connsiteX272" fmla="*/ 1299837 w 2967861"/>
                <a:gd name="connsiteY272" fmla="*/ 331246 h 2340761"/>
                <a:gd name="connsiteX273" fmla="*/ 1305114 w 2967861"/>
                <a:gd name="connsiteY273" fmla="*/ 343974 h 2340761"/>
                <a:gd name="connsiteX274" fmla="*/ 1309150 w 2967861"/>
                <a:gd name="connsiteY274" fmla="*/ 362911 h 2340761"/>
                <a:gd name="connsiteX275" fmla="*/ 1329018 w 2967861"/>
                <a:gd name="connsiteY275" fmla="*/ 370362 h 2340761"/>
                <a:gd name="connsiteX276" fmla="*/ 1350750 w 2967861"/>
                <a:gd name="connsiteY276" fmla="*/ 378744 h 2340761"/>
                <a:gd name="connsiteX277" fmla="*/ 1368445 w 2967861"/>
                <a:gd name="connsiteY277" fmla="*/ 386195 h 2340761"/>
                <a:gd name="connsiteX278" fmla="*/ 1368445 w 2967861"/>
                <a:gd name="connsiteY278" fmla="*/ 392403 h 2340761"/>
                <a:gd name="connsiteX279" fmla="*/ 1350750 w 2967861"/>
                <a:gd name="connsiteY279" fmla="*/ 386195 h 2340761"/>
                <a:gd name="connsiteX280" fmla="*/ 1332123 w 2967861"/>
                <a:gd name="connsiteY280" fmla="*/ 386195 h 2340761"/>
                <a:gd name="connsiteX281" fmla="*/ 1312254 w 2967861"/>
                <a:gd name="connsiteY281" fmla="*/ 386195 h 2340761"/>
                <a:gd name="connsiteX282" fmla="*/ 1314427 w 2967861"/>
                <a:gd name="connsiteY282" fmla="*/ 401096 h 2340761"/>
                <a:gd name="connsiteX283" fmla="*/ 1316601 w 2967861"/>
                <a:gd name="connsiteY283" fmla="*/ 418170 h 2340761"/>
                <a:gd name="connsiteX284" fmla="*/ 1319705 w 2967861"/>
                <a:gd name="connsiteY284" fmla="*/ 435245 h 2340761"/>
                <a:gd name="connsiteX285" fmla="*/ 1316601 w 2967861"/>
                <a:gd name="connsiteY285" fmla="*/ 453251 h 2340761"/>
                <a:gd name="connsiteX286" fmla="*/ 1310392 w 2967861"/>
                <a:gd name="connsiteY286" fmla="*/ 464737 h 2340761"/>
                <a:gd name="connsiteX287" fmla="*/ 1303251 w 2967861"/>
                <a:gd name="connsiteY287" fmla="*/ 479639 h 2340761"/>
                <a:gd name="connsiteX288" fmla="*/ 1296111 w 2967861"/>
                <a:gd name="connsiteY288" fmla="*/ 492367 h 2340761"/>
                <a:gd name="connsiteX289" fmla="*/ 1293006 w 2967861"/>
                <a:gd name="connsiteY289" fmla="*/ 494540 h 2340761"/>
                <a:gd name="connsiteX290" fmla="*/ 1290833 w 2967861"/>
                <a:gd name="connsiteY290" fmla="*/ 495472 h 2340761"/>
                <a:gd name="connsiteX291" fmla="*/ 1289902 w 2967861"/>
                <a:gd name="connsiteY291" fmla="*/ 497645 h 2340761"/>
                <a:gd name="connsiteX292" fmla="*/ 1269102 w 2967861"/>
                <a:gd name="connsiteY292" fmla="*/ 497645 h 2340761"/>
                <a:gd name="connsiteX293" fmla="*/ 1269102 w 2967861"/>
                <a:gd name="connsiteY293" fmla="*/ 492057 h 2340761"/>
                <a:gd name="connsiteX294" fmla="*/ 1276243 w 2967861"/>
                <a:gd name="connsiteY294" fmla="*/ 489883 h 2340761"/>
                <a:gd name="connsiteX295" fmla="*/ 1282452 w 2967861"/>
                <a:gd name="connsiteY295" fmla="*/ 486779 h 2340761"/>
                <a:gd name="connsiteX296" fmla="*/ 1287729 w 2967861"/>
                <a:gd name="connsiteY296" fmla="*/ 484606 h 2340761"/>
                <a:gd name="connsiteX297" fmla="*/ 1290833 w 2967861"/>
                <a:gd name="connsiteY297" fmla="*/ 480260 h 2340761"/>
                <a:gd name="connsiteX298" fmla="*/ 1296111 w 2967861"/>
                <a:gd name="connsiteY298" fmla="*/ 477155 h 2340761"/>
                <a:gd name="connsiteX299" fmla="*/ 1296111 w 2967861"/>
                <a:gd name="connsiteY299" fmla="*/ 460081 h 2340761"/>
                <a:gd name="connsiteX300" fmla="*/ 1300147 w 2967861"/>
                <a:gd name="connsiteY300" fmla="*/ 447352 h 2340761"/>
                <a:gd name="connsiteX301" fmla="*/ 1305424 w 2967861"/>
                <a:gd name="connsiteY301" fmla="*/ 435866 h 2340761"/>
                <a:gd name="connsiteX302" fmla="*/ 1302320 w 2967861"/>
                <a:gd name="connsiteY302" fmla="*/ 429657 h 2340761"/>
                <a:gd name="connsiteX303" fmla="*/ 1300147 w 2967861"/>
                <a:gd name="connsiteY303" fmla="*/ 423448 h 2340761"/>
                <a:gd name="connsiteX304" fmla="*/ 1296111 w 2967861"/>
                <a:gd name="connsiteY304" fmla="*/ 420344 h 2340761"/>
                <a:gd name="connsiteX305" fmla="*/ 1293006 w 2967861"/>
                <a:gd name="connsiteY305" fmla="*/ 415997 h 2340761"/>
                <a:gd name="connsiteX306" fmla="*/ 1290833 w 2967861"/>
                <a:gd name="connsiteY306" fmla="*/ 412893 h 2340761"/>
                <a:gd name="connsiteX307" fmla="*/ 1289902 w 2967861"/>
                <a:gd name="connsiteY307" fmla="*/ 407615 h 2340761"/>
                <a:gd name="connsiteX308" fmla="*/ 1289902 w 2967861"/>
                <a:gd name="connsiteY308" fmla="*/ 400165 h 2340761"/>
                <a:gd name="connsiteX309" fmla="*/ 1293006 w 2967861"/>
                <a:gd name="connsiteY309" fmla="*/ 390541 h 2340761"/>
                <a:gd name="connsiteX310" fmla="*/ 1296111 w 2967861"/>
                <a:gd name="connsiteY310" fmla="*/ 379054 h 2340761"/>
                <a:gd name="connsiteX311" fmla="*/ 1296111 w 2967861"/>
                <a:gd name="connsiteY311" fmla="*/ 366326 h 2340761"/>
                <a:gd name="connsiteX312" fmla="*/ 1293006 w 2967861"/>
                <a:gd name="connsiteY312" fmla="*/ 355771 h 2340761"/>
                <a:gd name="connsiteX313" fmla="*/ 1289902 w 2967861"/>
                <a:gd name="connsiteY313" fmla="*/ 340870 h 2340761"/>
                <a:gd name="connsiteX314" fmla="*/ 1283693 w 2967861"/>
                <a:gd name="connsiteY314" fmla="*/ 328141 h 2340761"/>
                <a:gd name="connsiteX315" fmla="*/ 1280589 w 2967861"/>
                <a:gd name="connsiteY315" fmla="*/ 318517 h 2340761"/>
                <a:gd name="connsiteX316" fmla="*/ 1282762 w 2967861"/>
                <a:gd name="connsiteY316" fmla="*/ 311067 h 2340761"/>
                <a:gd name="connsiteX317" fmla="*/ 1283693 w 2967861"/>
                <a:gd name="connsiteY317" fmla="*/ 299580 h 2340761"/>
                <a:gd name="connsiteX318" fmla="*/ 1287729 w 2967861"/>
                <a:gd name="connsiteY318" fmla="*/ 286852 h 2340761"/>
                <a:gd name="connsiteX319" fmla="*/ 1290833 w 2967861"/>
                <a:gd name="connsiteY319" fmla="*/ 271951 h 2340761"/>
                <a:gd name="connsiteX320" fmla="*/ 1293006 w 2967861"/>
                <a:gd name="connsiteY320" fmla="*/ 257049 h 2340761"/>
                <a:gd name="connsiteX321" fmla="*/ 1285866 w 2967861"/>
                <a:gd name="connsiteY321" fmla="*/ 249598 h 2340761"/>
                <a:gd name="connsiteX322" fmla="*/ 1280589 w 2967861"/>
                <a:gd name="connsiteY322" fmla="*/ 239975 h 2340761"/>
                <a:gd name="connsiteX323" fmla="*/ 1260720 w 2967861"/>
                <a:gd name="connsiteY323" fmla="*/ 239043 h 2340761"/>
                <a:gd name="connsiteX324" fmla="*/ 1243956 w 2967861"/>
                <a:gd name="connsiteY324" fmla="*/ 239975 h 2340761"/>
                <a:gd name="connsiteX325" fmla="*/ 1234643 w 2967861"/>
                <a:gd name="connsiteY325" fmla="*/ 246184 h 2340761"/>
                <a:gd name="connsiteX326" fmla="*/ 1227502 w 2967861"/>
                <a:gd name="connsiteY326" fmla="*/ 254566 h 2340761"/>
                <a:gd name="connsiteX327" fmla="*/ 1222225 w 2967861"/>
                <a:gd name="connsiteY327" fmla="*/ 266052 h 2340761"/>
                <a:gd name="connsiteX328" fmla="*/ 1218189 w 2967861"/>
                <a:gd name="connsiteY328" fmla="*/ 276607 h 2340761"/>
                <a:gd name="connsiteX329" fmla="*/ 1215085 w 2967861"/>
                <a:gd name="connsiteY329" fmla="*/ 290267 h 2340761"/>
                <a:gd name="connsiteX330" fmla="*/ 1211049 w 2967861"/>
                <a:gd name="connsiteY330" fmla="*/ 300822 h 2340761"/>
                <a:gd name="connsiteX331" fmla="*/ 1203909 w 2967861"/>
                <a:gd name="connsiteY331" fmla="*/ 310446 h 2340761"/>
                <a:gd name="connsiteX332" fmla="*/ 1193353 w 2967861"/>
                <a:gd name="connsiteY332" fmla="*/ 317896 h 2340761"/>
                <a:gd name="connsiteX333" fmla="*/ 1196458 w 2967861"/>
                <a:gd name="connsiteY333" fmla="*/ 338075 h 2340761"/>
                <a:gd name="connsiteX334" fmla="*/ 1198631 w 2967861"/>
                <a:gd name="connsiteY334" fmla="*/ 352977 h 2340761"/>
                <a:gd name="connsiteX335" fmla="*/ 1202667 w 2967861"/>
                <a:gd name="connsiteY335" fmla="*/ 370051 h 2340761"/>
                <a:gd name="connsiteX336" fmla="*/ 1200494 w 2967861"/>
                <a:gd name="connsiteY336" fmla="*/ 392403 h 2340761"/>
                <a:gd name="connsiteX337" fmla="*/ 1217258 w 2967861"/>
                <a:gd name="connsiteY337" fmla="*/ 392403 h 2340761"/>
                <a:gd name="connsiteX338" fmla="*/ 1218189 w 2967861"/>
                <a:gd name="connsiteY338" fmla="*/ 399854 h 2340761"/>
                <a:gd name="connsiteX339" fmla="*/ 1222225 w 2967861"/>
                <a:gd name="connsiteY339" fmla="*/ 405132 h 2340761"/>
                <a:gd name="connsiteX340" fmla="*/ 1224398 w 2967861"/>
                <a:gd name="connsiteY340" fmla="*/ 410409 h 2340761"/>
                <a:gd name="connsiteX341" fmla="*/ 1227502 w 2967861"/>
                <a:gd name="connsiteY341" fmla="*/ 414756 h 2340761"/>
                <a:gd name="connsiteX342" fmla="*/ 1232780 w 2967861"/>
                <a:gd name="connsiteY342" fmla="*/ 420033 h 2340761"/>
                <a:gd name="connsiteX343" fmla="*/ 1231849 w 2967861"/>
                <a:gd name="connsiteY343" fmla="*/ 423138 h 2340761"/>
                <a:gd name="connsiteX344" fmla="*/ 1231849 w 2967861"/>
                <a:gd name="connsiteY344" fmla="*/ 425311 h 2340761"/>
                <a:gd name="connsiteX345" fmla="*/ 1229676 w 2967861"/>
                <a:gd name="connsiteY345" fmla="*/ 427484 h 2340761"/>
                <a:gd name="connsiteX346" fmla="*/ 1220362 w 2967861"/>
                <a:gd name="connsiteY346" fmla="*/ 423138 h 2340761"/>
                <a:gd name="connsiteX347" fmla="*/ 1205771 w 2967861"/>
                <a:gd name="connsiteY347" fmla="*/ 415687 h 2340761"/>
                <a:gd name="connsiteX348" fmla="*/ 1190249 w 2967861"/>
                <a:gd name="connsiteY348" fmla="*/ 402959 h 2340761"/>
                <a:gd name="connsiteX349" fmla="*/ 1171622 w 2967861"/>
                <a:gd name="connsiteY349" fmla="*/ 390230 h 2340761"/>
                <a:gd name="connsiteX350" fmla="*/ 1159204 w 2967861"/>
                <a:gd name="connsiteY350" fmla="*/ 377502 h 2340761"/>
                <a:gd name="connsiteX351" fmla="*/ 1149891 w 2967861"/>
                <a:gd name="connsiteY351" fmla="*/ 366016 h 2340761"/>
                <a:gd name="connsiteX352" fmla="*/ 1142751 w 2967861"/>
                <a:gd name="connsiteY352" fmla="*/ 366016 h 2340761"/>
                <a:gd name="connsiteX353" fmla="*/ 1135611 w 2967861"/>
                <a:gd name="connsiteY353" fmla="*/ 366016 h 2340761"/>
                <a:gd name="connsiteX354" fmla="*/ 1130333 w 2967861"/>
                <a:gd name="connsiteY354" fmla="*/ 363842 h 2340761"/>
                <a:gd name="connsiteX355" fmla="*/ 1126297 w 2967861"/>
                <a:gd name="connsiteY355" fmla="*/ 362911 h 2340761"/>
                <a:gd name="connsiteX356" fmla="*/ 1119157 w 2967861"/>
                <a:gd name="connsiteY356" fmla="*/ 366016 h 2340761"/>
                <a:gd name="connsiteX357" fmla="*/ 1116052 w 2967861"/>
                <a:gd name="connsiteY357" fmla="*/ 368189 h 2340761"/>
                <a:gd name="connsiteX358" fmla="*/ 1112017 w 2967861"/>
                <a:gd name="connsiteY358" fmla="*/ 371293 h 2340761"/>
                <a:gd name="connsiteX359" fmla="*/ 1106739 w 2967861"/>
                <a:gd name="connsiteY359" fmla="*/ 375639 h 2340761"/>
                <a:gd name="connsiteX360" fmla="*/ 1106739 w 2967861"/>
                <a:gd name="connsiteY360" fmla="*/ 383090 h 2340761"/>
                <a:gd name="connsiteX361" fmla="*/ 1106739 w 2967861"/>
                <a:gd name="connsiteY361" fmla="*/ 388368 h 2340761"/>
                <a:gd name="connsiteX362" fmla="*/ 1108912 w 2967861"/>
                <a:gd name="connsiteY362" fmla="*/ 392714 h 2340761"/>
                <a:gd name="connsiteX363" fmla="*/ 1111085 w 2967861"/>
                <a:gd name="connsiteY363" fmla="*/ 395818 h 2340761"/>
                <a:gd name="connsiteX364" fmla="*/ 1114190 w 2967861"/>
                <a:gd name="connsiteY364" fmla="*/ 400165 h 2340761"/>
                <a:gd name="connsiteX365" fmla="*/ 1114190 w 2967861"/>
                <a:gd name="connsiteY365" fmla="*/ 405442 h 2340761"/>
                <a:gd name="connsiteX366" fmla="*/ 1112017 w 2967861"/>
                <a:gd name="connsiteY366" fmla="*/ 410720 h 2340761"/>
                <a:gd name="connsiteX367" fmla="*/ 1112017 w 2967861"/>
                <a:gd name="connsiteY367" fmla="*/ 415066 h 2340761"/>
                <a:gd name="connsiteX368" fmla="*/ 1111085 w 2967861"/>
                <a:gd name="connsiteY368" fmla="*/ 415997 h 2340761"/>
                <a:gd name="connsiteX369" fmla="*/ 1108912 w 2967861"/>
                <a:gd name="connsiteY369" fmla="*/ 420344 h 2340761"/>
                <a:gd name="connsiteX370" fmla="*/ 1106739 w 2967861"/>
                <a:gd name="connsiteY370" fmla="*/ 423448 h 2340761"/>
                <a:gd name="connsiteX371" fmla="*/ 1099599 w 2967861"/>
                <a:gd name="connsiteY371" fmla="*/ 422517 h 2340761"/>
                <a:gd name="connsiteX372" fmla="*/ 1096495 w 2967861"/>
                <a:gd name="connsiteY372" fmla="*/ 422517 h 2340761"/>
                <a:gd name="connsiteX373" fmla="*/ 1094321 w 2967861"/>
                <a:gd name="connsiteY373" fmla="*/ 420344 h 2340761"/>
                <a:gd name="connsiteX374" fmla="*/ 1092148 w 2967861"/>
                <a:gd name="connsiteY374" fmla="*/ 418170 h 2340761"/>
                <a:gd name="connsiteX375" fmla="*/ 1089044 w 2967861"/>
                <a:gd name="connsiteY375" fmla="*/ 415066 h 2340761"/>
                <a:gd name="connsiteX376" fmla="*/ 1086871 w 2967861"/>
                <a:gd name="connsiteY376" fmla="*/ 412893 h 2340761"/>
                <a:gd name="connsiteX377" fmla="*/ 1083766 w 2967861"/>
                <a:gd name="connsiteY377" fmla="*/ 412893 h 2340761"/>
                <a:gd name="connsiteX378" fmla="*/ 1072280 w 2967861"/>
                <a:gd name="connsiteY378" fmla="*/ 415997 h 2340761"/>
                <a:gd name="connsiteX379" fmla="*/ 1061724 w 2967861"/>
                <a:gd name="connsiteY379" fmla="*/ 420344 h 2340761"/>
                <a:gd name="connsiteX380" fmla="*/ 1048065 w 2967861"/>
                <a:gd name="connsiteY380" fmla="*/ 425621 h 2340761"/>
                <a:gd name="connsiteX381" fmla="*/ 1035647 w 2967861"/>
                <a:gd name="connsiteY381" fmla="*/ 430899 h 2340761"/>
                <a:gd name="connsiteX382" fmla="*/ 1030369 w 2967861"/>
                <a:gd name="connsiteY382" fmla="*/ 436176 h 2340761"/>
                <a:gd name="connsiteX383" fmla="*/ 1021056 w 2967861"/>
                <a:gd name="connsiteY383" fmla="*/ 436176 h 2340761"/>
                <a:gd name="connsiteX384" fmla="*/ 1028196 w 2967861"/>
                <a:gd name="connsiteY384" fmla="*/ 425621 h 2340761"/>
                <a:gd name="connsiteX385" fmla="*/ 1035336 w 2967861"/>
                <a:gd name="connsiteY385" fmla="*/ 420344 h 2340761"/>
                <a:gd name="connsiteX386" fmla="*/ 1044650 w 2967861"/>
                <a:gd name="connsiteY386" fmla="*/ 415066 h 2340761"/>
                <a:gd name="connsiteX387" fmla="*/ 1053963 w 2967861"/>
                <a:gd name="connsiteY387" fmla="*/ 407615 h 2340761"/>
                <a:gd name="connsiteX388" fmla="*/ 1040304 w 2967861"/>
                <a:gd name="connsiteY388" fmla="*/ 403269 h 2340761"/>
                <a:gd name="connsiteX389" fmla="*/ 1025713 w 2967861"/>
                <a:gd name="connsiteY389" fmla="*/ 400165 h 2340761"/>
                <a:gd name="connsiteX390" fmla="*/ 1010190 w 2967861"/>
                <a:gd name="connsiteY390" fmla="*/ 400165 h 2340761"/>
                <a:gd name="connsiteX391" fmla="*/ 1008017 w 2967861"/>
                <a:gd name="connsiteY391" fmla="*/ 407615 h 2340761"/>
                <a:gd name="connsiteX392" fmla="*/ 1008017 w 2967861"/>
                <a:gd name="connsiteY392" fmla="*/ 412893 h 2340761"/>
                <a:gd name="connsiteX393" fmla="*/ 1005844 w 2967861"/>
                <a:gd name="connsiteY393" fmla="*/ 415997 h 2340761"/>
                <a:gd name="connsiteX394" fmla="*/ 1003671 w 2967861"/>
                <a:gd name="connsiteY394" fmla="*/ 420344 h 2340761"/>
                <a:gd name="connsiteX395" fmla="*/ 1000567 w 2967861"/>
                <a:gd name="connsiteY395" fmla="*/ 423448 h 2340761"/>
                <a:gd name="connsiteX396" fmla="*/ 1000567 w 2967861"/>
                <a:gd name="connsiteY396" fmla="*/ 427794 h 2340761"/>
                <a:gd name="connsiteX397" fmla="*/ 996531 w 2967861"/>
                <a:gd name="connsiteY397" fmla="*/ 425621 h 2340761"/>
                <a:gd name="connsiteX398" fmla="*/ 995600 w 2967861"/>
                <a:gd name="connsiteY398" fmla="*/ 422517 h 2340761"/>
                <a:gd name="connsiteX399" fmla="*/ 993426 w 2967861"/>
                <a:gd name="connsiteY399" fmla="*/ 420344 h 2340761"/>
                <a:gd name="connsiteX400" fmla="*/ 991253 w 2967861"/>
                <a:gd name="connsiteY400" fmla="*/ 415997 h 2340761"/>
                <a:gd name="connsiteX401" fmla="*/ 990322 w 2967861"/>
                <a:gd name="connsiteY401" fmla="*/ 412893 h 2340761"/>
                <a:gd name="connsiteX402" fmla="*/ 986286 w 2967861"/>
                <a:gd name="connsiteY402" fmla="*/ 410720 h 2340761"/>
                <a:gd name="connsiteX403" fmla="*/ 983182 w 2967861"/>
                <a:gd name="connsiteY403" fmla="*/ 408547 h 2340761"/>
                <a:gd name="connsiteX404" fmla="*/ 981009 w 2967861"/>
                <a:gd name="connsiteY404" fmla="*/ 410720 h 2340761"/>
                <a:gd name="connsiteX405" fmla="*/ 975731 w 2967861"/>
                <a:gd name="connsiteY405" fmla="*/ 410720 h 2340761"/>
                <a:gd name="connsiteX406" fmla="*/ 969522 w 2967861"/>
                <a:gd name="connsiteY406" fmla="*/ 412893 h 2340761"/>
                <a:gd name="connsiteX407" fmla="*/ 957104 w 2967861"/>
                <a:gd name="connsiteY407" fmla="*/ 429967 h 2340761"/>
                <a:gd name="connsiteX408" fmla="*/ 942513 w 2967861"/>
                <a:gd name="connsiteY408" fmla="*/ 443627 h 2340761"/>
                <a:gd name="connsiteX409" fmla="*/ 930095 w 2967861"/>
                <a:gd name="connsiteY409" fmla="*/ 460702 h 2340761"/>
                <a:gd name="connsiteX410" fmla="*/ 932269 w 2967861"/>
                <a:gd name="connsiteY410" fmla="*/ 465979 h 2340761"/>
                <a:gd name="connsiteX411" fmla="*/ 932269 w 2967861"/>
                <a:gd name="connsiteY411" fmla="*/ 470325 h 2340761"/>
                <a:gd name="connsiteX412" fmla="*/ 932269 w 2967861"/>
                <a:gd name="connsiteY412" fmla="*/ 475603 h 2340761"/>
                <a:gd name="connsiteX413" fmla="*/ 932269 w 2967861"/>
                <a:gd name="connsiteY413" fmla="*/ 479949 h 2340761"/>
                <a:gd name="connsiteX414" fmla="*/ 930095 w 2967861"/>
                <a:gd name="connsiteY414" fmla="*/ 485227 h 2340761"/>
                <a:gd name="connsiteX415" fmla="*/ 926060 w 2967861"/>
                <a:gd name="connsiteY415" fmla="*/ 487400 h 2340761"/>
                <a:gd name="connsiteX416" fmla="*/ 925128 w 2967861"/>
                <a:gd name="connsiteY416" fmla="*/ 487400 h 2340761"/>
                <a:gd name="connsiteX417" fmla="*/ 922955 w 2967861"/>
                <a:gd name="connsiteY417" fmla="*/ 488331 h 2340761"/>
                <a:gd name="connsiteX418" fmla="*/ 920782 w 2967861"/>
                <a:gd name="connsiteY418" fmla="*/ 488331 h 2340761"/>
                <a:gd name="connsiteX419" fmla="*/ 915504 w 2967861"/>
                <a:gd name="connsiteY419" fmla="*/ 488331 h 2340761"/>
                <a:gd name="connsiteX420" fmla="*/ 911469 w 2967861"/>
                <a:gd name="connsiteY420" fmla="*/ 487400 h 2340761"/>
                <a:gd name="connsiteX421" fmla="*/ 908364 w 2967861"/>
                <a:gd name="connsiteY421" fmla="*/ 485227 h 2340761"/>
                <a:gd name="connsiteX422" fmla="*/ 906191 w 2967861"/>
                <a:gd name="connsiteY422" fmla="*/ 483054 h 2340761"/>
                <a:gd name="connsiteX423" fmla="*/ 900914 w 2967861"/>
                <a:gd name="connsiteY423" fmla="*/ 480881 h 2340761"/>
                <a:gd name="connsiteX424" fmla="*/ 900914 w 2967861"/>
                <a:gd name="connsiteY424" fmla="*/ 460702 h 2340761"/>
                <a:gd name="connsiteX425" fmla="*/ 908054 w 2967861"/>
                <a:gd name="connsiteY425" fmla="*/ 460702 h 2340761"/>
                <a:gd name="connsiteX426" fmla="*/ 911158 w 2967861"/>
                <a:gd name="connsiteY426" fmla="*/ 458528 h 2340761"/>
                <a:gd name="connsiteX427" fmla="*/ 913331 w 2967861"/>
                <a:gd name="connsiteY427" fmla="*/ 458528 h 2340761"/>
                <a:gd name="connsiteX428" fmla="*/ 917367 w 2967861"/>
                <a:gd name="connsiteY428" fmla="*/ 457597 h 2340761"/>
                <a:gd name="connsiteX429" fmla="*/ 917367 w 2967861"/>
                <a:gd name="connsiteY429" fmla="*/ 447973 h 2340761"/>
                <a:gd name="connsiteX430" fmla="*/ 911158 w 2967861"/>
                <a:gd name="connsiteY430" fmla="*/ 438349 h 2340761"/>
                <a:gd name="connsiteX431" fmla="*/ 904018 w 2967861"/>
                <a:gd name="connsiteY431" fmla="*/ 427794 h 2340761"/>
                <a:gd name="connsiteX432" fmla="*/ 896878 w 2967861"/>
                <a:gd name="connsiteY432" fmla="*/ 420344 h 2340761"/>
                <a:gd name="connsiteX433" fmla="*/ 866765 w 2967861"/>
                <a:gd name="connsiteY433" fmla="*/ 420344 h 2340761"/>
                <a:gd name="connsiteX434" fmla="*/ 873905 w 2967861"/>
                <a:gd name="connsiteY434" fmla="*/ 464737 h 2340761"/>
                <a:gd name="connsiteX435" fmla="*/ 877009 w 2967861"/>
                <a:gd name="connsiteY435" fmla="*/ 504785 h 2340761"/>
                <a:gd name="connsiteX436" fmla="*/ 869869 w 2967861"/>
                <a:gd name="connsiteY436" fmla="*/ 502612 h 2340761"/>
                <a:gd name="connsiteX437" fmla="*/ 862729 w 2967861"/>
                <a:gd name="connsiteY437" fmla="*/ 501680 h 2340761"/>
                <a:gd name="connsiteX438" fmla="*/ 855588 w 2967861"/>
                <a:gd name="connsiteY438" fmla="*/ 499507 h 2340761"/>
                <a:gd name="connsiteX439" fmla="*/ 850311 w 2967861"/>
                <a:gd name="connsiteY439" fmla="*/ 497334 h 2340761"/>
                <a:gd name="connsiteX440" fmla="*/ 840997 w 2967861"/>
                <a:gd name="connsiteY440" fmla="*/ 510062 h 2340761"/>
                <a:gd name="connsiteX441" fmla="*/ 830442 w 2967861"/>
                <a:gd name="connsiteY441" fmla="*/ 521549 h 2340761"/>
                <a:gd name="connsiteX442" fmla="*/ 813678 w 2967861"/>
                <a:gd name="connsiteY442" fmla="*/ 529000 h 2340761"/>
                <a:gd name="connsiteX443" fmla="*/ 815851 w 2967861"/>
                <a:gd name="connsiteY443" fmla="*/ 534277 h 2340761"/>
                <a:gd name="connsiteX444" fmla="*/ 815851 w 2967861"/>
                <a:gd name="connsiteY444" fmla="*/ 537382 h 2340761"/>
                <a:gd name="connsiteX445" fmla="*/ 815851 w 2967861"/>
                <a:gd name="connsiteY445" fmla="*/ 539555 h 2340761"/>
                <a:gd name="connsiteX446" fmla="*/ 818025 w 2967861"/>
                <a:gd name="connsiteY446" fmla="*/ 541728 h 2340761"/>
                <a:gd name="connsiteX447" fmla="*/ 818956 w 2967861"/>
                <a:gd name="connsiteY447" fmla="*/ 543901 h 2340761"/>
                <a:gd name="connsiteX448" fmla="*/ 821129 w 2967861"/>
                <a:gd name="connsiteY448" fmla="*/ 544832 h 2340761"/>
                <a:gd name="connsiteX449" fmla="*/ 821129 w 2967861"/>
                <a:gd name="connsiteY449" fmla="*/ 551041 h 2340761"/>
                <a:gd name="connsiteX450" fmla="*/ 818956 w 2967861"/>
                <a:gd name="connsiteY450" fmla="*/ 556319 h 2340761"/>
                <a:gd name="connsiteX451" fmla="*/ 818025 w 2967861"/>
                <a:gd name="connsiteY451" fmla="*/ 558492 h 2340761"/>
                <a:gd name="connsiteX452" fmla="*/ 815851 w 2967861"/>
                <a:gd name="connsiteY452" fmla="*/ 561596 h 2340761"/>
                <a:gd name="connsiteX453" fmla="*/ 813678 w 2967861"/>
                <a:gd name="connsiteY453" fmla="*/ 565943 h 2340761"/>
                <a:gd name="connsiteX454" fmla="*/ 799087 w 2967861"/>
                <a:gd name="connsiteY454" fmla="*/ 559734 h 2340761"/>
                <a:gd name="connsiteX455" fmla="*/ 786669 w 2967861"/>
                <a:gd name="connsiteY455" fmla="*/ 552283 h 2340761"/>
                <a:gd name="connsiteX456" fmla="*/ 774252 w 2967861"/>
                <a:gd name="connsiteY456" fmla="*/ 544832 h 2340761"/>
                <a:gd name="connsiteX457" fmla="*/ 774252 w 2967861"/>
                <a:gd name="connsiteY457" fmla="*/ 549179 h 2340761"/>
                <a:gd name="connsiteX458" fmla="*/ 767732 w 2967861"/>
                <a:gd name="connsiteY458" fmla="*/ 549179 h 2340761"/>
                <a:gd name="connsiteX459" fmla="*/ 767732 w 2967861"/>
                <a:gd name="connsiteY459" fmla="*/ 559734 h 2340761"/>
                <a:gd name="connsiteX460" fmla="*/ 769906 w 2967861"/>
                <a:gd name="connsiteY460" fmla="*/ 569358 h 2340761"/>
                <a:gd name="connsiteX461" fmla="*/ 772079 w 2967861"/>
                <a:gd name="connsiteY461" fmla="*/ 582086 h 2340761"/>
                <a:gd name="connsiteX462" fmla="*/ 764938 w 2967861"/>
                <a:gd name="connsiteY462" fmla="*/ 581155 h 2340761"/>
                <a:gd name="connsiteX463" fmla="*/ 760903 w 2967861"/>
                <a:gd name="connsiteY463" fmla="*/ 576808 h 2340761"/>
                <a:gd name="connsiteX464" fmla="*/ 755625 w 2967861"/>
                <a:gd name="connsiteY464" fmla="*/ 574635 h 2340761"/>
                <a:gd name="connsiteX465" fmla="*/ 752520 w 2967861"/>
                <a:gd name="connsiteY465" fmla="*/ 569358 h 2340761"/>
                <a:gd name="connsiteX466" fmla="*/ 748485 w 2967861"/>
                <a:gd name="connsiteY466" fmla="*/ 559734 h 2340761"/>
                <a:gd name="connsiteX467" fmla="*/ 745380 w 2967861"/>
                <a:gd name="connsiteY467" fmla="*/ 544832 h 2340761"/>
                <a:gd name="connsiteX468" fmla="*/ 743207 w 2967861"/>
                <a:gd name="connsiteY468" fmla="*/ 526827 h 2340761"/>
                <a:gd name="connsiteX469" fmla="*/ 741034 w 2967861"/>
                <a:gd name="connsiteY469" fmla="*/ 509752 h 2340761"/>
                <a:gd name="connsiteX470" fmla="*/ 738861 w 2967861"/>
                <a:gd name="connsiteY470" fmla="*/ 497024 h 2340761"/>
                <a:gd name="connsiteX471" fmla="*/ 753452 w 2967861"/>
                <a:gd name="connsiteY471" fmla="*/ 502301 h 2340761"/>
                <a:gd name="connsiteX472" fmla="*/ 768043 w 2967861"/>
                <a:gd name="connsiteY472" fmla="*/ 509752 h 2340761"/>
                <a:gd name="connsiteX473" fmla="*/ 784807 w 2967861"/>
                <a:gd name="connsiteY473" fmla="*/ 517203 h 2340761"/>
                <a:gd name="connsiteX474" fmla="*/ 802502 w 2967861"/>
                <a:gd name="connsiteY474" fmla="*/ 517203 h 2340761"/>
                <a:gd name="connsiteX475" fmla="*/ 819266 w 2967861"/>
                <a:gd name="connsiteY475" fmla="*/ 508821 h 2340761"/>
                <a:gd name="connsiteX476" fmla="*/ 831684 w 2967861"/>
                <a:gd name="connsiteY476" fmla="*/ 495161 h 2340761"/>
                <a:gd name="connsiteX477" fmla="*/ 833857 w 2967861"/>
                <a:gd name="connsiteY477" fmla="*/ 479328 h 2340761"/>
                <a:gd name="connsiteX478" fmla="*/ 830753 w 2967861"/>
                <a:gd name="connsiteY478" fmla="*/ 462254 h 2340761"/>
                <a:gd name="connsiteX479" fmla="*/ 819266 w 2967861"/>
                <a:gd name="connsiteY479" fmla="*/ 445179 h 2340761"/>
                <a:gd name="connsiteX480" fmla="*/ 806848 w 2967861"/>
                <a:gd name="connsiteY480" fmla="*/ 429347 h 2340761"/>
                <a:gd name="connsiteX481" fmla="*/ 792258 w 2967861"/>
                <a:gd name="connsiteY481" fmla="*/ 414445 h 2340761"/>
                <a:gd name="connsiteX482" fmla="*/ 777667 w 2967861"/>
                <a:gd name="connsiteY482" fmla="*/ 402959 h 2340761"/>
                <a:gd name="connsiteX483" fmla="*/ 765249 w 2967861"/>
                <a:gd name="connsiteY483" fmla="*/ 395508 h 2340761"/>
                <a:gd name="connsiteX484" fmla="*/ 732031 w 2967861"/>
                <a:gd name="connsiteY484" fmla="*/ 392403 h 2340761"/>
                <a:gd name="connsiteX485" fmla="*/ 726753 w 2967861"/>
                <a:gd name="connsiteY485" fmla="*/ 386195 h 2340761"/>
                <a:gd name="connsiteX486" fmla="*/ 721476 w 2967861"/>
                <a:gd name="connsiteY486" fmla="*/ 380917 h 2340761"/>
                <a:gd name="connsiteX487" fmla="*/ 719303 w 2967861"/>
                <a:gd name="connsiteY487" fmla="*/ 375639 h 2340761"/>
                <a:gd name="connsiteX488" fmla="*/ 717130 w 2967861"/>
                <a:gd name="connsiteY488" fmla="*/ 371293 h 2340761"/>
                <a:gd name="connsiteX489" fmla="*/ 711852 w 2967861"/>
                <a:gd name="connsiteY489" fmla="*/ 371293 h 2340761"/>
                <a:gd name="connsiteX490" fmla="*/ 704712 w 2967861"/>
                <a:gd name="connsiteY490" fmla="*/ 373466 h 2340761"/>
                <a:gd name="connsiteX491" fmla="*/ 692294 w 2967861"/>
                <a:gd name="connsiteY491" fmla="*/ 378744 h 2340761"/>
                <a:gd name="connsiteX492" fmla="*/ 690121 w 2967861"/>
                <a:gd name="connsiteY492" fmla="*/ 375639 h 2340761"/>
                <a:gd name="connsiteX493" fmla="*/ 689190 w 2967861"/>
                <a:gd name="connsiteY493" fmla="*/ 373466 h 2340761"/>
                <a:gd name="connsiteX494" fmla="*/ 687016 w 2967861"/>
                <a:gd name="connsiteY494" fmla="*/ 373466 h 2340761"/>
                <a:gd name="connsiteX495" fmla="*/ 684843 w 2967861"/>
                <a:gd name="connsiteY495" fmla="*/ 370362 h 2340761"/>
                <a:gd name="connsiteX496" fmla="*/ 684843 w 2967861"/>
                <a:gd name="connsiteY496" fmla="*/ 366016 h 2340761"/>
                <a:gd name="connsiteX497" fmla="*/ 687016 w 2967861"/>
                <a:gd name="connsiteY497" fmla="*/ 363842 h 2340761"/>
                <a:gd name="connsiteX498" fmla="*/ 687016 w 2967861"/>
                <a:gd name="connsiteY498" fmla="*/ 362911 h 2340761"/>
                <a:gd name="connsiteX499" fmla="*/ 689190 w 2967861"/>
                <a:gd name="connsiteY499" fmla="*/ 362911 h 2340761"/>
                <a:gd name="connsiteX500" fmla="*/ 690121 w 2967861"/>
                <a:gd name="connsiteY500" fmla="*/ 360738 h 2340761"/>
                <a:gd name="connsiteX501" fmla="*/ 692294 w 2967861"/>
                <a:gd name="connsiteY501" fmla="*/ 358565 h 2340761"/>
                <a:gd name="connsiteX502" fmla="*/ 689190 w 2967861"/>
                <a:gd name="connsiteY502" fmla="*/ 343664 h 2340761"/>
                <a:gd name="connsiteX503" fmla="*/ 682981 w 2967861"/>
                <a:gd name="connsiteY503" fmla="*/ 336213 h 2340761"/>
                <a:gd name="connsiteX504" fmla="*/ 675840 w 2967861"/>
                <a:gd name="connsiteY504" fmla="*/ 334040 h 2340761"/>
                <a:gd name="connsiteX505" fmla="*/ 668700 w 2967861"/>
                <a:gd name="connsiteY505" fmla="*/ 333108 h 2340761"/>
                <a:gd name="connsiteX506" fmla="*/ 660318 w 2967861"/>
                <a:gd name="connsiteY506" fmla="*/ 328762 h 2340761"/>
                <a:gd name="connsiteX507" fmla="*/ 653178 w 2967861"/>
                <a:gd name="connsiteY507" fmla="*/ 321311 h 2340761"/>
                <a:gd name="connsiteX508" fmla="*/ 636414 w 2967861"/>
                <a:gd name="connsiteY508" fmla="*/ 323485 h 2340761"/>
                <a:gd name="connsiteX509" fmla="*/ 619650 w 2967861"/>
                <a:gd name="connsiteY509" fmla="*/ 327831 h 2340761"/>
                <a:gd name="connsiteX510" fmla="*/ 607232 w 2967861"/>
                <a:gd name="connsiteY510" fmla="*/ 330935 h 2340761"/>
                <a:gd name="connsiteX511" fmla="*/ 595745 w 2967861"/>
                <a:gd name="connsiteY511" fmla="*/ 340559 h 2340761"/>
                <a:gd name="connsiteX512" fmla="*/ 589536 w 2967861"/>
                <a:gd name="connsiteY512" fmla="*/ 355460 h 2340761"/>
                <a:gd name="connsiteX513" fmla="*/ 583328 w 2967861"/>
                <a:gd name="connsiteY513" fmla="*/ 351114 h 2340761"/>
                <a:gd name="connsiteX514" fmla="*/ 581465 w 2967861"/>
                <a:gd name="connsiteY514" fmla="*/ 351114 h 2340761"/>
                <a:gd name="connsiteX515" fmla="*/ 579292 w 2967861"/>
                <a:gd name="connsiteY515" fmla="*/ 348941 h 2340761"/>
                <a:gd name="connsiteX516" fmla="*/ 577119 w 2967861"/>
                <a:gd name="connsiteY516" fmla="*/ 348941 h 2340761"/>
                <a:gd name="connsiteX517" fmla="*/ 574014 w 2967861"/>
                <a:gd name="connsiteY517" fmla="*/ 348941 h 2340761"/>
                <a:gd name="connsiteX518" fmla="*/ 569978 w 2967861"/>
                <a:gd name="connsiteY518" fmla="*/ 348941 h 2340761"/>
                <a:gd name="connsiteX519" fmla="*/ 564701 w 2967861"/>
                <a:gd name="connsiteY519" fmla="*/ 348941 h 2340761"/>
                <a:gd name="connsiteX520" fmla="*/ 564701 w 2967861"/>
                <a:gd name="connsiteY520" fmla="*/ 362601 h 2340761"/>
                <a:gd name="connsiteX521" fmla="*/ 560665 w 2967861"/>
                <a:gd name="connsiteY521" fmla="*/ 360428 h 2340761"/>
                <a:gd name="connsiteX522" fmla="*/ 559734 w 2967861"/>
                <a:gd name="connsiteY522" fmla="*/ 360428 h 2340761"/>
                <a:gd name="connsiteX523" fmla="*/ 557561 w 2967861"/>
                <a:gd name="connsiteY523" fmla="*/ 360428 h 2340761"/>
                <a:gd name="connsiteX524" fmla="*/ 555387 w 2967861"/>
                <a:gd name="connsiteY524" fmla="*/ 358254 h 2340761"/>
                <a:gd name="connsiteX525" fmla="*/ 535519 w 2967861"/>
                <a:gd name="connsiteY525" fmla="*/ 363532 h 2340761"/>
                <a:gd name="connsiteX526" fmla="*/ 520928 w 2967861"/>
                <a:gd name="connsiteY526" fmla="*/ 375019 h 2340761"/>
                <a:gd name="connsiteX527" fmla="*/ 511615 w 2967861"/>
                <a:gd name="connsiteY527" fmla="*/ 392093 h 2340761"/>
                <a:gd name="connsiteX528" fmla="*/ 494850 w 2967861"/>
                <a:gd name="connsiteY528" fmla="*/ 392093 h 2340761"/>
                <a:gd name="connsiteX529" fmla="*/ 494850 w 2967861"/>
                <a:gd name="connsiteY529" fmla="*/ 406994 h 2340761"/>
                <a:gd name="connsiteX530" fmla="*/ 479328 w 2967861"/>
                <a:gd name="connsiteY530" fmla="*/ 415377 h 2340761"/>
                <a:gd name="connsiteX531" fmla="*/ 466910 w 2967861"/>
                <a:gd name="connsiteY531" fmla="*/ 430278 h 2340761"/>
                <a:gd name="connsiteX532" fmla="*/ 453251 w 2967861"/>
                <a:gd name="connsiteY532" fmla="*/ 452630 h 2340761"/>
                <a:gd name="connsiteX533" fmla="*/ 442696 w 2967861"/>
                <a:gd name="connsiteY533" fmla="*/ 476845 h 2340761"/>
                <a:gd name="connsiteX534" fmla="*/ 431209 w 2967861"/>
                <a:gd name="connsiteY534" fmla="*/ 501060 h 2340761"/>
                <a:gd name="connsiteX535" fmla="*/ 420654 w 2967861"/>
                <a:gd name="connsiteY535" fmla="*/ 524343 h 2340761"/>
                <a:gd name="connsiteX536" fmla="*/ 408236 w 2967861"/>
                <a:gd name="connsiteY536" fmla="*/ 544522 h 2340761"/>
                <a:gd name="connsiteX537" fmla="*/ 394577 w 2967861"/>
                <a:gd name="connsiteY537" fmla="*/ 561596 h 2340761"/>
                <a:gd name="connsiteX538" fmla="*/ 396750 w 2967861"/>
                <a:gd name="connsiteY538" fmla="*/ 565943 h 2340761"/>
                <a:gd name="connsiteX539" fmla="*/ 396750 w 2967861"/>
                <a:gd name="connsiteY539" fmla="*/ 569047 h 2340761"/>
                <a:gd name="connsiteX540" fmla="*/ 396750 w 2967861"/>
                <a:gd name="connsiteY540" fmla="*/ 571220 h 2340761"/>
                <a:gd name="connsiteX541" fmla="*/ 398923 w 2967861"/>
                <a:gd name="connsiteY541" fmla="*/ 571220 h 2340761"/>
                <a:gd name="connsiteX542" fmla="*/ 401096 w 2967861"/>
                <a:gd name="connsiteY542" fmla="*/ 571220 h 2340761"/>
                <a:gd name="connsiteX543" fmla="*/ 404200 w 2967861"/>
                <a:gd name="connsiteY543" fmla="*/ 573393 h 2340761"/>
                <a:gd name="connsiteX544" fmla="*/ 394887 w 2967861"/>
                <a:gd name="connsiteY544" fmla="*/ 581775 h 2340761"/>
                <a:gd name="connsiteX545" fmla="*/ 384332 w 2967861"/>
                <a:gd name="connsiteY545" fmla="*/ 586122 h 2340761"/>
                <a:gd name="connsiteX546" fmla="*/ 371914 w 2967861"/>
                <a:gd name="connsiteY546" fmla="*/ 593572 h 2340761"/>
                <a:gd name="connsiteX547" fmla="*/ 369741 w 2967861"/>
                <a:gd name="connsiteY547" fmla="*/ 596677 h 2340761"/>
                <a:gd name="connsiteX548" fmla="*/ 367568 w 2967861"/>
                <a:gd name="connsiteY548" fmla="*/ 602886 h 2340761"/>
                <a:gd name="connsiteX549" fmla="*/ 366636 w 2967861"/>
                <a:gd name="connsiteY549" fmla="*/ 605990 h 2340761"/>
                <a:gd name="connsiteX550" fmla="*/ 364463 w 2967861"/>
                <a:gd name="connsiteY550" fmla="*/ 610336 h 2340761"/>
                <a:gd name="connsiteX551" fmla="*/ 360427 w 2967861"/>
                <a:gd name="connsiteY551" fmla="*/ 613441 h 2340761"/>
                <a:gd name="connsiteX552" fmla="*/ 359496 w 2967861"/>
                <a:gd name="connsiteY552" fmla="*/ 611268 h 2340761"/>
                <a:gd name="connsiteX553" fmla="*/ 357323 w 2967861"/>
                <a:gd name="connsiteY553" fmla="*/ 610336 h 2340761"/>
                <a:gd name="connsiteX554" fmla="*/ 355150 w 2967861"/>
                <a:gd name="connsiteY554" fmla="*/ 608163 h 2340761"/>
                <a:gd name="connsiteX555" fmla="*/ 352045 w 2967861"/>
                <a:gd name="connsiteY555" fmla="*/ 605990 h 2340761"/>
                <a:gd name="connsiteX556" fmla="*/ 345836 w 2967861"/>
                <a:gd name="connsiteY556" fmla="*/ 611268 h 2340761"/>
                <a:gd name="connsiteX557" fmla="*/ 340559 w 2967861"/>
                <a:gd name="connsiteY557" fmla="*/ 617477 h 2340761"/>
                <a:gd name="connsiteX558" fmla="*/ 335281 w 2967861"/>
                <a:gd name="connsiteY558" fmla="*/ 622754 h 2340761"/>
                <a:gd name="connsiteX559" fmla="*/ 331246 w 2967861"/>
                <a:gd name="connsiteY559" fmla="*/ 625859 h 2340761"/>
                <a:gd name="connsiteX560" fmla="*/ 325968 w 2967861"/>
                <a:gd name="connsiteY560" fmla="*/ 640760 h 2340761"/>
                <a:gd name="connsiteX561" fmla="*/ 323795 w 2967861"/>
                <a:gd name="connsiteY561" fmla="*/ 652247 h 2340761"/>
                <a:gd name="connsiteX562" fmla="*/ 320690 w 2967861"/>
                <a:gd name="connsiteY562" fmla="*/ 660629 h 2340761"/>
                <a:gd name="connsiteX563" fmla="*/ 311377 w 2967861"/>
                <a:gd name="connsiteY563" fmla="*/ 670252 h 2340761"/>
                <a:gd name="connsiteX564" fmla="*/ 313550 w 2967861"/>
                <a:gd name="connsiteY564" fmla="*/ 692605 h 2340761"/>
                <a:gd name="connsiteX565" fmla="*/ 316655 w 2967861"/>
                <a:gd name="connsiteY565" fmla="*/ 709679 h 2340761"/>
                <a:gd name="connsiteX566" fmla="*/ 320690 w 2967861"/>
                <a:gd name="connsiteY566" fmla="*/ 724581 h 2340761"/>
                <a:gd name="connsiteX567" fmla="*/ 322864 w 2967861"/>
                <a:gd name="connsiteY567" fmla="*/ 742586 h 2340761"/>
                <a:gd name="connsiteX568" fmla="*/ 323795 w 2967861"/>
                <a:gd name="connsiteY568" fmla="*/ 764938 h 2340761"/>
                <a:gd name="connsiteX569" fmla="*/ 327831 w 2967861"/>
                <a:gd name="connsiteY569" fmla="*/ 764938 h 2340761"/>
                <a:gd name="connsiteX570" fmla="*/ 330004 w 2967861"/>
                <a:gd name="connsiteY570" fmla="*/ 767112 h 2340761"/>
                <a:gd name="connsiteX571" fmla="*/ 330935 w 2967861"/>
                <a:gd name="connsiteY571" fmla="*/ 767112 h 2340761"/>
                <a:gd name="connsiteX572" fmla="*/ 333108 w 2967861"/>
                <a:gd name="connsiteY572" fmla="*/ 767112 h 2340761"/>
                <a:gd name="connsiteX573" fmla="*/ 335281 w 2967861"/>
                <a:gd name="connsiteY573" fmla="*/ 769285 h 2340761"/>
                <a:gd name="connsiteX574" fmla="*/ 352977 w 2967861"/>
                <a:gd name="connsiteY574" fmla="*/ 764938 h 2340761"/>
                <a:gd name="connsiteX575" fmla="*/ 364463 w 2967861"/>
                <a:gd name="connsiteY575" fmla="*/ 759661 h 2340761"/>
                <a:gd name="connsiteX576" fmla="*/ 375018 w 2967861"/>
                <a:gd name="connsiteY576" fmla="*/ 752210 h 2340761"/>
                <a:gd name="connsiteX577" fmla="*/ 384332 w 2967861"/>
                <a:gd name="connsiteY577" fmla="*/ 742586 h 2340761"/>
                <a:gd name="connsiteX578" fmla="*/ 398923 w 2967861"/>
                <a:gd name="connsiteY578" fmla="*/ 735136 h 2340761"/>
                <a:gd name="connsiteX579" fmla="*/ 409478 w 2967861"/>
                <a:gd name="connsiteY579" fmla="*/ 762765 h 2340761"/>
                <a:gd name="connsiteX580" fmla="*/ 415687 w 2967861"/>
                <a:gd name="connsiteY580" fmla="*/ 786980 h 2340761"/>
                <a:gd name="connsiteX581" fmla="*/ 424069 w 2967861"/>
                <a:gd name="connsiteY581" fmla="*/ 809332 h 2340761"/>
                <a:gd name="connsiteX582" fmla="*/ 438660 w 2967861"/>
                <a:gd name="connsiteY582" fmla="*/ 829511 h 2340761"/>
                <a:gd name="connsiteX583" fmla="*/ 438660 w 2967861"/>
                <a:gd name="connsiteY583" fmla="*/ 833857 h 2340761"/>
                <a:gd name="connsiteX584" fmla="*/ 444869 w 2967861"/>
                <a:gd name="connsiteY584" fmla="*/ 833857 h 2340761"/>
                <a:gd name="connsiteX585" fmla="*/ 453251 w 2967861"/>
                <a:gd name="connsiteY585" fmla="*/ 818956 h 2340761"/>
                <a:gd name="connsiteX586" fmla="*/ 462564 w 2967861"/>
                <a:gd name="connsiteY586" fmla="*/ 807470 h 2340761"/>
                <a:gd name="connsiteX587" fmla="*/ 474051 w 2967861"/>
                <a:gd name="connsiteY587" fmla="*/ 796914 h 2340761"/>
                <a:gd name="connsiteX588" fmla="*/ 481191 w 2967861"/>
                <a:gd name="connsiteY588" fmla="*/ 784186 h 2340761"/>
                <a:gd name="connsiteX589" fmla="*/ 488331 w 2967861"/>
                <a:gd name="connsiteY589" fmla="*/ 767112 h 2340761"/>
                <a:gd name="connsiteX590" fmla="*/ 491436 w 2967861"/>
                <a:gd name="connsiteY590" fmla="*/ 744759 h 2340761"/>
                <a:gd name="connsiteX591" fmla="*/ 515340 w 2967861"/>
                <a:gd name="connsiteY591" fmla="*/ 735136 h 2340761"/>
                <a:gd name="connsiteX592" fmla="*/ 516271 w 2967861"/>
                <a:gd name="connsiteY592" fmla="*/ 734204 h 2340761"/>
                <a:gd name="connsiteX593" fmla="*/ 516271 w 2967861"/>
                <a:gd name="connsiteY593" fmla="*/ 729858 h 2340761"/>
                <a:gd name="connsiteX594" fmla="*/ 518444 w 2967861"/>
                <a:gd name="connsiteY594" fmla="*/ 727685 h 2340761"/>
                <a:gd name="connsiteX595" fmla="*/ 518444 w 2967861"/>
                <a:gd name="connsiteY595" fmla="*/ 726754 h 2340761"/>
                <a:gd name="connsiteX596" fmla="*/ 520618 w 2967861"/>
                <a:gd name="connsiteY596" fmla="*/ 724581 h 2340761"/>
                <a:gd name="connsiteX597" fmla="*/ 522791 w 2967861"/>
                <a:gd name="connsiteY597" fmla="*/ 722407 h 2340761"/>
                <a:gd name="connsiteX598" fmla="*/ 528068 w 2967861"/>
                <a:gd name="connsiteY598" fmla="*/ 720234 h 2340761"/>
                <a:gd name="connsiteX599" fmla="*/ 524032 w 2967861"/>
                <a:gd name="connsiteY599" fmla="*/ 704402 h 2340761"/>
                <a:gd name="connsiteX600" fmla="*/ 516892 w 2967861"/>
                <a:gd name="connsiteY600" fmla="*/ 690742 h 2340761"/>
                <a:gd name="connsiteX601" fmla="*/ 506337 w 2967861"/>
                <a:gd name="connsiteY601" fmla="*/ 680187 h 2340761"/>
                <a:gd name="connsiteX602" fmla="*/ 494850 w 2967861"/>
                <a:gd name="connsiteY602" fmla="*/ 670563 h 2340761"/>
                <a:gd name="connsiteX603" fmla="*/ 501059 w 2967861"/>
                <a:gd name="connsiteY603" fmla="*/ 645106 h 2340761"/>
                <a:gd name="connsiteX604" fmla="*/ 509441 w 2967861"/>
                <a:gd name="connsiteY604" fmla="*/ 622754 h 2340761"/>
                <a:gd name="connsiteX605" fmla="*/ 523101 w 2967861"/>
                <a:gd name="connsiteY605" fmla="*/ 603817 h 2340761"/>
                <a:gd name="connsiteX606" fmla="*/ 537692 w 2967861"/>
                <a:gd name="connsiteY606" fmla="*/ 587984 h 2340761"/>
                <a:gd name="connsiteX607" fmla="*/ 550110 w 2967861"/>
                <a:gd name="connsiteY607" fmla="*/ 570910 h 2340761"/>
                <a:gd name="connsiteX608" fmla="*/ 559423 w 2967861"/>
                <a:gd name="connsiteY608" fmla="*/ 550731 h 2340761"/>
                <a:gd name="connsiteX609" fmla="*/ 564701 w 2967861"/>
                <a:gd name="connsiteY609" fmla="*/ 524343 h 2340761"/>
                <a:gd name="connsiteX610" fmla="*/ 581465 w 2967861"/>
                <a:gd name="connsiteY610" fmla="*/ 523412 h 2340761"/>
                <a:gd name="connsiteX611" fmla="*/ 595125 w 2967861"/>
                <a:gd name="connsiteY611" fmla="*/ 521238 h 2340761"/>
                <a:gd name="connsiteX612" fmla="*/ 601334 w 2967861"/>
                <a:gd name="connsiteY612" fmla="*/ 526516 h 2340761"/>
                <a:gd name="connsiteX613" fmla="*/ 606611 w 2967861"/>
                <a:gd name="connsiteY613" fmla="*/ 531794 h 2340761"/>
                <a:gd name="connsiteX614" fmla="*/ 611889 w 2967861"/>
                <a:gd name="connsiteY614" fmla="*/ 537071 h 2340761"/>
                <a:gd name="connsiteX615" fmla="*/ 602575 w 2967861"/>
                <a:gd name="connsiteY615" fmla="*/ 554146 h 2340761"/>
                <a:gd name="connsiteX616" fmla="*/ 590157 w 2967861"/>
                <a:gd name="connsiteY616" fmla="*/ 569047 h 2340761"/>
                <a:gd name="connsiteX617" fmla="*/ 575566 w 2967861"/>
                <a:gd name="connsiteY617" fmla="*/ 583949 h 2340761"/>
                <a:gd name="connsiteX618" fmla="*/ 560976 w 2967861"/>
                <a:gd name="connsiteY618" fmla="*/ 596677 h 2340761"/>
                <a:gd name="connsiteX619" fmla="*/ 552593 w 2967861"/>
                <a:gd name="connsiteY619" fmla="*/ 615614 h 2340761"/>
                <a:gd name="connsiteX620" fmla="*/ 550420 w 2967861"/>
                <a:gd name="connsiteY620" fmla="*/ 628342 h 2340761"/>
                <a:gd name="connsiteX621" fmla="*/ 552593 w 2967861"/>
                <a:gd name="connsiteY621" fmla="*/ 643244 h 2340761"/>
                <a:gd name="connsiteX622" fmla="*/ 553525 w 2967861"/>
                <a:gd name="connsiteY622" fmla="*/ 655972 h 2340761"/>
                <a:gd name="connsiteX623" fmla="*/ 552593 w 2967861"/>
                <a:gd name="connsiteY623" fmla="*/ 667458 h 2340761"/>
                <a:gd name="connsiteX624" fmla="*/ 553525 w 2967861"/>
                <a:gd name="connsiteY624" fmla="*/ 682360 h 2340761"/>
                <a:gd name="connsiteX625" fmla="*/ 557561 w 2967861"/>
                <a:gd name="connsiteY625" fmla="*/ 690742 h 2340761"/>
                <a:gd name="connsiteX626" fmla="*/ 562838 w 2967861"/>
                <a:gd name="connsiteY626" fmla="*/ 698193 h 2340761"/>
                <a:gd name="connsiteX627" fmla="*/ 568116 w 2967861"/>
                <a:gd name="connsiteY627" fmla="*/ 705643 h 2340761"/>
                <a:gd name="connsiteX628" fmla="*/ 572152 w 2967861"/>
                <a:gd name="connsiteY628" fmla="*/ 715267 h 2340761"/>
                <a:gd name="connsiteX629" fmla="*/ 593883 w 2967861"/>
                <a:gd name="connsiteY629" fmla="*/ 712163 h 2340761"/>
                <a:gd name="connsiteX630" fmla="*/ 613751 w 2967861"/>
                <a:gd name="connsiteY630" fmla="*/ 705954 h 2340761"/>
                <a:gd name="connsiteX631" fmla="*/ 631447 w 2967861"/>
                <a:gd name="connsiteY631" fmla="*/ 697572 h 2340761"/>
                <a:gd name="connsiteX632" fmla="*/ 638587 w 2967861"/>
                <a:gd name="connsiteY632" fmla="*/ 697572 h 2340761"/>
                <a:gd name="connsiteX633" fmla="*/ 644796 w 2967861"/>
                <a:gd name="connsiteY633" fmla="*/ 698503 h 2340761"/>
                <a:gd name="connsiteX634" fmla="*/ 647900 w 2967861"/>
                <a:gd name="connsiteY634" fmla="*/ 700676 h 2340761"/>
                <a:gd name="connsiteX635" fmla="*/ 653178 w 2967861"/>
                <a:gd name="connsiteY635" fmla="*/ 702849 h 2340761"/>
                <a:gd name="connsiteX636" fmla="*/ 659387 w 2967861"/>
                <a:gd name="connsiteY636" fmla="*/ 705022 h 2340761"/>
                <a:gd name="connsiteX637" fmla="*/ 652246 w 2967861"/>
                <a:gd name="connsiteY637" fmla="*/ 715578 h 2340761"/>
                <a:gd name="connsiteX638" fmla="*/ 642933 w 2967861"/>
                <a:gd name="connsiteY638" fmla="*/ 719924 h 2340761"/>
                <a:gd name="connsiteX639" fmla="*/ 633620 w 2967861"/>
                <a:gd name="connsiteY639" fmla="*/ 717751 h 2340761"/>
                <a:gd name="connsiteX640" fmla="*/ 621202 w 2967861"/>
                <a:gd name="connsiteY640" fmla="*/ 715578 h 2340761"/>
                <a:gd name="connsiteX641" fmla="*/ 608784 w 2967861"/>
                <a:gd name="connsiteY641" fmla="*/ 715578 h 2340761"/>
                <a:gd name="connsiteX642" fmla="*/ 601644 w 2967861"/>
                <a:gd name="connsiteY642" fmla="*/ 719924 h 2340761"/>
                <a:gd name="connsiteX643" fmla="*/ 595435 w 2967861"/>
                <a:gd name="connsiteY643" fmla="*/ 723028 h 2340761"/>
                <a:gd name="connsiteX644" fmla="*/ 589226 w 2967861"/>
                <a:gd name="connsiteY644" fmla="*/ 727375 h 2340761"/>
                <a:gd name="connsiteX645" fmla="*/ 579913 w 2967861"/>
                <a:gd name="connsiteY645" fmla="*/ 728306 h 2340761"/>
                <a:gd name="connsiteX646" fmla="*/ 583017 w 2967861"/>
                <a:gd name="connsiteY646" fmla="*/ 745380 h 2340761"/>
                <a:gd name="connsiteX647" fmla="*/ 585190 w 2967861"/>
                <a:gd name="connsiteY647" fmla="*/ 755004 h 2340761"/>
                <a:gd name="connsiteX648" fmla="*/ 589226 w 2967861"/>
                <a:gd name="connsiteY648" fmla="*/ 762455 h 2340761"/>
                <a:gd name="connsiteX649" fmla="*/ 590157 w 2967861"/>
                <a:gd name="connsiteY649" fmla="*/ 773010 h 2340761"/>
                <a:gd name="connsiteX650" fmla="*/ 592331 w 2967861"/>
                <a:gd name="connsiteY650" fmla="*/ 790085 h 2340761"/>
                <a:gd name="connsiteX651" fmla="*/ 587053 w 2967861"/>
                <a:gd name="connsiteY651" fmla="*/ 787911 h 2340761"/>
                <a:gd name="connsiteX652" fmla="*/ 581775 w 2967861"/>
                <a:gd name="connsiteY652" fmla="*/ 785738 h 2340761"/>
                <a:gd name="connsiteX653" fmla="*/ 579602 w 2967861"/>
                <a:gd name="connsiteY653" fmla="*/ 784807 h 2340761"/>
                <a:gd name="connsiteX654" fmla="*/ 577429 w 2967861"/>
                <a:gd name="connsiteY654" fmla="*/ 780461 h 2340761"/>
                <a:gd name="connsiteX655" fmla="*/ 575256 w 2967861"/>
                <a:gd name="connsiteY655" fmla="*/ 777356 h 2340761"/>
                <a:gd name="connsiteX656" fmla="*/ 572152 w 2967861"/>
                <a:gd name="connsiteY656" fmla="*/ 773010 h 2340761"/>
                <a:gd name="connsiteX657" fmla="*/ 572152 w 2967861"/>
                <a:gd name="connsiteY657" fmla="*/ 769906 h 2340761"/>
                <a:gd name="connsiteX658" fmla="*/ 566874 w 2967861"/>
                <a:gd name="connsiteY658" fmla="*/ 770837 h 2340761"/>
                <a:gd name="connsiteX659" fmla="*/ 562838 w 2967861"/>
                <a:gd name="connsiteY659" fmla="*/ 773010 h 2340761"/>
                <a:gd name="connsiteX660" fmla="*/ 559734 w 2967861"/>
                <a:gd name="connsiteY660" fmla="*/ 777356 h 2340761"/>
                <a:gd name="connsiteX661" fmla="*/ 555698 w 2967861"/>
                <a:gd name="connsiteY661" fmla="*/ 778288 h 2340761"/>
                <a:gd name="connsiteX662" fmla="*/ 552593 w 2967861"/>
                <a:gd name="connsiteY662" fmla="*/ 782634 h 2340761"/>
                <a:gd name="connsiteX663" fmla="*/ 548558 w 2967861"/>
                <a:gd name="connsiteY663" fmla="*/ 808090 h 2340761"/>
                <a:gd name="connsiteX664" fmla="*/ 548558 w 2967861"/>
                <a:gd name="connsiteY664" fmla="*/ 839756 h 2340761"/>
                <a:gd name="connsiteX665" fmla="*/ 543280 w 2967861"/>
                <a:gd name="connsiteY665" fmla="*/ 841929 h 2340761"/>
                <a:gd name="connsiteX666" fmla="*/ 539244 w 2967861"/>
                <a:gd name="connsiteY666" fmla="*/ 841929 h 2340761"/>
                <a:gd name="connsiteX667" fmla="*/ 536140 w 2967861"/>
                <a:gd name="connsiteY667" fmla="*/ 842860 h 2340761"/>
                <a:gd name="connsiteX668" fmla="*/ 532104 w 2967861"/>
                <a:gd name="connsiteY668" fmla="*/ 847207 h 2340761"/>
                <a:gd name="connsiteX669" fmla="*/ 531173 w 2967861"/>
                <a:gd name="connsiteY669" fmla="*/ 849380 h 2340761"/>
                <a:gd name="connsiteX670" fmla="*/ 528999 w 2967861"/>
                <a:gd name="connsiteY670" fmla="*/ 854657 h 2340761"/>
                <a:gd name="connsiteX671" fmla="*/ 509131 w 2967861"/>
                <a:gd name="connsiteY671" fmla="*/ 850311 h 2340761"/>
                <a:gd name="connsiteX672" fmla="*/ 494540 w 2967861"/>
                <a:gd name="connsiteY672" fmla="*/ 849380 h 2340761"/>
                <a:gd name="connsiteX673" fmla="*/ 485227 w 2967861"/>
                <a:gd name="connsiteY673" fmla="*/ 852484 h 2340761"/>
                <a:gd name="connsiteX674" fmla="*/ 478086 w 2967861"/>
                <a:gd name="connsiteY674" fmla="*/ 856830 h 2340761"/>
                <a:gd name="connsiteX675" fmla="*/ 472809 w 2967861"/>
                <a:gd name="connsiteY675" fmla="*/ 862108 h 2340761"/>
                <a:gd name="connsiteX676" fmla="*/ 463495 w 2967861"/>
                <a:gd name="connsiteY676" fmla="*/ 867386 h 2340761"/>
                <a:gd name="connsiteX677" fmla="*/ 452940 w 2967861"/>
                <a:gd name="connsiteY677" fmla="*/ 871732 h 2340761"/>
                <a:gd name="connsiteX678" fmla="*/ 443627 w 2967861"/>
                <a:gd name="connsiteY678" fmla="*/ 871732 h 2340761"/>
                <a:gd name="connsiteX679" fmla="*/ 436487 w 2967861"/>
                <a:gd name="connsiteY679" fmla="*/ 865523 h 2340761"/>
                <a:gd name="connsiteX680" fmla="*/ 431209 w 2967861"/>
                <a:gd name="connsiteY680" fmla="*/ 862418 h 2340761"/>
                <a:gd name="connsiteX681" fmla="*/ 423138 w 2967861"/>
                <a:gd name="connsiteY681" fmla="*/ 862418 h 2340761"/>
                <a:gd name="connsiteX682" fmla="*/ 411651 w 2967861"/>
                <a:gd name="connsiteY682" fmla="*/ 867696 h 2340761"/>
                <a:gd name="connsiteX683" fmla="*/ 406373 w 2967861"/>
                <a:gd name="connsiteY683" fmla="*/ 864592 h 2340761"/>
                <a:gd name="connsiteX684" fmla="*/ 402338 w 2967861"/>
                <a:gd name="connsiteY684" fmla="*/ 862418 h 2340761"/>
                <a:gd name="connsiteX685" fmla="*/ 401406 w 2967861"/>
                <a:gd name="connsiteY685" fmla="*/ 860245 h 2340761"/>
                <a:gd name="connsiteX686" fmla="*/ 397371 w 2967861"/>
                <a:gd name="connsiteY686" fmla="*/ 858072 h 2340761"/>
                <a:gd name="connsiteX687" fmla="*/ 392093 w 2967861"/>
                <a:gd name="connsiteY687" fmla="*/ 854968 h 2340761"/>
                <a:gd name="connsiteX688" fmla="*/ 392093 w 2967861"/>
                <a:gd name="connsiteY688" fmla="*/ 842239 h 2340761"/>
                <a:gd name="connsiteX689" fmla="*/ 394266 w 2967861"/>
                <a:gd name="connsiteY689" fmla="*/ 825165 h 2340761"/>
                <a:gd name="connsiteX690" fmla="*/ 395197 w 2967861"/>
                <a:gd name="connsiteY690" fmla="*/ 807159 h 2340761"/>
                <a:gd name="connsiteX691" fmla="*/ 397371 w 2967861"/>
                <a:gd name="connsiteY691" fmla="*/ 793500 h 2340761"/>
                <a:gd name="connsiteX692" fmla="*/ 399544 w 2967861"/>
                <a:gd name="connsiteY692" fmla="*/ 786049 h 2340761"/>
                <a:gd name="connsiteX693" fmla="*/ 399544 w 2967861"/>
                <a:gd name="connsiteY693" fmla="*/ 777667 h 2340761"/>
                <a:gd name="connsiteX694" fmla="*/ 387126 w 2967861"/>
                <a:gd name="connsiteY694" fmla="*/ 780771 h 2340761"/>
                <a:gd name="connsiteX695" fmla="*/ 375639 w 2967861"/>
                <a:gd name="connsiteY695" fmla="*/ 785117 h 2340761"/>
                <a:gd name="connsiteX696" fmla="*/ 360117 w 2967861"/>
                <a:gd name="connsiteY696" fmla="*/ 786049 h 2340761"/>
                <a:gd name="connsiteX697" fmla="*/ 361048 w 2967861"/>
                <a:gd name="connsiteY697" fmla="*/ 803123 h 2340761"/>
                <a:gd name="connsiteX698" fmla="*/ 361048 w 2967861"/>
                <a:gd name="connsiteY698" fmla="*/ 823302 h 2340761"/>
                <a:gd name="connsiteX699" fmla="*/ 365084 w 2967861"/>
                <a:gd name="connsiteY699" fmla="*/ 845654 h 2340761"/>
                <a:gd name="connsiteX700" fmla="*/ 372224 w 2967861"/>
                <a:gd name="connsiteY700" fmla="*/ 864592 h 2340761"/>
                <a:gd name="connsiteX701" fmla="*/ 370051 w 2967861"/>
                <a:gd name="connsiteY701" fmla="*/ 865523 h 2340761"/>
                <a:gd name="connsiteX702" fmla="*/ 370051 w 2967861"/>
                <a:gd name="connsiteY702" fmla="*/ 867696 h 2340761"/>
                <a:gd name="connsiteX703" fmla="*/ 370051 w 2967861"/>
                <a:gd name="connsiteY703" fmla="*/ 869869 h 2340761"/>
                <a:gd name="connsiteX704" fmla="*/ 367878 w 2967861"/>
                <a:gd name="connsiteY704" fmla="*/ 872042 h 2340761"/>
                <a:gd name="connsiteX705" fmla="*/ 353287 w 2967861"/>
                <a:gd name="connsiteY705" fmla="*/ 877320 h 2340761"/>
                <a:gd name="connsiteX706" fmla="*/ 337765 w 2967861"/>
                <a:gd name="connsiteY706" fmla="*/ 882597 h 2340761"/>
                <a:gd name="connsiteX707" fmla="*/ 324105 w 2967861"/>
                <a:gd name="connsiteY707" fmla="*/ 887875 h 2340761"/>
                <a:gd name="connsiteX708" fmla="*/ 313550 w 2967861"/>
                <a:gd name="connsiteY708" fmla="*/ 895326 h 2340761"/>
                <a:gd name="connsiteX709" fmla="*/ 308273 w 2967861"/>
                <a:gd name="connsiteY709" fmla="*/ 906812 h 2340761"/>
                <a:gd name="connsiteX710" fmla="*/ 306099 w 2967861"/>
                <a:gd name="connsiteY710" fmla="*/ 917367 h 2340761"/>
                <a:gd name="connsiteX711" fmla="*/ 298959 w 2967861"/>
                <a:gd name="connsiteY711" fmla="*/ 928854 h 2340761"/>
                <a:gd name="connsiteX712" fmla="*/ 264500 w 2967861"/>
                <a:gd name="connsiteY712" fmla="*/ 939409 h 2340761"/>
                <a:gd name="connsiteX713" fmla="*/ 262327 w 2967861"/>
                <a:gd name="connsiteY713" fmla="*/ 943755 h 2340761"/>
                <a:gd name="connsiteX714" fmla="*/ 260154 w 2967861"/>
                <a:gd name="connsiteY714" fmla="*/ 946860 h 2340761"/>
                <a:gd name="connsiteX715" fmla="*/ 260154 w 2967861"/>
                <a:gd name="connsiteY715" fmla="*/ 951206 h 2340761"/>
                <a:gd name="connsiteX716" fmla="*/ 260154 w 2967861"/>
                <a:gd name="connsiteY716" fmla="*/ 954310 h 2340761"/>
                <a:gd name="connsiteX717" fmla="*/ 260154 w 2967861"/>
                <a:gd name="connsiteY717" fmla="*/ 958657 h 2340761"/>
                <a:gd name="connsiteX718" fmla="*/ 259222 w 2967861"/>
                <a:gd name="connsiteY718" fmla="*/ 961761 h 2340761"/>
                <a:gd name="connsiteX719" fmla="*/ 257049 w 2967861"/>
                <a:gd name="connsiteY719" fmla="*/ 963934 h 2340761"/>
                <a:gd name="connsiteX720" fmla="*/ 251771 w 2967861"/>
                <a:gd name="connsiteY720" fmla="*/ 966107 h 2340761"/>
                <a:gd name="connsiteX721" fmla="*/ 247736 w 2967861"/>
                <a:gd name="connsiteY721" fmla="*/ 967039 h 2340761"/>
                <a:gd name="connsiteX722" fmla="*/ 242458 w 2967861"/>
                <a:gd name="connsiteY722" fmla="*/ 969212 h 2340761"/>
                <a:gd name="connsiteX723" fmla="*/ 238422 w 2967861"/>
                <a:gd name="connsiteY723" fmla="*/ 973558 h 2340761"/>
                <a:gd name="connsiteX724" fmla="*/ 235318 w 2967861"/>
                <a:gd name="connsiteY724" fmla="*/ 971385 h 2340761"/>
                <a:gd name="connsiteX725" fmla="*/ 231282 w 2967861"/>
                <a:gd name="connsiteY725" fmla="*/ 969212 h 2340761"/>
                <a:gd name="connsiteX726" fmla="*/ 228178 w 2967861"/>
                <a:gd name="connsiteY726" fmla="*/ 969212 h 2340761"/>
                <a:gd name="connsiteX727" fmla="*/ 226004 w 2967861"/>
                <a:gd name="connsiteY727" fmla="*/ 967039 h 2340761"/>
                <a:gd name="connsiteX728" fmla="*/ 220727 w 2967861"/>
                <a:gd name="connsiteY728" fmla="*/ 966107 h 2340761"/>
                <a:gd name="connsiteX729" fmla="*/ 215449 w 2967861"/>
                <a:gd name="connsiteY729" fmla="*/ 966107 h 2340761"/>
                <a:gd name="connsiteX730" fmla="*/ 215449 w 2967861"/>
                <a:gd name="connsiteY730" fmla="*/ 986286 h 2340761"/>
                <a:gd name="connsiteX731" fmla="*/ 209240 w 2967861"/>
                <a:gd name="connsiteY731" fmla="*/ 986286 h 2340761"/>
                <a:gd name="connsiteX732" fmla="*/ 203963 w 2967861"/>
                <a:gd name="connsiteY732" fmla="*/ 986286 h 2340761"/>
                <a:gd name="connsiteX733" fmla="*/ 198685 w 2967861"/>
                <a:gd name="connsiteY733" fmla="*/ 988459 h 2340761"/>
                <a:gd name="connsiteX734" fmla="*/ 194650 w 2967861"/>
                <a:gd name="connsiteY734" fmla="*/ 989391 h 2340761"/>
                <a:gd name="connsiteX735" fmla="*/ 188441 w 2967861"/>
                <a:gd name="connsiteY735" fmla="*/ 989391 h 2340761"/>
                <a:gd name="connsiteX736" fmla="*/ 184405 w 2967861"/>
                <a:gd name="connsiteY736" fmla="*/ 991564 h 2340761"/>
                <a:gd name="connsiteX737" fmla="*/ 181300 w 2967861"/>
                <a:gd name="connsiteY737" fmla="*/ 991564 h 2340761"/>
                <a:gd name="connsiteX738" fmla="*/ 179127 w 2967861"/>
                <a:gd name="connsiteY738" fmla="*/ 993737 h 2340761"/>
                <a:gd name="connsiteX739" fmla="*/ 175091 w 2967861"/>
                <a:gd name="connsiteY739" fmla="*/ 995910 h 2340761"/>
                <a:gd name="connsiteX740" fmla="*/ 171987 w 2967861"/>
                <a:gd name="connsiteY740" fmla="*/ 996842 h 2340761"/>
                <a:gd name="connsiteX741" fmla="*/ 181300 w 2967861"/>
                <a:gd name="connsiteY741" fmla="*/ 1006465 h 2340761"/>
                <a:gd name="connsiteX742" fmla="*/ 193718 w 2967861"/>
                <a:gd name="connsiteY742" fmla="*/ 1013916 h 2340761"/>
                <a:gd name="connsiteX743" fmla="*/ 206136 w 2967861"/>
                <a:gd name="connsiteY743" fmla="*/ 1018262 h 2340761"/>
                <a:gd name="connsiteX744" fmla="*/ 218554 w 2967861"/>
                <a:gd name="connsiteY744" fmla="*/ 1021367 h 2340761"/>
                <a:gd name="connsiteX745" fmla="*/ 220727 w 2967861"/>
                <a:gd name="connsiteY745" fmla="*/ 1040304 h 2340761"/>
                <a:gd name="connsiteX746" fmla="*/ 222900 w 2967861"/>
                <a:gd name="connsiteY746" fmla="*/ 1056137 h 2340761"/>
                <a:gd name="connsiteX747" fmla="*/ 222900 w 2967861"/>
                <a:gd name="connsiteY747" fmla="*/ 1073211 h 2340761"/>
                <a:gd name="connsiteX748" fmla="*/ 218864 w 2967861"/>
                <a:gd name="connsiteY748" fmla="*/ 1088113 h 2340761"/>
                <a:gd name="connsiteX749" fmla="*/ 218864 w 2967861"/>
                <a:gd name="connsiteY749" fmla="*/ 1090286 h 2340761"/>
                <a:gd name="connsiteX750" fmla="*/ 218864 w 2967861"/>
                <a:gd name="connsiteY750" fmla="*/ 1091217 h 2340761"/>
                <a:gd name="connsiteX751" fmla="*/ 216691 w 2967861"/>
                <a:gd name="connsiteY751" fmla="*/ 1091217 h 2340761"/>
                <a:gd name="connsiteX752" fmla="*/ 216691 w 2967861"/>
                <a:gd name="connsiteY752" fmla="*/ 1093390 h 2340761"/>
                <a:gd name="connsiteX753" fmla="*/ 215760 w 2967861"/>
                <a:gd name="connsiteY753" fmla="*/ 1095563 h 2340761"/>
                <a:gd name="connsiteX754" fmla="*/ 202100 w 2967861"/>
                <a:gd name="connsiteY754" fmla="*/ 1100841 h 2340761"/>
                <a:gd name="connsiteX755" fmla="*/ 184405 w 2967861"/>
                <a:gd name="connsiteY755" fmla="*/ 1105187 h 2340761"/>
                <a:gd name="connsiteX756" fmla="*/ 166709 w 2967861"/>
                <a:gd name="connsiteY756" fmla="*/ 1105187 h 2340761"/>
                <a:gd name="connsiteX757" fmla="*/ 149945 w 2967861"/>
                <a:gd name="connsiteY757" fmla="*/ 1100841 h 2340761"/>
                <a:gd name="connsiteX758" fmla="*/ 135354 w 2967861"/>
                <a:gd name="connsiteY758" fmla="*/ 1095563 h 2340761"/>
                <a:gd name="connsiteX759" fmla="*/ 130077 w 2967861"/>
                <a:gd name="connsiteY759" fmla="*/ 1095563 h 2340761"/>
                <a:gd name="connsiteX760" fmla="*/ 126041 w 2967861"/>
                <a:gd name="connsiteY760" fmla="*/ 1097736 h 2340761"/>
                <a:gd name="connsiteX761" fmla="*/ 122936 w 2967861"/>
                <a:gd name="connsiteY761" fmla="*/ 1097736 h 2340761"/>
                <a:gd name="connsiteX762" fmla="*/ 120763 w 2967861"/>
                <a:gd name="connsiteY762" fmla="*/ 1097736 h 2340761"/>
                <a:gd name="connsiteX763" fmla="*/ 118590 w 2967861"/>
                <a:gd name="connsiteY763" fmla="*/ 1098668 h 2340761"/>
                <a:gd name="connsiteX764" fmla="*/ 116417 w 2967861"/>
                <a:gd name="connsiteY764" fmla="*/ 1103014 h 2340761"/>
                <a:gd name="connsiteX765" fmla="*/ 115796 w 2967861"/>
                <a:gd name="connsiteY765" fmla="*/ 1106739 h 2340761"/>
                <a:gd name="connsiteX766" fmla="*/ 111760 w 2967861"/>
                <a:gd name="connsiteY766" fmla="*/ 1119468 h 2340761"/>
                <a:gd name="connsiteX767" fmla="*/ 111760 w 2967861"/>
                <a:gd name="connsiteY767" fmla="*/ 1140578 h 2340761"/>
                <a:gd name="connsiteX768" fmla="*/ 111760 w 2967861"/>
                <a:gd name="connsiteY768" fmla="*/ 1163861 h 2340761"/>
                <a:gd name="connsiteX769" fmla="*/ 113934 w 2967861"/>
                <a:gd name="connsiteY769" fmla="*/ 1188076 h 2340761"/>
                <a:gd name="connsiteX770" fmla="*/ 116107 w 2967861"/>
                <a:gd name="connsiteY770" fmla="*/ 1208255 h 2340761"/>
                <a:gd name="connsiteX771" fmla="*/ 116107 w 2967861"/>
                <a:gd name="connsiteY771" fmla="*/ 1223157 h 2340761"/>
                <a:gd name="connsiteX772" fmla="*/ 119211 w 2967861"/>
                <a:gd name="connsiteY772" fmla="*/ 1223157 h 2340761"/>
                <a:gd name="connsiteX773" fmla="*/ 119211 w 2967861"/>
                <a:gd name="connsiteY773" fmla="*/ 1228434 h 2340761"/>
                <a:gd name="connsiteX774" fmla="*/ 126351 w 2967861"/>
                <a:gd name="connsiteY774" fmla="*/ 1228434 h 2340761"/>
                <a:gd name="connsiteX775" fmla="*/ 131629 w 2967861"/>
                <a:gd name="connsiteY775" fmla="*/ 1227503 h 2340761"/>
                <a:gd name="connsiteX776" fmla="*/ 135665 w 2967861"/>
                <a:gd name="connsiteY776" fmla="*/ 1227503 h 2340761"/>
                <a:gd name="connsiteX777" fmla="*/ 138769 w 2967861"/>
                <a:gd name="connsiteY777" fmla="*/ 1223157 h 2340761"/>
                <a:gd name="connsiteX778" fmla="*/ 144978 w 2967861"/>
                <a:gd name="connsiteY778" fmla="*/ 1225330 h 2340761"/>
                <a:gd name="connsiteX779" fmla="*/ 148083 w 2967861"/>
                <a:gd name="connsiteY779" fmla="*/ 1225330 h 2340761"/>
                <a:gd name="connsiteX780" fmla="*/ 152118 w 2967861"/>
                <a:gd name="connsiteY780" fmla="*/ 1227503 h 2340761"/>
                <a:gd name="connsiteX781" fmla="*/ 155223 w 2967861"/>
                <a:gd name="connsiteY781" fmla="*/ 1228434 h 2340761"/>
                <a:gd name="connsiteX782" fmla="*/ 157396 w 2967861"/>
                <a:gd name="connsiteY782" fmla="*/ 1230607 h 2340761"/>
                <a:gd name="connsiteX783" fmla="*/ 157396 w 2967861"/>
                <a:gd name="connsiteY783" fmla="*/ 1232780 h 2340761"/>
                <a:gd name="connsiteX784" fmla="*/ 157396 w 2967861"/>
                <a:gd name="connsiteY784" fmla="*/ 1234953 h 2340761"/>
                <a:gd name="connsiteX785" fmla="*/ 159569 w 2967861"/>
                <a:gd name="connsiteY785" fmla="*/ 1234953 h 2340761"/>
                <a:gd name="connsiteX786" fmla="*/ 159569 w 2967861"/>
                <a:gd name="connsiteY786" fmla="*/ 1235885 h 2340761"/>
                <a:gd name="connsiteX787" fmla="*/ 153360 w 2967861"/>
                <a:gd name="connsiteY787" fmla="*/ 1252959 h 2340761"/>
                <a:gd name="connsiteX788" fmla="*/ 142805 w 2967861"/>
                <a:gd name="connsiteY788" fmla="*/ 1265688 h 2340761"/>
                <a:gd name="connsiteX789" fmla="*/ 130387 w 2967861"/>
                <a:gd name="connsiteY789" fmla="*/ 1277174 h 2340761"/>
                <a:gd name="connsiteX790" fmla="*/ 116728 w 2967861"/>
                <a:gd name="connsiteY790" fmla="*/ 1287729 h 2340761"/>
                <a:gd name="connsiteX791" fmla="*/ 104310 w 2967861"/>
                <a:gd name="connsiteY791" fmla="*/ 1299216 h 2340761"/>
                <a:gd name="connsiteX792" fmla="*/ 94996 w 2967861"/>
                <a:gd name="connsiteY792" fmla="*/ 1314117 h 2340761"/>
                <a:gd name="connsiteX793" fmla="*/ 94065 w 2967861"/>
                <a:gd name="connsiteY793" fmla="*/ 1324672 h 2340761"/>
                <a:gd name="connsiteX794" fmla="*/ 94996 w 2967861"/>
                <a:gd name="connsiteY794" fmla="*/ 1337401 h 2340761"/>
                <a:gd name="connsiteX795" fmla="*/ 94996 w 2967861"/>
                <a:gd name="connsiteY795" fmla="*/ 1348887 h 2340761"/>
                <a:gd name="connsiteX796" fmla="*/ 91892 w 2967861"/>
                <a:gd name="connsiteY796" fmla="*/ 1357269 h 2340761"/>
                <a:gd name="connsiteX797" fmla="*/ 77301 w 2967861"/>
                <a:gd name="connsiteY797" fmla="*/ 1366893 h 2340761"/>
                <a:gd name="connsiteX798" fmla="*/ 62710 w 2967861"/>
                <a:gd name="connsiteY798" fmla="*/ 1374344 h 2340761"/>
                <a:gd name="connsiteX799" fmla="*/ 48119 w 2967861"/>
                <a:gd name="connsiteY799" fmla="*/ 1383967 h 2340761"/>
                <a:gd name="connsiteX800" fmla="*/ 35701 w 2967861"/>
                <a:gd name="connsiteY800" fmla="*/ 1394523 h 2340761"/>
                <a:gd name="connsiteX801" fmla="*/ 31666 w 2967861"/>
                <a:gd name="connsiteY801" fmla="*/ 1401973 h 2340761"/>
                <a:gd name="connsiteX802" fmla="*/ 24525 w 2967861"/>
                <a:gd name="connsiteY802" fmla="*/ 1415633 h 2340761"/>
                <a:gd name="connsiteX803" fmla="*/ 17385 w 2967861"/>
                <a:gd name="connsiteY803" fmla="*/ 1431466 h 2340761"/>
                <a:gd name="connsiteX804" fmla="*/ 10245 w 2967861"/>
                <a:gd name="connsiteY804" fmla="*/ 1450403 h 2340761"/>
                <a:gd name="connsiteX805" fmla="*/ 3104 w 2967861"/>
                <a:gd name="connsiteY805" fmla="*/ 1466236 h 2340761"/>
                <a:gd name="connsiteX806" fmla="*/ 0 w 2967861"/>
                <a:gd name="connsiteY806" fmla="*/ 1481137 h 2340761"/>
                <a:gd name="connsiteX807" fmla="*/ 0 w 2967861"/>
                <a:gd name="connsiteY807" fmla="*/ 1492623 h 2340761"/>
                <a:gd name="connsiteX808" fmla="*/ 3104 w 2967861"/>
                <a:gd name="connsiteY808" fmla="*/ 1500074 h 2340761"/>
                <a:gd name="connsiteX809" fmla="*/ 9313 w 2967861"/>
                <a:gd name="connsiteY809" fmla="*/ 1509698 h 2340761"/>
                <a:gd name="connsiteX810" fmla="*/ 12418 w 2967861"/>
                <a:gd name="connsiteY810" fmla="*/ 1518080 h 2340761"/>
                <a:gd name="connsiteX811" fmla="*/ 12418 w 2967861"/>
                <a:gd name="connsiteY811" fmla="*/ 1532981 h 2340761"/>
                <a:gd name="connsiteX812" fmla="*/ 10245 w 2967861"/>
                <a:gd name="connsiteY812" fmla="*/ 1542605 h 2340761"/>
                <a:gd name="connsiteX813" fmla="*/ 7140 w 2967861"/>
                <a:gd name="connsiteY813" fmla="*/ 1555334 h 2340761"/>
                <a:gd name="connsiteX814" fmla="*/ 3104 w 2967861"/>
                <a:gd name="connsiteY814" fmla="*/ 1570235 h 2340761"/>
                <a:gd name="connsiteX815" fmla="*/ 2173 w 2967861"/>
                <a:gd name="connsiteY815" fmla="*/ 1587309 h 2340761"/>
                <a:gd name="connsiteX816" fmla="*/ 5278 w 2967861"/>
                <a:gd name="connsiteY816" fmla="*/ 1597865 h 2340761"/>
                <a:gd name="connsiteX817" fmla="*/ 5278 w 2967861"/>
                <a:gd name="connsiteY817" fmla="*/ 1622079 h 2340761"/>
                <a:gd name="connsiteX818" fmla="*/ 14591 w 2967861"/>
                <a:gd name="connsiteY818" fmla="*/ 1633566 h 2340761"/>
                <a:gd name="connsiteX819" fmla="*/ 29182 w 2967861"/>
                <a:gd name="connsiteY819" fmla="*/ 1646294 h 2340761"/>
                <a:gd name="connsiteX820" fmla="*/ 45946 w 2967861"/>
                <a:gd name="connsiteY820" fmla="*/ 1659022 h 2340761"/>
                <a:gd name="connsiteX821" fmla="*/ 56501 w 2967861"/>
                <a:gd name="connsiteY821" fmla="*/ 1671751 h 2340761"/>
                <a:gd name="connsiteX822" fmla="*/ 65815 w 2967861"/>
                <a:gd name="connsiteY822" fmla="*/ 1695965 h 2340761"/>
                <a:gd name="connsiteX823" fmla="*/ 78232 w 2967861"/>
                <a:gd name="connsiteY823" fmla="*/ 1705589 h 2340761"/>
                <a:gd name="connsiteX824" fmla="*/ 92823 w 2967861"/>
                <a:gd name="connsiteY824" fmla="*/ 1713040 h 2340761"/>
                <a:gd name="connsiteX825" fmla="*/ 107414 w 2967861"/>
                <a:gd name="connsiteY825" fmla="*/ 1720491 h 2340761"/>
                <a:gd name="connsiteX826" fmla="*/ 122005 w 2967861"/>
                <a:gd name="connsiteY826" fmla="*/ 1727941 h 2340761"/>
                <a:gd name="connsiteX827" fmla="*/ 132560 w 2967861"/>
                <a:gd name="connsiteY827" fmla="*/ 1740670 h 2340761"/>
                <a:gd name="connsiteX828" fmla="*/ 139701 w 2967861"/>
                <a:gd name="connsiteY828" fmla="*/ 1738497 h 2340761"/>
                <a:gd name="connsiteX829" fmla="*/ 145910 w 2967861"/>
                <a:gd name="connsiteY829" fmla="*/ 1736323 h 2340761"/>
                <a:gd name="connsiteX830" fmla="*/ 149014 w 2967861"/>
                <a:gd name="connsiteY830" fmla="*/ 1733219 h 2340761"/>
                <a:gd name="connsiteX831" fmla="*/ 153050 w 2967861"/>
                <a:gd name="connsiteY831" fmla="*/ 1731046 h 2340761"/>
                <a:gd name="connsiteX832" fmla="*/ 161432 w 2967861"/>
                <a:gd name="connsiteY832" fmla="*/ 1733219 h 2340761"/>
                <a:gd name="connsiteX833" fmla="*/ 172918 w 2967861"/>
                <a:gd name="connsiteY833" fmla="*/ 1736323 h 2340761"/>
                <a:gd name="connsiteX834" fmla="*/ 185336 w 2967861"/>
                <a:gd name="connsiteY834" fmla="*/ 1736323 h 2340761"/>
                <a:gd name="connsiteX835" fmla="*/ 189372 w 2967861"/>
                <a:gd name="connsiteY835" fmla="*/ 1723595 h 2340761"/>
                <a:gd name="connsiteX836" fmla="*/ 224763 w 2967861"/>
                <a:gd name="connsiteY836" fmla="*/ 1731046 h 2340761"/>
                <a:gd name="connsiteX837" fmla="*/ 239354 w 2967861"/>
                <a:gd name="connsiteY837" fmla="*/ 1725768 h 2340761"/>
                <a:gd name="connsiteX838" fmla="*/ 257980 w 2967861"/>
                <a:gd name="connsiteY838" fmla="*/ 1718318 h 2340761"/>
                <a:gd name="connsiteX839" fmla="*/ 275676 w 2967861"/>
                <a:gd name="connsiteY839" fmla="*/ 1710867 h 2340761"/>
                <a:gd name="connsiteX840" fmla="*/ 290267 w 2967861"/>
                <a:gd name="connsiteY840" fmla="*/ 1713040 h 2340761"/>
                <a:gd name="connsiteX841" fmla="*/ 302685 w 2967861"/>
                <a:gd name="connsiteY841" fmla="*/ 1713971 h 2340761"/>
                <a:gd name="connsiteX842" fmla="*/ 316344 w 2967861"/>
                <a:gd name="connsiteY842" fmla="*/ 1716144 h 2340761"/>
                <a:gd name="connsiteX843" fmla="*/ 336213 w 2967861"/>
                <a:gd name="connsiteY843" fmla="*/ 1747810 h 2340761"/>
                <a:gd name="connsiteX844" fmla="*/ 343353 w 2967861"/>
                <a:gd name="connsiteY844" fmla="*/ 1747810 h 2340761"/>
                <a:gd name="connsiteX845" fmla="*/ 348631 w 2967861"/>
                <a:gd name="connsiteY845" fmla="*/ 1747810 h 2340761"/>
                <a:gd name="connsiteX846" fmla="*/ 353908 w 2967861"/>
                <a:gd name="connsiteY846" fmla="*/ 1745637 h 2340761"/>
                <a:gd name="connsiteX847" fmla="*/ 356081 w 2967861"/>
                <a:gd name="connsiteY847" fmla="*/ 1743464 h 2340761"/>
                <a:gd name="connsiteX848" fmla="*/ 360117 w 2967861"/>
                <a:gd name="connsiteY848" fmla="*/ 1740359 h 2340761"/>
                <a:gd name="connsiteX849" fmla="*/ 367257 w 2967861"/>
                <a:gd name="connsiteY849" fmla="*/ 1742532 h 2340761"/>
                <a:gd name="connsiteX850" fmla="*/ 372535 w 2967861"/>
                <a:gd name="connsiteY850" fmla="*/ 1742532 h 2340761"/>
                <a:gd name="connsiteX851" fmla="*/ 375639 w 2967861"/>
                <a:gd name="connsiteY851" fmla="*/ 1743464 h 2340761"/>
                <a:gd name="connsiteX852" fmla="*/ 379675 w 2967861"/>
                <a:gd name="connsiteY852" fmla="*/ 1747810 h 2340761"/>
                <a:gd name="connsiteX853" fmla="*/ 382780 w 2967861"/>
                <a:gd name="connsiteY853" fmla="*/ 1749983 h 2340761"/>
                <a:gd name="connsiteX854" fmla="*/ 388989 w 2967861"/>
                <a:gd name="connsiteY854" fmla="*/ 1753088 h 2340761"/>
                <a:gd name="connsiteX855" fmla="*/ 382780 w 2967861"/>
                <a:gd name="connsiteY855" fmla="*/ 1775440 h 2340761"/>
                <a:gd name="connsiteX856" fmla="*/ 377502 w 2967861"/>
                <a:gd name="connsiteY856" fmla="*/ 1795619 h 2340761"/>
                <a:gd name="connsiteX857" fmla="*/ 372224 w 2967861"/>
                <a:gd name="connsiteY857" fmla="*/ 1817971 h 2340761"/>
                <a:gd name="connsiteX858" fmla="*/ 388989 w 2967861"/>
                <a:gd name="connsiteY858" fmla="*/ 1835045 h 2340761"/>
                <a:gd name="connsiteX859" fmla="*/ 404511 w 2967861"/>
                <a:gd name="connsiteY859" fmla="*/ 1855224 h 2340761"/>
                <a:gd name="connsiteX860" fmla="*/ 421275 w 2967861"/>
                <a:gd name="connsiteY860" fmla="*/ 1877576 h 2340761"/>
                <a:gd name="connsiteX861" fmla="*/ 431830 w 2967861"/>
                <a:gd name="connsiteY861" fmla="*/ 1899928 h 2340761"/>
                <a:gd name="connsiteX862" fmla="*/ 435866 w 2967861"/>
                <a:gd name="connsiteY862" fmla="*/ 1917003 h 2340761"/>
                <a:gd name="connsiteX863" fmla="*/ 435866 w 2967861"/>
                <a:gd name="connsiteY863" fmla="*/ 1929731 h 2340761"/>
                <a:gd name="connsiteX864" fmla="*/ 438039 w 2967861"/>
                <a:gd name="connsiteY864" fmla="*/ 1942459 h 2340761"/>
                <a:gd name="connsiteX865" fmla="*/ 445179 w 2967861"/>
                <a:gd name="connsiteY865" fmla="*/ 1957361 h 2340761"/>
                <a:gd name="connsiteX866" fmla="*/ 438970 w 2967861"/>
                <a:gd name="connsiteY866" fmla="*/ 1972262 h 2340761"/>
                <a:gd name="connsiteX867" fmla="*/ 431830 w 2967861"/>
                <a:gd name="connsiteY867" fmla="*/ 1989337 h 2340761"/>
                <a:gd name="connsiteX868" fmla="*/ 421275 w 2967861"/>
                <a:gd name="connsiteY868" fmla="*/ 2009516 h 2340761"/>
                <a:gd name="connsiteX869" fmla="*/ 414135 w 2967861"/>
                <a:gd name="connsiteY869" fmla="*/ 2027522 h 2340761"/>
                <a:gd name="connsiteX870" fmla="*/ 410099 w 2967861"/>
                <a:gd name="connsiteY870" fmla="*/ 2048632 h 2340761"/>
                <a:gd name="connsiteX871" fmla="*/ 412272 w 2967861"/>
                <a:gd name="connsiteY871" fmla="*/ 2066638 h 2340761"/>
                <a:gd name="connsiteX872" fmla="*/ 419412 w 2967861"/>
                <a:gd name="connsiteY872" fmla="*/ 2081539 h 2340761"/>
                <a:gd name="connsiteX873" fmla="*/ 430899 w 2967861"/>
                <a:gd name="connsiteY873" fmla="*/ 2096441 h 2340761"/>
                <a:gd name="connsiteX874" fmla="*/ 441454 w 2967861"/>
                <a:gd name="connsiteY874" fmla="*/ 2113515 h 2340761"/>
                <a:gd name="connsiteX875" fmla="*/ 448594 w 2967861"/>
                <a:gd name="connsiteY875" fmla="*/ 2128416 h 2340761"/>
                <a:gd name="connsiteX876" fmla="*/ 448594 w 2967861"/>
                <a:gd name="connsiteY876" fmla="*/ 2133694 h 2340761"/>
                <a:gd name="connsiteX877" fmla="*/ 448594 w 2967861"/>
                <a:gd name="connsiteY877" fmla="*/ 2138972 h 2340761"/>
                <a:gd name="connsiteX878" fmla="*/ 446421 w 2967861"/>
                <a:gd name="connsiteY878" fmla="*/ 2143318 h 2340761"/>
                <a:gd name="connsiteX879" fmla="*/ 445490 w 2967861"/>
                <a:gd name="connsiteY879" fmla="*/ 2148595 h 2340761"/>
                <a:gd name="connsiteX880" fmla="*/ 445490 w 2967861"/>
                <a:gd name="connsiteY880" fmla="*/ 2151700 h 2340761"/>
                <a:gd name="connsiteX881" fmla="*/ 445490 w 2967861"/>
                <a:gd name="connsiteY881" fmla="*/ 2156046 h 2340761"/>
                <a:gd name="connsiteX882" fmla="*/ 452630 w 2967861"/>
                <a:gd name="connsiteY882" fmla="*/ 2159151 h 2340761"/>
                <a:gd name="connsiteX883" fmla="*/ 450457 w 2967861"/>
                <a:gd name="connsiteY883" fmla="*/ 2163497 h 2340761"/>
                <a:gd name="connsiteX884" fmla="*/ 448284 w 2967861"/>
                <a:gd name="connsiteY884" fmla="*/ 2166601 h 2340761"/>
                <a:gd name="connsiteX885" fmla="*/ 448284 w 2967861"/>
                <a:gd name="connsiteY885" fmla="*/ 2170948 h 2340761"/>
                <a:gd name="connsiteX886" fmla="*/ 446111 w 2967861"/>
                <a:gd name="connsiteY886" fmla="*/ 2176225 h 2340761"/>
                <a:gd name="connsiteX887" fmla="*/ 448284 w 2967861"/>
                <a:gd name="connsiteY887" fmla="*/ 2181503 h 2340761"/>
                <a:gd name="connsiteX888" fmla="*/ 450457 w 2967861"/>
                <a:gd name="connsiteY888" fmla="*/ 2181503 h 2340761"/>
                <a:gd name="connsiteX889" fmla="*/ 452630 w 2967861"/>
                <a:gd name="connsiteY889" fmla="*/ 2185849 h 2340761"/>
                <a:gd name="connsiteX890" fmla="*/ 455734 w 2967861"/>
                <a:gd name="connsiteY890" fmla="*/ 2186780 h 2340761"/>
                <a:gd name="connsiteX891" fmla="*/ 459770 w 2967861"/>
                <a:gd name="connsiteY891" fmla="*/ 2191127 h 2340761"/>
                <a:gd name="connsiteX892" fmla="*/ 459770 w 2967861"/>
                <a:gd name="connsiteY892" fmla="*/ 2193300 h 2340761"/>
                <a:gd name="connsiteX893" fmla="*/ 455734 w 2967861"/>
                <a:gd name="connsiteY893" fmla="*/ 2206028 h 2340761"/>
                <a:gd name="connsiteX894" fmla="*/ 465048 w 2967861"/>
                <a:gd name="connsiteY894" fmla="*/ 2224034 h 2340761"/>
                <a:gd name="connsiteX895" fmla="*/ 479639 w 2967861"/>
                <a:gd name="connsiteY895" fmla="*/ 2242971 h 2340761"/>
                <a:gd name="connsiteX896" fmla="*/ 494230 w 2967861"/>
                <a:gd name="connsiteY896" fmla="*/ 2260046 h 2340761"/>
                <a:gd name="connsiteX897" fmla="*/ 504785 w 2967861"/>
                <a:gd name="connsiteY897" fmla="*/ 2278051 h 2340761"/>
                <a:gd name="connsiteX898" fmla="*/ 506958 w 2967861"/>
                <a:gd name="connsiteY898" fmla="*/ 2290780 h 2340761"/>
                <a:gd name="connsiteX899" fmla="*/ 506958 w 2967861"/>
                <a:gd name="connsiteY899" fmla="*/ 2303508 h 2340761"/>
                <a:gd name="connsiteX900" fmla="*/ 506958 w 2967861"/>
                <a:gd name="connsiteY900" fmla="*/ 2314994 h 2340761"/>
                <a:gd name="connsiteX901" fmla="*/ 509131 w 2967861"/>
                <a:gd name="connsiteY901" fmla="*/ 2324618 h 2340761"/>
                <a:gd name="connsiteX902" fmla="*/ 512236 w 2967861"/>
                <a:gd name="connsiteY902" fmla="*/ 2327723 h 2340761"/>
                <a:gd name="connsiteX903" fmla="*/ 516271 w 2967861"/>
                <a:gd name="connsiteY903" fmla="*/ 2333000 h 2340761"/>
                <a:gd name="connsiteX904" fmla="*/ 519376 w 2967861"/>
                <a:gd name="connsiteY904" fmla="*/ 2335173 h 2340761"/>
                <a:gd name="connsiteX905" fmla="*/ 523411 w 2967861"/>
                <a:gd name="connsiteY905" fmla="*/ 2339520 h 2340761"/>
                <a:gd name="connsiteX906" fmla="*/ 528689 w 2967861"/>
                <a:gd name="connsiteY906" fmla="*/ 2342624 h 2340761"/>
                <a:gd name="connsiteX907" fmla="*/ 553835 w 2967861"/>
                <a:gd name="connsiteY907" fmla="*/ 2337347 h 2340761"/>
                <a:gd name="connsiteX908" fmla="*/ 582086 w 2967861"/>
                <a:gd name="connsiteY908" fmla="*/ 2332069 h 2340761"/>
                <a:gd name="connsiteX909" fmla="*/ 609095 w 2967861"/>
                <a:gd name="connsiteY909" fmla="*/ 2324618 h 2340761"/>
                <a:gd name="connsiteX910" fmla="*/ 636103 w 2967861"/>
                <a:gd name="connsiteY910" fmla="*/ 2317168 h 2340761"/>
                <a:gd name="connsiteX911" fmla="*/ 657834 w 2967861"/>
                <a:gd name="connsiteY911" fmla="*/ 2303508 h 2340761"/>
                <a:gd name="connsiteX912" fmla="*/ 675530 w 2967861"/>
                <a:gd name="connsiteY912" fmla="*/ 2287675 h 2340761"/>
                <a:gd name="connsiteX913" fmla="*/ 684843 w 2967861"/>
                <a:gd name="connsiteY913" fmla="*/ 2270601 h 2340761"/>
                <a:gd name="connsiteX914" fmla="*/ 691984 w 2967861"/>
                <a:gd name="connsiteY914" fmla="*/ 2253526 h 2340761"/>
                <a:gd name="connsiteX915" fmla="*/ 715888 w 2967861"/>
                <a:gd name="connsiteY915" fmla="*/ 2233347 h 2340761"/>
                <a:gd name="connsiteX916" fmla="*/ 718992 w 2967861"/>
                <a:gd name="connsiteY916" fmla="*/ 2218446 h 2340761"/>
                <a:gd name="connsiteX917" fmla="*/ 721165 w 2967861"/>
                <a:gd name="connsiteY917" fmla="*/ 2203544 h 2340761"/>
                <a:gd name="connsiteX918" fmla="*/ 723339 w 2967861"/>
                <a:gd name="connsiteY918" fmla="*/ 2188643 h 2340761"/>
                <a:gd name="connsiteX919" fmla="*/ 728616 w 2967861"/>
                <a:gd name="connsiteY919" fmla="*/ 2175915 h 2340761"/>
                <a:gd name="connsiteX920" fmla="*/ 748485 w 2967861"/>
                <a:gd name="connsiteY920" fmla="*/ 2171568 h 2340761"/>
                <a:gd name="connsiteX921" fmla="*/ 752520 w 2967861"/>
                <a:gd name="connsiteY921" fmla="*/ 2168464 h 2340761"/>
                <a:gd name="connsiteX922" fmla="*/ 753452 w 2967861"/>
                <a:gd name="connsiteY922" fmla="*/ 2164118 h 2340761"/>
                <a:gd name="connsiteX923" fmla="*/ 757488 w 2967861"/>
                <a:gd name="connsiteY923" fmla="*/ 2161013 h 2340761"/>
                <a:gd name="connsiteX924" fmla="*/ 759661 w 2967861"/>
                <a:gd name="connsiteY924" fmla="*/ 2158840 h 2340761"/>
                <a:gd name="connsiteX925" fmla="*/ 762765 w 2967861"/>
                <a:gd name="connsiteY925" fmla="*/ 2155736 h 2340761"/>
                <a:gd name="connsiteX926" fmla="*/ 768043 w 2967861"/>
                <a:gd name="connsiteY926" fmla="*/ 2151390 h 2340761"/>
                <a:gd name="connsiteX927" fmla="*/ 764938 w 2967861"/>
                <a:gd name="connsiteY927" fmla="*/ 2131211 h 2340761"/>
                <a:gd name="connsiteX928" fmla="*/ 757798 w 2967861"/>
                <a:gd name="connsiteY928" fmla="*/ 2114136 h 2340761"/>
                <a:gd name="connsiteX929" fmla="*/ 748485 w 2967861"/>
                <a:gd name="connsiteY929" fmla="*/ 2103581 h 2340761"/>
                <a:gd name="connsiteX930" fmla="*/ 757798 w 2967861"/>
                <a:gd name="connsiteY930" fmla="*/ 2084644 h 2340761"/>
                <a:gd name="connsiteX931" fmla="*/ 772389 w 2967861"/>
                <a:gd name="connsiteY931" fmla="*/ 2071915 h 2340761"/>
                <a:gd name="connsiteX932" fmla="*/ 790084 w 2967861"/>
                <a:gd name="connsiteY932" fmla="*/ 2062291 h 2340761"/>
                <a:gd name="connsiteX933" fmla="*/ 808711 w 2967861"/>
                <a:gd name="connsiteY933" fmla="*/ 2053909 h 2340761"/>
                <a:gd name="connsiteX934" fmla="*/ 824234 w 2967861"/>
                <a:gd name="connsiteY934" fmla="*/ 2042423 h 2340761"/>
                <a:gd name="connsiteX935" fmla="*/ 835720 w 2967861"/>
                <a:gd name="connsiteY935" fmla="*/ 2019140 h 2340761"/>
                <a:gd name="connsiteX936" fmla="*/ 837893 w 2967861"/>
                <a:gd name="connsiteY936" fmla="*/ 1996787 h 2340761"/>
                <a:gd name="connsiteX937" fmla="*/ 831684 w 2967861"/>
                <a:gd name="connsiteY937" fmla="*/ 1974435 h 2340761"/>
                <a:gd name="connsiteX938" fmla="*/ 824544 w 2967861"/>
                <a:gd name="connsiteY938" fmla="*/ 1952083 h 2340761"/>
                <a:gd name="connsiteX939" fmla="*/ 817404 w 2967861"/>
                <a:gd name="connsiteY939" fmla="*/ 1931904 h 2340761"/>
                <a:gd name="connsiteX940" fmla="*/ 810263 w 2967861"/>
                <a:gd name="connsiteY940" fmla="*/ 1909552 h 2340761"/>
                <a:gd name="connsiteX941" fmla="*/ 807159 w 2967861"/>
                <a:gd name="connsiteY941" fmla="*/ 1887200 h 2340761"/>
                <a:gd name="connsiteX942" fmla="*/ 812437 w 2967861"/>
                <a:gd name="connsiteY942" fmla="*/ 1862985 h 2340761"/>
                <a:gd name="connsiteX943" fmla="*/ 827027 w 2967861"/>
                <a:gd name="connsiteY943" fmla="*/ 1837529 h 2340761"/>
                <a:gd name="connsiteX944" fmla="*/ 845654 w 2967861"/>
                <a:gd name="connsiteY944" fmla="*/ 1815177 h 2340761"/>
                <a:gd name="connsiteX945" fmla="*/ 867385 w 2967861"/>
                <a:gd name="connsiteY945" fmla="*/ 1794066 h 2340761"/>
                <a:gd name="connsiteX946" fmla="*/ 890358 w 2967861"/>
                <a:gd name="connsiteY946" fmla="*/ 1776060 h 2340761"/>
                <a:gd name="connsiteX947" fmla="*/ 912090 w 2967861"/>
                <a:gd name="connsiteY947" fmla="*/ 1757123 h 2340761"/>
                <a:gd name="connsiteX948" fmla="*/ 931958 w 2967861"/>
                <a:gd name="connsiteY948" fmla="*/ 1736944 h 2340761"/>
                <a:gd name="connsiteX949" fmla="*/ 945618 w 2967861"/>
                <a:gd name="connsiteY949" fmla="*/ 1718938 h 2340761"/>
                <a:gd name="connsiteX950" fmla="*/ 958036 w 2967861"/>
                <a:gd name="connsiteY950" fmla="*/ 1696586 h 2340761"/>
                <a:gd name="connsiteX951" fmla="*/ 968591 w 2967861"/>
                <a:gd name="connsiteY951" fmla="*/ 1674234 h 2340761"/>
                <a:gd name="connsiteX952" fmla="*/ 975731 w 2967861"/>
                <a:gd name="connsiteY952" fmla="*/ 1655297 h 2340761"/>
                <a:gd name="connsiteX953" fmla="*/ 979767 w 2967861"/>
                <a:gd name="connsiteY953" fmla="*/ 1642569 h 2340761"/>
                <a:gd name="connsiteX954" fmla="*/ 979767 w 2967861"/>
                <a:gd name="connsiteY954" fmla="*/ 1631393 h 2340761"/>
                <a:gd name="connsiteX955" fmla="*/ 985044 w 2967861"/>
                <a:gd name="connsiteY955" fmla="*/ 1621769 h 2340761"/>
                <a:gd name="connsiteX956" fmla="*/ 985044 w 2967861"/>
                <a:gd name="connsiteY956" fmla="*/ 1618665 h 2340761"/>
                <a:gd name="connsiteX957" fmla="*/ 963313 w 2967861"/>
                <a:gd name="connsiteY957" fmla="*/ 1621769 h 2340761"/>
                <a:gd name="connsiteX958" fmla="*/ 939409 w 2967861"/>
                <a:gd name="connsiteY958" fmla="*/ 1627046 h 2340761"/>
                <a:gd name="connsiteX959" fmla="*/ 914263 w 2967861"/>
                <a:gd name="connsiteY959" fmla="*/ 1633255 h 2340761"/>
                <a:gd name="connsiteX960" fmla="*/ 895636 w 2967861"/>
                <a:gd name="connsiteY960" fmla="*/ 1641637 h 2340761"/>
                <a:gd name="connsiteX961" fmla="*/ 880114 w 2967861"/>
                <a:gd name="connsiteY961" fmla="*/ 1640706 h 2340761"/>
                <a:gd name="connsiteX962" fmla="*/ 874836 w 2967861"/>
                <a:gd name="connsiteY962" fmla="*/ 1634497 h 2340761"/>
                <a:gd name="connsiteX963" fmla="*/ 872663 w 2967861"/>
                <a:gd name="connsiteY963" fmla="*/ 1629220 h 2340761"/>
                <a:gd name="connsiteX964" fmla="*/ 872663 w 2967861"/>
                <a:gd name="connsiteY964" fmla="*/ 1623942 h 2340761"/>
                <a:gd name="connsiteX965" fmla="*/ 872663 w 2967861"/>
                <a:gd name="connsiteY965" fmla="*/ 1616491 h 2340761"/>
                <a:gd name="connsiteX966" fmla="*/ 868627 w 2967861"/>
                <a:gd name="connsiteY966" fmla="*/ 1611214 h 2340761"/>
                <a:gd name="connsiteX967" fmla="*/ 854036 w 2967861"/>
                <a:gd name="connsiteY967" fmla="*/ 1599727 h 2340761"/>
                <a:gd name="connsiteX968" fmla="*/ 836341 w 2967861"/>
                <a:gd name="connsiteY968" fmla="*/ 1589172 h 2340761"/>
                <a:gd name="connsiteX969" fmla="*/ 819577 w 2967861"/>
                <a:gd name="connsiteY969" fmla="*/ 1577686 h 2340761"/>
                <a:gd name="connsiteX970" fmla="*/ 809022 w 2967861"/>
                <a:gd name="connsiteY970" fmla="*/ 1564957 h 2340761"/>
                <a:gd name="connsiteX971" fmla="*/ 804986 w 2967861"/>
                <a:gd name="connsiteY971" fmla="*/ 1553471 h 2340761"/>
                <a:gd name="connsiteX972" fmla="*/ 802813 w 2967861"/>
                <a:gd name="connsiteY972" fmla="*/ 1545089 h 2340761"/>
                <a:gd name="connsiteX973" fmla="*/ 799708 w 2967861"/>
                <a:gd name="connsiteY973" fmla="*/ 1533602 h 2340761"/>
                <a:gd name="connsiteX974" fmla="*/ 797535 w 2967861"/>
                <a:gd name="connsiteY974" fmla="*/ 1530498 h 2340761"/>
                <a:gd name="connsiteX975" fmla="*/ 792258 w 2967861"/>
                <a:gd name="connsiteY975" fmla="*/ 1526152 h 2340761"/>
                <a:gd name="connsiteX976" fmla="*/ 786980 w 2967861"/>
                <a:gd name="connsiteY976" fmla="*/ 1523047 h 2340761"/>
                <a:gd name="connsiteX977" fmla="*/ 782944 w 2967861"/>
                <a:gd name="connsiteY977" fmla="*/ 1517770 h 2340761"/>
                <a:gd name="connsiteX978" fmla="*/ 779840 w 2967861"/>
                <a:gd name="connsiteY978" fmla="*/ 1513423 h 2340761"/>
                <a:gd name="connsiteX979" fmla="*/ 779840 w 2967861"/>
                <a:gd name="connsiteY979" fmla="*/ 1476480 h 2340761"/>
                <a:gd name="connsiteX980" fmla="*/ 777667 w 2967861"/>
                <a:gd name="connsiteY980" fmla="*/ 1471203 h 2340761"/>
                <a:gd name="connsiteX981" fmla="*/ 772389 w 2967861"/>
                <a:gd name="connsiteY981" fmla="*/ 1466856 h 2340761"/>
                <a:gd name="connsiteX982" fmla="*/ 768353 w 2967861"/>
                <a:gd name="connsiteY982" fmla="*/ 1463752 h 2340761"/>
                <a:gd name="connsiteX983" fmla="*/ 763076 w 2967861"/>
                <a:gd name="connsiteY983" fmla="*/ 1459406 h 2340761"/>
                <a:gd name="connsiteX984" fmla="*/ 759971 w 2967861"/>
                <a:gd name="connsiteY984" fmla="*/ 1456301 h 2340761"/>
                <a:gd name="connsiteX985" fmla="*/ 750658 w 2967861"/>
                <a:gd name="connsiteY985" fmla="*/ 1436122 h 2340761"/>
                <a:gd name="connsiteX986" fmla="*/ 743518 w 2967861"/>
                <a:gd name="connsiteY986" fmla="*/ 1415943 h 2340761"/>
                <a:gd name="connsiteX987" fmla="*/ 736377 w 2967861"/>
                <a:gd name="connsiteY987" fmla="*/ 1393591 h 2340761"/>
                <a:gd name="connsiteX988" fmla="*/ 724891 w 2967861"/>
                <a:gd name="connsiteY988" fmla="*/ 1374654 h 2340761"/>
                <a:gd name="connsiteX989" fmla="*/ 712473 w 2967861"/>
                <a:gd name="connsiteY989" fmla="*/ 1357580 h 2340761"/>
                <a:gd name="connsiteX990" fmla="*/ 712473 w 2967861"/>
                <a:gd name="connsiteY990" fmla="*/ 1350129 h 2340761"/>
                <a:gd name="connsiteX991" fmla="*/ 716509 w 2967861"/>
                <a:gd name="connsiteY991" fmla="*/ 1350129 h 2340761"/>
                <a:gd name="connsiteX992" fmla="*/ 719613 w 2967861"/>
                <a:gd name="connsiteY992" fmla="*/ 1357580 h 2340761"/>
                <a:gd name="connsiteX993" fmla="*/ 723649 w 2967861"/>
                <a:gd name="connsiteY993" fmla="*/ 1363788 h 2340761"/>
                <a:gd name="connsiteX994" fmla="*/ 726753 w 2967861"/>
                <a:gd name="connsiteY994" fmla="*/ 1366893 h 2340761"/>
                <a:gd name="connsiteX995" fmla="*/ 730789 w 2967861"/>
                <a:gd name="connsiteY995" fmla="*/ 1369066 h 2340761"/>
                <a:gd name="connsiteX996" fmla="*/ 733894 w 2967861"/>
                <a:gd name="connsiteY996" fmla="*/ 1371239 h 2340761"/>
                <a:gd name="connsiteX997" fmla="*/ 737930 w 2967861"/>
                <a:gd name="connsiteY997" fmla="*/ 1372170 h 2340761"/>
                <a:gd name="connsiteX998" fmla="*/ 738861 w 2967861"/>
                <a:gd name="connsiteY998" fmla="*/ 1376517 h 2340761"/>
                <a:gd name="connsiteX999" fmla="*/ 745070 w 2967861"/>
                <a:gd name="connsiteY999" fmla="*/ 1378690 h 2340761"/>
                <a:gd name="connsiteX1000" fmla="*/ 755625 w 2967861"/>
                <a:gd name="connsiteY1000" fmla="*/ 1386141 h 2340761"/>
                <a:gd name="connsiteX1001" fmla="*/ 762765 w 2967861"/>
                <a:gd name="connsiteY1001" fmla="*/ 1396696 h 2340761"/>
                <a:gd name="connsiteX1002" fmla="*/ 768043 w 2967861"/>
                <a:gd name="connsiteY1002" fmla="*/ 1409424 h 2340761"/>
                <a:gd name="connsiteX1003" fmla="*/ 774252 w 2967861"/>
                <a:gd name="connsiteY1003" fmla="*/ 1423084 h 2340761"/>
                <a:gd name="connsiteX1004" fmla="*/ 779529 w 2967861"/>
                <a:gd name="connsiteY1004" fmla="*/ 1435812 h 2340761"/>
                <a:gd name="connsiteX1005" fmla="*/ 799398 w 2967861"/>
                <a:gd name="connsiteY1005" fmla="*/ 1448540 h 2340761"/>
                <a:gd name="connsiteX1006" fmla="*/ 804675 w 2967861"/>
                <a:gd name="connsiteY1006" fmla="*/ 1459095 h 2340761"/>
                <a:gd name="connsiteX1007" fmla="*/ 806848 w 2967861"/>
                <a:gd name="connsiteY1007" fmla="*/ 1472755 h 2340761"/>
                <a:gd name="connsiteX1008" fmla="*/ 809022 w 2967861"/>
                <a:gd name="connsiteY1008" fmla="*/ 1485483 h 2340761"/>
                <a:gd name="connsiteX1009" fmla="*/ 812126 w 2967861"/>
                <a:gd name="connsiteY1009" fmla="*/ 1496038 h 2340761"/>
                <a:gd name="connsiteX1010" fmla="*/ 824544 w 2967861"/>
                <a:gd name="connsiteY1010" fmla="*/ 1510940 h 2340761"/>
                <a:gd name="connsiteX1011" fmla="*/ 838204 w 2967861"/>
                <a:gd name="connsiteY1011" fmla="*/ 1525841 h 2340761"/>
                <a:gd name="connsiteX1012" fmla="*/ 850621 w 2967861"/>
                <a:gd name="connsiteY1012" fmla="*/ 1542916 h 2340761"/>
                <a:gd name="connsiteX1013" fmla="*/ 859935 w 2967861"/>
                <a:gd name="connsiteY1013" fmla="*/ 1560922 h 2340761"/>
                <a:gd name="connsiteX1014" fmla="*/ 860866 w 2967861"/>
                <a:gd name="connsiteY1014" fmla="*/ 1572408 h 2340761"/>
                <a:gd name="connsiteX1015" fmla="*/ 860866 w 2967861"/>
                <a:gd name="connsiteY1015" fmla="*/ 1582963 h 2340761"/>
                <a:gd name="connsiteX1016" fmla="*/ 863039 w 2967861"/>
                <a:gd name="connsiteY1016" fmla="*/ 1594450 h 2340761"/>
                <a:gd name="connsiteX1017" fmla="*/ 868317 w 2967861"/>
                <a:gd name="connsiteY1017" fmla="*/ 1605005 h 2340761"/>
                <a:gd name="connsiteX1018" fmla="*/ 870490 w 2967861"/>
                <a:gd name="connsiteY1018" fmla="*/ 1609351 h 2340761"/>
                <a:gd name="connsiteX1019" fmla="*/ 872663 w 2967861"/>
                <a:gd name="connsiteY1019" fmla="*/ 1611524 h 2340761"/>
                <a:gd name="connsiteX1020" fmla="*/ 874836 w 2967861"/>
                <a:gd name="connsiteY1020" fmla="*/ 1612456 h 2340761"/>
                <a:gd name="connsiteX1021" fmla="*/ 875767 w 2967861"/>
                <a:gd name="connsiteY1021" fmla="*/ 1612456 h 2340761"/>
                <a:gd name="connsiteX1022" fmla="*/ 879803 w 2967861"/>
                <a:gd name="connsiteY1022" fmla="*/ 1614629 h 2340761"/>
                <a:gd name="connsiteX1023" fmla="*/ 889117 w 2967861"/>
                <a:gd name="connsiteY1023" fmla="*/ 1614629 h 2340761"/>
                <a:gd name="connsiteX1024" fmla="*/ 901534 w 2967861"/>
                <a:gd name="connsiteY1024" fmla="*/ 1611524 h 2340761"/>
                <a:gd name="connsiteX1025" fmla="*/ 913952 w 2967861"/>
                <a:gd name="connsiteY1025" fmla="*/ 1604074 h 2340761"/>
                <a:gd name="connsiteX1026" fmla="*/ 928543 w 2967861"/>
                <a:gd name="connsiteY1026" fmla="*/ 1597865 h 2340761"/>
                <a:gd name="connsiteX1027" fmla="*/ 946239 w 2967861"/>
                <a:gd name="connsiteY1027" fmla="*/ 1592587 h 2340761"/>
                <a:gd name="connsiteX1028" fmla="*/ 963003 w 2967861"/>
                <a:gd name="connsiteY1028" fmla="*/ 1589483 h 2340761"/>
                <a:gd name="connsiteX1029" fmla="*/ 979767 w 2967861"/>
                <a:gd name="connsiteY1029" fmla="*/ 1582032 h 2340761"/>
                <a:gd name="connsiteX1030" fmla="*/ 992185 w 2967861"/>
                <a:gd name="connsiteY1030" fmla="*/ 1572408 h 2340761"/>
                <a:gd name="connsiteX1031" fmla="*/ 1002740 w 2967861"/>
                <a:gd name="connsiteY1031" fmla="*/ 1560922 h 2340761"/>
                <a:gd name="connsiteX1032" fmla="*/ 1016399 w 2967861"/>
                <a:gd name="connsiteY1032" fmla="*/ 1553471 h 2340761"/>
                <a:gd name="connsiteX1033" fmla="*/ 1039372 w 2967861"/>
                <a:gd name="connsiteY1033" fmla="*/ 1553471 h 2340761"/>
                <a:gd name="connsiteX1034" fmla="*/ 1039372 w 2967861"/>
                <a:gd name="connsiteY1034" fmla="*/ 1544468 h 2340761"/>
                <a:gd name="connsiteX1035" fmla="*/ 1057999 w 2967861"/>
                <a:gd name="connsiteY1035" fmla="*/ 1531740 h 2340761"/>
                <a:gd name="connsiteX1036" fmla="*/ 1075694 w 2967861"/>
                <a:gd name="connsiteY1036" fmla="*/ 1520253 h 2340761"/>
                <a:gd name="connsiteX1037" fmla="*/ 1075694 w 2967861"/>
                <a:gd name="connsiteY1037" fmla="*/ 1500074 h 2340761"/>
                <a:gd name="connsiteX1038" fmla="*/ 1089354 w 2967861"/>
                <a:gd name="connsiteY1038" fmla="*/ 1494797 h 2340761"/>
                <a:gd name="connsiteX1039" fmla="*/ 1095563 w 2967861"/>
                <a:gd name="connsiteY1039" fmla="*/ 1487346 h 2340761"/>
                <a:gd name="connsiteX1040" fmla="*/ 1101772 w 2967861"/>
                <a:gd name="connsiteY1040" fmla="*/ 1477722 h 2340761"/>
                <a:gd name="connsiteX1041" fmla="*/ 1108912 w 2967861"/>
                <a:gd name="connsiteY1041" fmla="*/ 1468098 h 2340761"/>
                <a:gd name="connsiteX1042" fmla="*/ 1087181 w 2967861"/>
                <a:gd name="connsiteY1042" fmla="*/ 1450092 h 2340761"/>
                <a:gd name="connsiteX1043" fmla="*/ 1060172 w 2967861"/>
                <a:gd name="connsiteY1043" fmla="*/ 1435191 h 2340761"/>
                <a:gd name="connsiteX1044" fmla="*/ 1057999 w 2967861"/>
                <a:gd name="connsiteY1044" fmla="*/ 1420290 h 2340761"/>
                <a:gd name="connsiteX1045" fmla="*/ 1055826 w 2967861"/>
                <a:gd name="connsiteY1045" fmla="*/ 1401352 h 2340761"/>
                <a:gd name="connsiteX1046" fmla="*/ 1035958 w 2967861"/>
                <a:gd name="connsiteY1046" fmla="*/ 1416254 h 2340761"/>
                <a:gd name="connsiteX1047" fmla="*/ 1019193 w 2967861"/>
                <a:gd name="connsiteY1047" fmla="*/ 1435191 h 2340761"/>
                <a:gd name="connsiteX1048" fmla="*/ 1008638 w 2967861"/>
                <a:gd name="connsiteY1048" fmla="*/ 1435191 h 2340761"/>
                <a:gd name="connsiteX1049" fmla="*/ 999325 w 2967861"/>
                <a:gd name="connsiteY1049" fmla="*/ 1437364 h 2340761"/>
                <a:gd name="connsiteX1050" fmla="*/ 992185 w 2967861"/>
                <a:gd name="connsiteY1050" fmla="*/ 1438295 h 2340761"/>
                <a:gd name="connsiteX1051" fmla="*/ 990011 w 2967861"/>
                <a:gd name="connsiteY1051" fmla="*/ 1433018 h 2340761"/>
                <a:gd name="connsiteX1052" fmla="*/ 989080 w 2967861"/>
                <a:gd name="connsiteY1052" fmla="*/ 1427740 h 2340761"/>
                <a:gd name="connsiteX1053" fmla="*/ 989080 w 2967861"/>
                <a:gd name="connsiteY1053" fmla="*/ 1422463 h 2340761"/>
                <a:gd name="connsiteX1054" fmla="*/ 986907 w 2967861"/>
                <a:gd name="connsiteY1054" fmla="*/ 1416254 h 2340761"/>
                <a:gd name="connsiteX1055" fmla="*/ 984734 w 2967861"/>
                <a:gd name="connsiteY1055" fmla="*/ 1410976 h 2340761"/>
                <a:gd name="connsiteX1056" fmla="*/ 979456 w 2967861"/>
                <a:gd name="connsiteY1056" fmla="*/ 1408803 h 2340761"/>
                <a:gd name="connsiteX1057" fmla="*/ 977283 w 2967861"/>
                <a:gd name="connsiteY1057" fmla="*/ 1408803 h 2340761"/>
                <a:gd name="connsiteX1058" fmla="*/ 975110 w 2967861"/>
                <a:gd name="connsiteY1058" fmla="*/ 1408803 h 2340761"/>
                <a:gd name="connsiteX1059" fmla="*/ 975110 w 2967861"/>
                <a:gd name="connsiteY1059" fmla="*/ 1410976 h 2340761"/>
                <a:gd name="connsiteX1060" fmla="*/ 974179 w 2967861"/>
                <a:gd name="connsiteY1060" fmla="*/ 1413149 h 2340761"/>
                <a:gd name="connsiteX1061" fmla="*/ 972006 w 2967861"/>
                <a:gd name="connsiteY1061" fmla="*/ 1418427 h 2340761"/>
                <a:gd name="connsiteX1062" fmla="*/ 964865 w 2967861"/>
                <a:gd name="connsiteY1062" fmla="*/ 1407872 h 2340761"/>
                <a:gd name="connsiteX1063" fmla="*/ 957725 w 2967861"/>
                <a:gd name="connsiteY1063" fmla="*/ 1392970 h 2340761"/>
                <a:gd name="connsiteX1064" fmla="*/ 948412 w 2967861"/>
                <a:gd name="connsiteY1064" fmla="*/ 1375896 h 2340761"/>
                <a:gd name="connsiteX1065" fmla="*/ 943134 w 2967861"/>
                <a:gd name="connsiteY1065" fmla="*/ 1358821 h 2340761"/>
                <a:gd name="connsiteX1066" fmla="*/ 939098 w 2967861"/>
                <a:gd name="connsiteY1066" fmla="*/ 1343920 h 2340761"/>
                <a:gd name="connsiteX1067" fmla="*/ 946239 w 2967861"/>
                <a:gd name="connsiteY1067" fmla="*/ 1343920 h 2340761"/>
                <a:gd name="connsiteX1068" fmla="*/ 950274 w 2967861"/>
                <a:gd name="connsiteY1068" fmla="*/ 1343920 h 2340761"/>
                <a:gd name="connsiteX1069" fmla="*/ 952448 w 2967861"/>
                <a:gd name="connsiteY1069" fmla="*/ 1343920 h 2340761"/>
                <a:gd name="connsiteX1070" fmla="*/ 953379 w 2967861"/>
                <a:gd name="connsiteY1070" fmla="*/ 1343920 h 2340761"/>
                <a:gd name="connsiteX1071" fmla="*/ 955552 w 2967861"/>
                <a:gd name="connsiteY1071" fmla="*/ 1343920 h 2340761"/>
                <a:gd name="connsiteX1072" fmla="*/ 967039 w 2967861"/>
                <a:gd name="connsiteY1072" fmla="*/ 1353544 h 2340761"/>
                <a:gd name="connsiteX1073" fmla="*/ 972316 w 2967861"/>
                <a:gd name="connsiteY1073" fmla="*/ 1363167 h 2340761"/>
                <a:gd name="connsiteX1074" fmla="*/ 975421 w 2967861"/>
                <a:gd name="connsiteY1074" fmla="*/ 1373723 h 2340761"/>
                <a:gd name="connsiteX1075" fmla="*/ 984734 w 2967861"/>
                <a:gd name="connsiteY1075" fmla="*/ 1381173 h 2340761"/>
                <a:gd name="connsiteX1076" fmla="*/ 997152 w 2967861"/>
                <a:gd name="connsiteY1076" fmla="*/ 1388624 h 2340761"/>
                <a:gd name="connsiteX1077" fmla="*/ 1008638 w 2967861"/>
                <a:gd name="connsiteY1077" fmla="*/ 1393902 h 2340761"/>
                <a:gd name="connsiteX1078" fmla="*/ 1019193 w 2967861"/>
                <a:gd name="connsiteY1078" fmla="*/ 1401352 h 2340761"/>
                <a:gd name="connsiteX1079" fmla="*/ 1031611 w 2967861"/>
                <a:gd name="connsiteY1079" fmla="*/ 1401352 h 2340761"/>
                <a:gd name="connsiteX1080" fmla="*/ 1040925 w 2967861"/>
                <a:gd name="connsiteY1080" fmla="*/ 1400421 h 2340761"/>
                <a:gd name="connsiteX1081" fmla="*/ 1048065 w 2967861"/>
                <a:gd name="connsiteY1081" fmla="*/ 1398248 h 2340761"/>
                <a:gd name="connsiteX1082" fmla="*/ 1059551 w 2967861"/>
                <a:gd name="connsiteY1082" fmla="*/ 1393902 h 2340761"/>
                <a:gd name="connsiteX1083" fmla="*/ 1066692 w 2967861"/>
                <a:gd name="connsiteY1083" fmla="*/ 1407561 h 2340761"/>
                <a:gd name="connsiteX1084" fmla="*/ 1071969 w 2967861"/>
                <a:gd name="connsiteY1084" fmla="*/ 1418116 h 2340761"/>
                <a:gd name="connsiteX1085" fmla="*/ 1102082 w 2967861"/>
                <a:gd name="connsiteY1085" fmla="*/ 1420290 h 2340761"/>
                <a:gd name="connsiteX1086" fmla="*/ 1133438 w 2967861"/>
                <a:gd name="connsiteY1086" fmla="*/ 1422463 h 2340761"/>
                <a:gd name="connsiteX1087" fmla="*/ 1164793 w 2967861"/>
                <a:gd name="connsiteY1087" fmla="*/ 1422463 h 2340761"/>
                <a:gd name="connsiteX1088" fmla="*/ 1194906 w 2967861"/>
                <a:gd name="connsiteY1088" fmla="*/ 1418116 h 2340761"/>
                <a:gd name="connsiteX1089" fmla="*/ 1206392 w 2967861"/>
                <a:gd name="connsiteY1089" fmla="*/ 1429603 h 2340761"/>
                <a:gd name="connsiteX1090" fmla="*/ 1218810 w 2967861"/>
                <a:gd name="connsiteY1090" fmla="*/ 1437985 h 2340761"/>
                <a:gd name="connsiteX1091" fmla="*/ 1231228 w 2967861"/>
                <a:gd name="connsiteY1091" fmla="*/ 1447609 h 2340761"/>
                <a:gd name="connsiteX1092" fmla="*/ 1238368 w 2967861"/>
                <a:gd name="connsiteY1092" fmla="*/ 1458164 h 2340761"/>
                <a:gd name="connsiteX1093" fmla="*/ 1235264 w 2967861"/>
                <a:gd name="connsiteY1093" fmla="*/ 1471824 h 2340761"/>
                <a:gd name="connsiteX1094" fmla="*/ 1238368 w 2967861"/>
                <a:gd name="connsiteY1094" fmla="*/ 1474928 h 2340761"/>
                <a:gd name="connsiteX1095" fmla="*/ 1242404 w 2967861"/>
                <a:gd name="connsiteY1095" fmla="*/ 1479274 h 2340761"/>
                <a:gd name="connsiteX1096" fmla="*/ 1247681 w 2967861"/>
                <a:gd name="connsiteY1096" fmla="*/ 1482379 h 2340761"/>
                <a:gd name="connsiteX1097" fmla="*/ 1251717 w 2967861"/>
                <a:gd name="connsiteY1097" fmla="*/ 1486725 h 2340761"/>
                <a:gd name="connsiteX1098" fmla="*/ 1262273 w 2967861"/>
                <a:gd name="connsiteY1098" fmla="*/ 1487656 h 2340761"/>
                <a:gd name="connsiteX1099" fmla="*/ 1271586 w 2967861"/>
                <a:gd name="connsiteY1099" fmla="*/ 1487656 h 2340761"/>
                <a:gd name="connsiteX1100" fmla="*/ 1284004 w 2967861"/>
                <a:gd name="connsiteY1100" fmla="*/ 1486725 h 2340761"/>
                <a:gd name="connsiteX1101" fmla="*/ 1288039 w 2967861"/>
                <a:gd name="connsiteY1101" fmla="*/ 1524910 h 2340761"/>
                <a:gd name="connsiteX1102" fmla="*/ 1296422 w 2967861"/>
                <a:gd name="connsiteY1102" fmla="*/ 1556575 h 2340761"/>
                <a:gd name="connsiteX1103" fmla="*/ 1308840 w 2967861"/>
                <a:gd name="connsiteY1103" fmla="*/ 1586068 h 2340761"/>
                <a:gd name="connsiteX1104" fmla="*/ 1327466 w 2967861"/>
                <a:gd name="connsiteY1104" fmla="*/ 1613697 h 2340761"/>
                <a:gd name="connsiteX1105" fmla="*/ 1327466 w 2967861"/>
                <a:gd name="connsiteY1105" fmla="*/ 1615870 h 2340761"/>
                <a:gd name="connsiteX1106" fmla="*/ 1325293 w 2967861"/>
                <a:gd name="connsiteY1106" fmla="*/ 1618044 h 2340761"/>
                <a:gd name="connsiteX1107" fmla="*/ 1323120 w 2967861"/>
                <a:gd name="connsiteY1107" fmla="*/ 1621148 h 2340761"/>
                <a:gd name="connsiteX1108" fmla="*/ 1322188 w 2967861"/>
                <a:gd name="connsiteY1108" fmla="*/ 1625494 h 2340761"/>
                <a:gd name="connsiteX1109" fmla="*/ 1323120 w 2967861"/>
                <a:gd name="connsiteY1109" fmla="*/ 1628599 h 2340761"/>
                <a:gd name="connsiteX1110" fmla="*/ 1329329 w 2967861"/>
                <a:gd name="connsiteY1110" fmla="*/ 1645673 h 2340761"/>
                <a:gd name="connsiteX1111" fmla="*/ 1339884 w 2967861"/>
                <a:gd name="connsiteY1111" fmla="*/ 1665852 h 2340761"/>
                <a:gd name="connsiteX1112" fmla="*/ 1351370 w 2967861"/>
                <a:gd name="connsiteY1112" fmla="*/ 1678581 h 2340761"/>
                <a:gd name="connsiteX1113" fmla="*/ 1352302 w 2967861"/>
                <a:gd name="connsiteY1113" fmla="*/ 1680754 h 2340761"/>
                <a:gd name="connsiteX1114" fmla="*/ 1354475 w 2967861"/>
                <a:gd name="connsiteY1114" fmla="*/ 1680754 h 2340761"/>
                <a:gd name="connsiteX1115" fmla="*/ 1356648 w 2967861"/>
                <a:gd name="connsiteY1115" fmla="*/ 1682927 h 2340761"/>
                <a:gd name="connsiteX1116" fmla="*/ 1358821 w 2967861"/>
                <a:gd name="connsiteY1116" fmla="*/ 1682927 h 2340761"/>
                <a:gd name="connsiteX1117" fmla="*/ 1378690 w 2967861"/>
                <a:gd name="connsiteY1117" fmla="*/ 1658712 h 2340761"/>
                <a:gd name="connsiteX1118" fmla="*/ 1391108 w 2967861"/>
                <a:gd name="connsiteY1118" fmla="*/ 1633255 h 2340761"/>
                <a:gd name="connsiteX1119" fmla="*/ 1400421 w 2967861"/>
                <a:gd name="connsiteY1119" fmla="*/ 1601590 h 2340761"/>
                <a:gd name="connsiteX1120" fmla="*/ 1403525 w 2967861"/>
                <a:gd name="connsiteY1120" fmla="*/ 1564647 h 2340761"/>
                <a:gd name="connsiteX1121" fmla="*/ 1415943 w 2967861"/>
                <a:gd name="connsiteY1121" fmla="*/ 1557196 h 2340761"/>
                <a:gd name="connsiteX1122" fmla="*/ 1425257 w 2967861"/>
                <a:gd name="connsiteY1122" fmla="*/ 1547572 h 2340761"/>
                <a:gd name="connsiteX1123" fmla="*/ 1434570 w 2967861"/>
                <a:gd name="connsiteY1123" fmla="*/ 1540122 h 2340761"/>
                <a:gd name="connsiteX1124" fmla="*/ 1451334 w 2967861"/>
                <a:gd name="connsiteY1124" fmla="*/ 1540122 h 2340761"/>
                <a:gd name="connsiteX1125" fmla="*/ 1463752 w 2967861"/>
                <a:gd name="connsiteY1125" fmla="*/ 1507214 h 2340761"/>
                <a:gd name="connsiteX1126" fmla="*/ 1470892 w 2967861"/>
                <a:gd name="connsiteY1126" fmla="*/ 1501937 h 2340761"/>
                <a:gd name="connsiteX1127" fmla="*/ 1478032 w 2967861"/>
                <a:gd name="connsiteY1127" fmla="*/ 1499764 h 2340761"/>
                <a:gd name="connsiteX1128" fmla="*/ 1485172 w 2967861"/>
                <a:gd name="connsiteY1128" fmla="*/ 1499764 h 2340761"/>
                <a:gd name="connsiteX1129" fmla="*/ 1488277 w 2967861"/>
                <a:gd name="connsiteY1129" fmla="*/ 1497591 h 2340761"/>
                <a:gd name="connsiteX1130" fmla="*/ 1493555 w 2967861"/>
                <a:gd name="connsiteY1130" fmla="*/ 1490140 h 2340761"/>
                <a:gd name="connsiteX1131" fmla="*/ 1497590 w 2967861"/>
                <a:gd name="connsiteY1131" fmla="*/ 1475239 h 2340761"/>
                <a:gd name="connsiteX1132" fmla="*/ 1512181 w 2967861"/>
                <a:gd name="connsiteY1132" fmla="*/ 1475239 h 2340761"/>
                <a:gd name="connsiteX1133" fmla="*/ 1526772 w 2967861"/>
                <a:gd name="connsiteY1133" fmla="*/ 1477412 h 2340761"/>
                <a:gd name="connsiteX1134" fmla="*/ 1543536 w 2967861"/>
                <a:gd name="connsiteY1134" fmla="*/ 1475239 h 2340761"/>
                <a:gd name="connsiteX1135" fmla="*/ 1544468 w 2967861"/>
                <a:gd name="connsiteY1135" fmla="*/ 1473065 h 2340761"/>
                <a:gd name="connsiteX1136" fmla="*/ 1546641 w 2967861"/>
                <a:gd name="connsiteY1136" fmla="*/ 1472134 h 2340761"/>
                <a:gd name="connsiteX1137" fmla="*/ 1548814 w 2967861"/>
                <a:gd name="connsiteY1137" fmla="*/ 1467788 h 2340761"/>
                <a:gd name="connsiteX1138" fmla="*/ 1550987 w 2967861"/>
                <a:gd name="connsiteY1138" fmla="*/ 1465615 h 2340761"/>
                <a:gd name="connsiteX1139" fmla="*/ 1554092 w 2967861"/>
                <a:gd name="connsiteY1139" fmla="*/ 1462510 h 2340761"/>
                <a:gd name="connsiteX1140" fmla="*/ 1565578 w 2967861"/>
                <a:gd name="connsiteY1140" fmla="*/ 1480516 h 2340761"/>
                <a:gd name="connsiteX1141" fmla="*/ 1573960 w 2967861"/>
                <a:gd name="connsiteY1141" fmla="*/ 1495418 h 2340761"/>
                <a:gd name="connsiteX1142" fmla="*/ 1585447 w 2967861"/>
                <a:gd name="connsiteY1142" fmla="*/ 1509077 h 2340761"/>
                <a:gd name="connsiteX1143" fmla="*/ 1592587 w 2967861"/>
                <a:gd name="connsiteY1143" fmla="*/ 1523979 h 2340761"/>
                <a:gd name="connsiteX1144" fmla="*/ 1597864 w 2967861"/>
                <a:gd name="connsiteY1144" fmla="*/ 1541984 h 2340761"/>
                <a:gd name="connsiteX1145" fmla="*/ 1597864 w 2967861"/>
                <a:gd name="connsiteY1145" fmla="*/ 1564337 h 2340761"/>
                <a:gd name="connsiteX1146" fmla="*/ 1600037 w 2967861"/>
                <a:gd name="connsiteY1146" fmla="*/ 1566509 h 2340761"/>
                <a:gd name="connsiteX1147" fmla="*/ 1600969 w 2967861"/>
                <a:gd name="connsiteY1147" fmla="*/ 1566509 h 2340761"/>
                <a:gd name="connsiteX1148" fmla="*/ 1600969 w 2967861"/>
                <a:gd name="connsiteY1148" fmla="*/ 1567441 h 2340761"/>
                <a:gd name="connsiteX1149" fmla="*/ 1603142 w 2967861"/>
                <a:gd name="connsiteY1149" fmla="*/ 1567441 h 2340761"/>
                <a:gd name="connsiteX1150" fmla="*/ 1610282 w 2967861"/>
                <a:gd name="connsiteY1150" fmla="*/ 1567441 h 2340761"/>
                <a:gd name="connsiteX1151" fmla="*/ 1617422 w 2967861"/>
                <a:gd name="connsiteY1151" fmla="*/ 1566509 h 2340761"/>
                <a:gd name="connsiteX1152" fmla="*/ 1621458 w 2967861"/>
                <a:gd name="connsiteY1152" fmla="*/ 1564337 h 2340761"/>
                <a:gd name="connsiteX1153" fmla="*/ 1626736 w 2967861"/>
                <a:gd name="connsiteY1153" fmla="*/ 1559990 h 2340761"/>
                <a:gd name="connsiteX1154" fmla="*/ 1629840 w 2967861"/>
                <a:gd name="connsiteY1154" fmla="*/ 1556886 h 2340761"/>
                <a:gd name="connsiteX1155" fmla="*/ 1641327 w 2967861"/>
                <a:gd name="connsiteY1155" fmla="*/ 1569614 h 2340761"/>
                <a:gd name="connsiteX1156" fmla="*/ 1648467 w 2967861"/>
                <a:gd name="connsiteY1156" fmla="*/ 1586688 h 2340761"/>
                <a:gd name="connsiteX1157" fmla="*/ 1650640 w 2967861"/>
                <a:gd name="connsiteY1157" fmla="*/ 1606867 h 2340761"/>
                <a:gd name="connsiteX1158" fmla="*/ 1650640 w 2967861"/>
                <a:gd name="connsiteY1158" fmla="*/ 1629220 h 2340761"/>
                <a:gd name="connsiteX1159" fmla="*/ 1650640 w 2967861"/>
                <a:gd name="connsiteY1159" fmla="*/ 1649399 h 2340761"/>
                <a:gd name="connsiteX1160" fmla="*/ 1650640 w 2967861"/>
                <a:gd name="connsiteY1160" fmla="*/ 1668336 h 2340761"/>
                <a:gd name="connsiteX1161" fmla="*/ 1653745 w 2967861"/>
                <a:gd name="connsiteY1161" fmla="*/ 1683237 h 2340761"/>
                <a:gd name="connsiteX1162" fmla="*/ 1653745 w 2967861"/>
                <a:gd name="connsiteY1162" fmla="*/ 1686342 h 2340761"/>
                <a:gd name="connsiteX1163" fmla="*/ 1663058 w 2967861"/>
                <a:gd name="connsiteY1163" fmla="*/ 1683237 h 2340761"/>
                <a:gd name="connsiteX1164" fmla="*/ 1663058 w 2967861"/>
                <a:gd name="connsiteY1164" fmla="*/ 1686342 h 2340761"/>
                <a:gd name="connsiteX1165" fmla="*/ 1672371 w 2967861"/>
                <a:gd name="connsiteY1165" fmla="*/ 1699070 h 2340761"/>
                <a:gd name="connsiteX1166" fmla="*/ 1677649 w 2967861"/>
                <a:gd name="connsiteY1166" fmla="*/ 1713971 h 2340761"/>
                <a:gd name="connsiteX1167" fmla="*/ 1682927 w 2967861"/>
                <a:gd name="connsiteY1167" fmla="*/ 1728873 h 2340761"/>
                <a:gd name="connsiteX1168" fmla="*/ 1686962 w 2967861"/>
                <a:gd name="connsiteY1168" fmla="*/ 1745947 h 2340761"/>
                <a:gd name="connsiteX1169" fmla="*/ 1693171 w 2967861"/>
                <a:gd name="connsiteY1169" fmla="*/ 1760849 h 2340761"/>
                <a:gd name="connsiteX1170" fmla="*/ 1702485 w 2967861"/>
                <a:gd name="connsiteY1170" fmla="*/ 1768299 h 2340761"/>
                <a:gd name="connsiteX1171" fmla="*/ 1704658 w 2967861"/>
                <a:gd name="connsiteY1171" fmla="*/ 1770472 h 2340761"/>
                <a:gd name="connsiteX1172" fmla="*/ 1715213 w 2967861"/>
                <a:gd name="connsiteY1172" fmla="*/ 1775750 h 2340761"/>
                <a:gd name="connsiteX1173" fmla="*/ 1726699 w 2967861"/>
                <a:gd name="connsiteY1173" fmla="*/ 1785374 h 2340761"/>
                <a:gd name="connsiteX1174" fmla="*/ 1737255 w 2967861"/>
                <a:gd name="connsiteY1174" fmla="*/ 1785374 h 2340761"/>
                <a:gd name="connsiteX1175" fmla="*/ 1736323 w 2967861"/>
                <a:gd name="connsiteY1175" fmla="*/ 1758986 h 2340761"/>
                <a:gd name="connsiteX1176" fmla="*/ 1729183 w 2967861"/>
                <a:gd name="connsiteY1176" fmla="*/ 1733529 h 2340761"/>
                <a:gd name="connsiteX1177" fmla="*/ 1717696 w 2967861"/>
                <a:gd name="connsiteY1177" fmla="*/ 1711177 h 2340761"/>
                <a:gd name="connsiteX1178" fmla="*/ 1703106 w 2967861"/>
                <a:gd name="connsiteY1178" fmla="*/ 1696276 h 2340761"/>
                <a:gd name="connsiteX1179" fmla="*/ 1700001 w 2967861"/>
                <a:gd name="connsiteY1179" fmla="*/ 1694103 h 2340761"/>
                <a:gd name="connsiteX1180" fmla="*/ 1695965 w 2967861"/>
                <a:gd name="connsiteY1180" fmla="*/ 1694103 h 2340761"/>
                <a:gd name="connsiteX1181" fmla="*/ 1692861 w 2967861"/>
                <a:gd name="connsiteY1181" fmla="*/ 1694103 h 2340761"/>
                <a:gd name="connsiteX1182" fmla="*/ 1688825 w 2967861"/>
                <a:gd name="connsiteY1182" fmla="*/ 1694103 h 2340761"/>
                <a:gd name="connsiteX1183" fmla="*/ 1687894 w 2967861"/>
                <a:gd name="connsiteY1183" fmla="*/ 1691930 h 2340761"/>
                <a:gd name="connsiteX1184" fmla="*/ 1681685 w 2967861"/>
                <a:gd name="connsiteY1184" fmla="*/ 1681374 h 2340761"/>
                <a:gd name="connsiteX1185" fmla="*/ 1680753 w 2967861"/>
                <a:gd name="connsiteY1185" fmla="*/ 1671751 h 2340761"/>
                <a:gd name="connsiteX1186" fmla="*/ 1676718 w 2967861"/>
                <a:gd name="connsiteY1186" fmla="*/ 1664300 h 2340761"/>
                <a:gd name="connsiteX1187" fmla="*/ 1667404 w 2967861"/>
                <a:gd name="connsiteY1187" fmla="*/ 1659022 h 2340761"/>
                <a:gd name="connsiteX1188" fmla="*/ 1676718 w 2967861"/>
                <a:gd name="connsiteY1188" fmla="*/ 1634808 h 2340761"/>
                <a:gd name="connsiteX1189" fmla="*/ 1683858 w 2967861"/>
                <a:gd name="connsiteY1189" fmla="*/ 1605315 h 2340761"/>
                <a:gd name="connsiteX1190" fmla="*/ 1700622 w 2967861"/>
                <a:gd name="connsiteY1190" fmla="*/ 1618975 h 2340761"/>
                <a:gd name="connsiteX1191" fmla="*/ 1716144 w 2967861"/>
                <a:gd name="connsiteY1191" fmla="*/ 1631703 h 2340761"/>
                <a:gd name="connsiteX1192" fmla="*/ 1730735 w 2967861"/>
                <a:gd name="connsiteY1192" fmla="*/ 1644431 h 2340761"/>
                <a:gd name="connsiteX1193" fmla="*/ 1742222 w 2967861"/>
                <a:gd name="connsiteY1193" fmla="*/ 1659333 h 2340761"/>
                <a:gd name="connsiteX1194" fmla="*/ 1747499 w 2967861"/>
                <a:gd name="connsiteY1194" fmla="*/ 1679512 h 2340761"/>
                <a:gd name="connsiteX1195" fmla="*/ 1754640 w 2967861"/>
                <a:gd name="connsiteY1195" fmla="*/ 1679512 h 2340761"/>
                <a:gd name="connsiteX1196" fmla="*/ 1815176 w 2967861"/>
                <a:gd name="connsiteY1196" fmla="*/ 1629841 h 2340761"/>
                <a:gd name="connsiteX1197" fmla="*/ 1813003 w 2967861"/>
                <a:gd name="connsiteY1197" fmla="*/ 1600348 h 2340761"/>
                <a:gd name="connsiteX1198" fmla="*/ 1807726 w 2967861"/>
                <a:gd name="connsiteY1198" fmla="*/ 1576133 h 2340761"/>
                <a:gd name="connsiteX1199" fmla="*/ 1796239 w 2967861"/>
                <a:gd name="connsiteY1199" fmla="*/ 1558128 h 2340761"/>
                <a:gd name="connsiteX1200" fmla="*/ 1783822 w 2967861"/>
                <a:gd name="connsiteY1200" fmla="*/ 1541053 h 2340761"/>
                <a:gd name="connsiteX1201" fmla="*/ 1767057 w 2967861"/>
                <a:gd name="connsiteY1201" fmla="*/ 1525220 h 2340761"/>
                <a:gd name="connsiteX1202" fmla="*/ 1769230 w 2967861"/>
                <a:gd name="connsiteY1202" fmla="*/ 1510319 h 2340761"/>
                <a:gd name="connsiteX1203" fmla="*/ 1774508 w 2967861"/>
                <a:gd name="connsiteY1203" fmla="*/ 1500695 h 2340761"/>
                <a:gd name="connsiteX1204" fmla="*/ 1780717 w 2967861"/>
                <a:gd name="connsiteY1204" fmla="*/ 1495418 h 2340761"/>
                <a:gd name="connsiteX1205" fmla="*/ 1787857 w 2967861"/>
                <a:gd name="connsiteY1205" fmla="*/ 1489209 h 2340761"/>
                <a:gd name="connsiteX1206" fmla="*/ 1794066 w 2967861"/>
                <a:gd name="connsiteY1206" fmla="*/ 1480827 h 2340761"/>
                <a:gd name="connsiteX1207" fmla="*/ 1800275 w 2967861"/>
                <a:gd name="connsiteY1207" fmla="*/ 1480827 h 2340761"/>
                <a:gd name="connsiteX1208" fmla="*/ 1805553 w 2967861"/>
                <a:gd name="connsiteY1208" fmla="*/ 1481758 h 2340761"/>
                <a:gd name="connsiteX1209" fmla="*/ 1807726 w 2967861"/>
                <a:gd name="connsiteY1209" fmla="*/ 1481758 h 2340761"/>
                <a:gd name="connsiteX1210" fmla="*/ 1810830 w 2967861"/>
                <a:gd name="connsiteY1210" fmla="*/ 1483931 h 2340761"/>
                <a:gd name="connsiteX1211" fmla="*/ 1813003 w 2967861"/>
                <a:gd name="connsiteY1211" fmla="*/ 1488277 h 2340761"/>
                <a:gd name="connsiteX1212" fmla="*/ 1816108 w 2967861"/>
                <a:gd name="connsiteY1212" fmla="*/ 1493555 h 2340761"/>
                <a:gd name="connsiteX1213" fmla="*/ 1818281 w 2967861"/>
                <a:gd name="connsiteY1213" fmla="*/ 1496659 h 2340761"/>
                <a:gd name="connsiteX1214" fmla="*/ 1816108 w 2967861"/>
                <a:gd name="connsiteY1214" fmla="*/ 1501006 h 2340761"/>
                <a:gd name="connsiteX1215" fmla="*/ 1815176 w 2967861"/>
                <a:gd name="connsiteY1215" fmla="*/ 1504110 h 2340761"/>
                <a:gd name="connsiteX1216" fmla="*/ 1811141 w 2967861"/>
                <a:gd name="connsiteY1216" fmla="*/ 1506283 h 2340761"/>
                <a:gd name="connsiteX1217" fmla="*/ 1808036 w 2967861"/>
                <a:gd name="connsiteY1217" fmla="*/ 1506283 h 2340761"/>
                <a:gd name="connsiteX1218" fmla="*/ 1804000 w 2967861"/>
                <a:gd name="connsiteY1218" fmla="*/ 1508456 h 2340761"/>
                <a:gd name="connsiteX1219" fmla="*/ 1804000 w 2967861"/>
                <a:gd name="connsiteY1219" fmla="*/ 1518080 h 2340761"/>
                <a:gd name="connsiteX1220" fmla="*/ 1804000 w 2967861"/>
                <a:gd name="connsiteY1220" fmla="*/ 1523358 h 2340761"/>
                <a:gd name="connsiteX1221" fmla="*/ 1806173 w 2967861"/>
                <a:gd name="connsiteY1221" fmla="*/ 1528635 h 2340761"/>
                <a:gd name="connsiteX1222" fmla="*/ 1808346 w 2967861"/>
                <a:gd name="connsiteY1222" fmla="*/ 1533913 h 2340761"/>
                <a:gd name="connsiteX1223" fmla="*/ 1811451 w 2967861"/>
                <a:gd name="connsiteY1223" fmla="*/ 1532981 h 2340761"/>
                <a:gd name="connsiteX1224" fmla="*/ 1813624 w 2967861"/>
                <a:gd name="connsiteY1224" fmla="*/ 1532981 h 2340761"/>
                <a:gd name="connsiteX1225" fmla="*/ 1815797 w 2967861"/>
                <a:gd name="connsiteY1225" fmla="*/ 1532981 h 2340761"/>
                <a:gd name="connsiteX1226" fmla="*/ 1816729 w 2967861"/>
                <a:gd name="connsiteY1226" fmla="*/ 1530808 h 2340761"/>
                <a:gd name="connsiteX1227" fmla="*/ 1818902 w 2967861"/>
                <a:gd name="connsiteY1227" fmla="*/ 1530808 h 2340761"/>
                <a:gd name="connsiteX1228" fmla="*/ 1826042 w 2967861"/>
                <a:gd name="connsiteY1228" fmla="*/ 1526462 h 2340761"/>
                <a:gd name="connsiteX1229" fmla="*/ 1830078 w 2967861"/>
                <a:gd name="connsiteY1229" fmla="*/ 1523358 h 2340761"/>
                <a:gd name="connsiteX1230" fmla="*/ 1831009 w 2967861"/>
                <a:gd name="connsiteY1230" fmla="*/ 1521184 h 2340761"/>
                <a:gd name="connsiteX1231" fmla="*/ 1835045 w 2967861"/>
                <a:gd name="connsiteY1231" fmla="*/ 1518080 h 2340761"/>
                <a:gd name="connsiteX1232" fmla="*/ 1838150 w 2967861"/>
                <a:gd name="connsiteY1232" fmla="*/ 1513734 h 2340761"/>
                <a:gd name="connsiteX1233" fmla="*/ 1837218 w 2967861"/>
                <a:gd name="connsiteY1233" fmla="*/ 1508456 h 2340761"/>
                <a:gd name="connsiteX1234" fmla="*/ 1837218 w 2967861"/>
                <a:gd name="connsiteY1234" fmla="*/ 1503179 h 2340761"/>
                <a:gd name="connsiteX1235" fmla="*/ 1835045 w 2967861"/>
                <a:gd name="connsiteY1235" fmla="*/ 1501006 h 2340761"/>
                <a:gd name="connsiteX1236" fmla="*/ 1835045 w 2967861"/>
                <a:gd name="connsiteY1236" fmla="*/ 1498832 h 2340761"/>
                <a:gd name="connsiteX1237" fmla="*/ 1835045 w 2967861"/>
                <a:gd name="connsiteY1237" fmla="*/ 1495728 h 2340761"/>
                <a:gd name="connsiteX1238" fmla="*/ 1835045 w 2967861"/>
                <a:gd name="connsiteY1238" fmla="*/ 1491382 h 2340761"/>
                <a:gd name="connsiteX1239" fmla="*/ 1835045 w 2967861"/>
                <a:gd name="connsiteY1239" fmla="*/ 1483931 h 2340761"/>
                <a:gd name="connsiteX1240" fmla="*/ 1862054 w 2967861"/>
                <a:gd name="connsiteY1240" fmla="*/ 1478653 h 2340761"/>
                <a:gd name="connsiteX1241" fmla="*/ 1891236 w 2967861"/>
                <a:gd name="connsiteY1241" fmla="*/ 1469030 h 2340761"/>
                <a:gd name="connsiteX1242" fmla="*/ 1916382 w 2967861"/>
                <a:gd name="connsiteY1242" fmla="*/ 1458474 h 2340761"/>
                <a:gd name="connsiteX1243" fmla="*/ 1940286 w 2967861"/>
                <a:gd name="connsiteY1243" fmla="*/ 1443573 h 2340761"/>
                <a:gd name="connsiteX1244" fmla="*/ 1958913 w 2967861"/>
                <a:gd name="connsiteY1244" fmla="*/ 1423394 h 2340761"/>
                <a:gd name="connsiteX1245" fmla="*/ 1967295 w 2967861"/>
                <a:gd name="connsiteY1245" fmla="*/ 1408493 h 2340761"/>
                <a:gd name="connsiteX1246" fmla="*/ 1974435 w 2967861"/>
                <a:gd name="connsiteY1246" fmla="*/ 1394833 h 2340761"/>
                <a:gd name="connsiteX1247" fmla="*/ 1981575 w 2967861"/>
                <a:gd name="connsiteY1247" fmla="*/ 1379932 h 2340761"/>
                <a:gd name="connsiteX1248" fmla="*/ 1993993 w 2967861"/>
                <a:gd name="connsiteY1248" fmla="*/ 1371550 h 2340761"/>
                <a:gd name="connsiteX1249" fmla="*/ 1993993 w 2967861"/>
                <a:gd name="connsiteY1249" fmla="*/ 1351992 h 2340761"/>
                <a:gd name="connsiteX1250" fmla="*/ 1993062 w 2967861"/>
                <a:gd name="connsiteY1250" fmla="*/ 1329639 h 2340761"/>
                <a:gd name="connsiteX1251" fmla="*/ 1989026 w 2967861"/>
                <a:gd name="connsiteY1251" fmla="*/ 1309460 h 2340761"/>
                <a:gd name="connsiteX1252" fmla="*/ 1981886 w 2967861"/>
                <a:gd name="connsiteY1252" fmla="*/ 1289281 h 2340761"/>
                <a:gd name="connsiteX1253" fmla="*/ 1973504 w 2967861"/>
                <a:gd name="connsiteY1253" fmla="*/ 1274380 h 2340761"/>
                <a:gd name="connsiteX1254" fmla="*/ 1958913 w 2967861"/>
                <a:gd name="connsiteY1254" fmla="*/ 1264756 h 2340761"/>
                <a:gd name="connsiteX1255" fmla="*/ 1964190 w 2967861"/>
                <a:gd name="connsiteY1255" fmla="*/ 1252028 h 2340761"/>
                <a:gd name="connsiteX1256" fmla="*/ 1969468 w 2967861"/>
                <a:gd name="connsiteY1256" fmla="*/ 1244577 h 2340761"/>
                <a:gd name="connsiteX1257" fmla="*/ 1976608 w 2967861"/>
                <a:gd name="connsiteY1257" fmla="*/ 1237127 h 2340761"/>
                <a:gd name="connsiteX1258" fmla="*/ 1983748 w 2967861"/>
                <a:gd name="connsiteY1258" fmla="*/ 1227503 h 2340761"/>
                <a:gd name="connsiteX1259" fmla="*/ 2003617 w 2967861"/>
                <a:gd name="connsiteY1259" fmla="*/ 1227503 h 2340761"/>
                <a:gd name="connsiteX1260" fmla="*/ 2003617 w 2967861"/>
                <a:gd name="connsiteY1260" fmla="*/ 1214774 h 2340761"/>
                <a:gd name="connsiteX1261" fmla="*/ 1998339 w 2967861"/>
                <a:gd name="connsiteY1261" fmla="*/ 1214774 h 2340761"/>
                <a:gd name="connsiteX1262" fmla="*/ 1987784 w 2967861"/>
                <a:gd name="connsiteY1262" fmla="*/ 1209497 h 2340761"/>
                <a:gd name="connsiteX1263" fmla="*/ 1978471 w 2967861"/>
                <a:gd name="connsiteY1263" fmla="*/ 1209497 h 2340761"/>
                <a:gd name="connsiteX1264" fmla="*/ 1969157 w 2967861"/>
                <a:gd name="connsiteY1264" fmla="*/ 1212601 h 2340761"/>
                <a:gd name="connsiteX1265" fmla="*/ 1958602 w 2967861"/>
                <a:gd name="connsiteY1265" fmla="*/ 1218810 h 2340761"/>
                <a:gd name="connsiteX1266" fmla="*/ 1954567 w 2967861"/>
                <a:gd name="connsiteY1266" fmla="*/ 1212601 h 2340761"/>
                <a:gd name="connsiteX1267" fmla="*/ 1951462 w 2967861"/>
                <a:gd name="connsiteY1267" fmla="*/ 1209497 h 2340761"/>
                <a:gd name="connsiteX1268" fmla="*/ 1947426 w 2967861"/>
                <a:gd name="connsiteY1268" fmla="*/ 1205151 h 2340761"/>
                <a:gd name="connsiteX1269" fmla="*/ 1942149 w 2967861"/>
                <a:gd name="connsiteY1269" fmla="*/ 1202046 h 2340761"/>
                <a:gd name="connsiteX1270" fmla="*/ 1935008 w 2967861"/>
                <a:gd name="connsiteY1270" fmla="*/ 1197700 h 2340761"/>
                <a:gd name="connsiteX1271" fmla="*/ 1942149 w 2967861"/>
                <a:gd name="connsiteY1271" fmla="*/ 1184972 h 2340761"/>
                <a:gd name="connsiteX1272" fmla="*/ 1954567 w 2967861"/>
                <a:gd name="connsiteY1272" fmla="*/ 1174416 h 2340761"/>
                <a:gd name="connsiteX1273" fmla="*/ 1966985 w 2967861"/>
                <a:gd name="connsiteY1273" fmla="*/ 1164793 h 2340761"/>
                <a:gd name="connsiteX1274" fmla="*/ 1978471 w 2967861"/>
                <a:gd name="connsiteY1274" fmla="*/ 1153306 h 2340761"/>
                <a:gd name="connsiteX1275" fmla="*/ 1983748 w 2967861"/>
                <a:gd name="connsiteY1275" fmla="*/ 1155479 h 2340761"/>
                <a:gd name="connsiteX1276" fmla="*/ 1987784 w 2967861"/>
                <a:gd name="connsiteY1276" fmla="*/ 1155479 h 2340761"/>
                <a:gd name="connsiteX1277" fmla="*/ 1990889 w 2967861"/>
                <a:gd name="connsiteY1277" fmla="*/ 1157652 h 2340761"/>
                <a:gd name="connsiteX1278" fmla="*/ 1993993 w 2967861"/>
                <a:gd name="connsiteY1278" fmla="*/ 1157652 h 2340761"/>
                <a:gd name="connsiteX1279" fmla="*/ 1990889 w 2967861"/>
                <a:gd name="connsiteY1279" fmla="*/ 1165103 h 2340761"/>
                <a:gd name="connsiteX1280" fmla="*/ 1988716 w 2967861"/>
                <a:gd name="connsiteY1280" fmla="*/ 1168208 h 2340761"/>
                <a:gd name="connsiteX1281" fmla="*/ 1987784 w 2967861"/>
                <a:gd name="connsiteY1281" fmla="*/ 1174416 h 2340761"/>
                <a:gd name="connsiteX1282" fmla="*/ 1985611 w 2967861"/>
                <a:gd name="connsiteY1282" fmla="*/ 1177521 h 2340761"/>
                <a:gd name="connsiteX1283" fmla="*/ 1983438 w 2967861"/>
                <a:gd name="connsiteY1283" fmla="*/ 1182799 h 2340761"/>
                <a:gd name="connsiteX1284" fmla="*/ 1983438 w 2967861"/>
                <a:gd name="connsiteY1284" fmla="*/ 1187145 h 2340761"/>
                <a:gd name="connsiteX1285" fmla="*/ 1995856 w 2967861"/>
                <a:gd name="connsiteY1285" fmla="*/ 1181867 h 2340761"/>
                <a:gd name="connsiteX1286" fmla="*/ 2010447 w 2967861"/>
                <a:gd name="connsiteY1286" fmla="*/ 1175658 h 2340761"/>
                <a:gd name="connsiteX1287" fmla="*/ 2022865 w 2967861"/>
                <a:gd name="connsiteY1287" fmla="*/ 1172554 h 2340761"/>
                <a:gd name="connsiteX1288" fmla="*/ 2034351 w 2967861"/>
                <a:gd name="connsiteY1288" fmla="*/ 1174727 h 2340761"/>
                <a:gd name="connsiteX1289" fmla="*/ 2043664 w 2967861"/>
                <a:gd name="connsiteY1289" fmla="*/ 1174727 h 2340761"/>
                <a:gd name="connsiteX1290" fmla="*/ 2039629 w 2967861"/>
                <a:gd name="connsiteY1290" fmla="*/ 1182178 h 2340761"/>
                <a:gd name="connsiteX1291" fmla="*/ 2037456 w 2967861"/>
                <a:gd name="connsiteY1291" fmla="*/ 1187455 h 2340761"/>
                <a:gd name="connsiteX1292" fmla="*/ 2034351 w 2967861"/>
                <a:gd name="connsiteY1292" fmla="*/ 1192733 h 2340761"/>
                <a:gd name="connsiteX1293" fmla="*/ 2030315 w 2967861"/>
                <a:gd name="connsiteY1293" fmla="*/ 1198010 h 2340761"/>
                <a:gd name="connsiteX1294" fmla="*/ 2034351 w 2967861"/>
                <a:gd name="connsiteY1294" fmla="*/ 1204219 h 2340761"/>
                <a:gd name="connsiteX1295" fmla="*/ 2037456 w 2967861"/>
                <a:gd name="connsiteY1295" fmla="*/ 1205151 h 2340761"/>
                <a:gd name="connsiteX1296" fmla="*/ 2039629 w 2967861"/>
                <a:gd name="connsiteY1296" fmla="*/ 1207324 h 2340761"/>
                <a:gd name="connsiteX1297" fmla="*/ 2041802 w 2967861"/>
                <a:gd name="connsiteY1297" fmla="*/ 1207324 h 2340761"/>
                <a:gd name="connsiteX1298" fmla="*/ 2044906 w 2967861"/>
                <a:gd name="connsiteY1298" fmla="*/ 1207324 h 2340761"/>
                <a:gd name="connsiteX1299" fmla="*/ 2048942 w 2967861"/>
                <a:gd name="connsiteY1299" fmla="*/ 1207324 h 2340761"/>
                <a:gd name="connsiteX1300" fmla="*/ 2054220 w 2967861"/>
                <a:gd name="connsiteY1300" fmla="*/ 1207324 h 2340761"/>
                <a:gd name="connsiteX1301" fmla="*/ 2054220 w 2967861"/>
                <a:gd name="connsiteY1301" fmla="*/ 1218810 h 2340761"/>
                <a:gd name="connsiteX1302" fmla="*/ 2052046 w 2967861"/>
                <a:gd name="connsiteY1302" fmla="*/ 1233712 h 2340761"/>
                <a:gd name="connsiteX1303" fmla="*/ 2052046 w 2967861"/>
                <a:gd name="connsiteY1303" fmla="*/ 1246440 h 2340761"/>
                <a:gd name="connsiteX1304" fmla="*/ 2054220 w 2967861"/>
                <a:gd name="connsiteY1304" fmla="*/ 1254822 h 2340761"/>
                <a:gd name="connsiteX1305" fmla="*/ 2054220 w 2967861"/>
                <a:gd name="connsiteY1305" fmla="*/ 1264446 h 2340761"/>
                <a:gd name="connsiteX1306" fmla="*/ 2078124 w 2967861"/>
                <a:gd name="connsiteY1306" fmla="*/ 1261341 h 2340761"/>
                <a:gd name="connsiteX1307" fmla="*/ 2092715 w 2967861"/>
                <a:gd name="connsiteY1307" fmla="*/ 1255132 h 2340761"/>
                <a:gd name="connsiteX1308" fmla="*/ 2099855 w 2967861"/>
                <a:gd name="connsiteY1308" fmla="*/ 1247682 h 2340761"/>
                <a:gd name="connsiteX1309" fmla="*/ 2102960 w 2967861"/>
                <a:gd name="connsiteY1309" fmla="*/ 1239300 h 2340761"/>
                <a:gd name="connsiteX1310" fmla="*/ 2100787 w 2967861"/>
                <a:gd name="connsiteY1310" fmla="*/ 1226571 h 2340761"/>
                <a:gd name="connsiteX1311" fmla="*/ 2097682 w 2967861"/>
                <a:gd name="connsiteY1311" fmla="*/ 1215085 h 2340761"/>
                <a:gd name="connsiteX1312" fmla="*/ 2090542 w 2967861"/>
                <a:gd name="connsiteY1312" fmla="*/ 1202357 h 2340761"/>
                <a:gd name="connsiteX1313" fmla="*/ 2085264 w 2967861"/>
                <a:gd name="connsiteY1313" fmla="*/ 1189628 h 2340761"/>
                <a:gd name="connsiteX1314" fmla="*/ 2078124 w 2967861"/>
                <a:gd name="connsiteY1314" fmla="*/ 1178142 h 2340761"/>
                <a:gd name="connsiteX1315" fmla="*/ 2074088 w 2967861"/>
                <a:gd name="connsiteY1315" fmla="*/ 1167587 h 2340761"/>
                <a:gd name="connsiteX1316" fmla="*/ 2078124 w 2967861"/>
                <a:gd name="connsiteY1316" fmla="*/ 1165414 h 2340761"/>
                <a:gd name="connsiteX1317" fmla="*/ 2081228 w 2967861"/>
                <a:gd name="connsiteY1317" fmla="*/ 1165414 h 2340761"/>
                <a:gd name="connsiteX1318" fmla="*/ 2083402 w 2967861"/>
                <a:gd name="connsiteY1318" fmla="*/ 1165414 h 2340761"/>
                <a:gd name="connsiteX1319" fmla="*/ 2085575 w 2967861"/>
                <a:gd name="connsiteY1319" fmla="*/ 1163241 h 2340761"/>
                <a:gd name="connsiteX1320" fmla="*/ 2087748 w 2967861"/>
                <a:gd name="connsiteY1320" fmla="*/ 1163241 h 2340761"/>
                <a:gd name="connsiteX1321" fmla="*/ 2098303 w 2967861"/>
                <a:gd name="connsiteY1321" fmla="*/ 1155790 h 2340761"/>
                <a:gd name="connsiteX1322" fmla="*/ 2105443 w 2967861"/>
                <a:gd name="connsiteY1322" fmla="*/ 1145235 h 2340761"/>
                <a:gd name="connsiteX1323" fmla="*/ 2110721 w 2967861"/>
                <a:gd name="connsiteY1323" fmla="*/ 1133748 h 2340761"/>
                <a:gd name="connsiteX1324" fmla="*/ 2117861 w 2967861"/>
                <a:gd name="connsiteY1324" fmla="*/ 1123193 h 2340761"/>
                <a:gd name="connsiteX1325" fmla="*/ 2127175 w 2967861"/>
                <a:gd name="connsiteY1325" fmla="*/ 1113569 h 2340761"/>
                <a:gd name="connsiteX1326" fmla="*/ 2137730 w 2967861"/>
                <a:gd name="connsiteY1326" fmla="*/ 1111396 h 2340761"/>
                <a:gd name="connsiteX1327" fmla="*/ 2149216 w 2967861"/>
                <a:gd name="connsiteY1327" fmla="*/ 1111396 h 2340761"/>
                <a:gd name="connsiteX1328" fmla="*/ 2161634 w 2967861"/>
                <a:gd name="connsiteY1328" fmla="*/ 1113569 h 2340761"/>
                <a:gd name="connsiteX1329" fmla="*/ 2174052 w 2967861"/>
                <a:gd name="connsiteY1329" fmla="*/ 1110465 h 2340761"/>
                <a:gd name="connsiteX1330" fmla="*/ 2178088 w 2967861"/>
                <a:gd name="connsiteY1330" fmla="*/ 1106118 h 2340761"/>
                <a:gd name="connsiteX1331" fmla="*/ 2185228 w 2967861"/>
                <a:gd name="connsiteY1331" fmla="*/ 1096495 h 2340761"/>
                <a:gd name="connsiteX1332" fmla="*/ 2195783 w 2967861"/>
                <a:gd name="connsiteY1332" fmla="*/ 1083766 h 2340761"/>
                <a:gd name="connsiteX1333" fmla="*/ 2208201 w 2967861"/>
                <a:gd name="connsiteY1333" fmla="*/ 1071038 h 2340761"/>
                <a:gd name="connsiteX1334" fmla="*/ 2219687 w 2967861"/>
                <a:gd name="connsiteY1334" fmla="*/ 1056137 h 2340761"/>
                <a:gd name="connsiteX1335" fmla="*/ 2230242 w 2967861"/>
                <a:gd name="connsiteY1335" fmla="*/ 1043408 h 2340761"/>
                <a:gd name="connsiteX1336" fmla="*/ 2239556 w 2967861"/>
                <a:gd name="connsiteY1336" fmla="*/ 1031922 h 2340761"/>
                <a:gd name="connsiteX1337" fmla="*/ 2243592 w 2967861"/>
                <a:gd name="connsiteY1337" fmla="*/ 1028817 h 2340761"/>
                <a:gd name="connsiteX1338" fmla="*/ 2250732 w 2967861"/>
                <a:gd name="connsiteY1338" fmla="*/ 1011743 h 2340761"/>
                <a:gd name="connsiteX1339" fmla="*/ 2256010 w 2967861"/>
                <a:gd name="connsiteY1339" fmla="*/ 999015 h 2340761"/>
                <a:gd name="connsiteX1340" fmla="*/ 2263150 w 2967861"/>
                <a:gd name="connsiteY1340" fmla="*/ 986286 h 2340761"/>
                <a:gd name="connsiteX1341" fmla="*/ 2273705 w 2967861"/>
                <a:gd name="connsiteY1341" fmla="*/ 974800 h 2340761"/>
                <a:gd name="connsiteX1342" fmla="*/ 2270600 w 2967861"/>
                <a:gd name="connsiteY1342" fmla="*/ 962072 h 2340761"/>
                <a:gd name="connsiteX1343" fmla="*/ 2266565 w 2967861"/>
                <a:gd name="connsiteY1343" fmla="*/ 952448 h 2340761"/>
                <a:gd name="connsiteX1344" fmla="*/ 2263460 w 2967861"/>
                <a:gd name="connsiteY1344" fmla="*/ 942824 h 2340761"/>
                <a:gd name="connsiteX1345" fmla="*/ 2263460 w 2967861"/>
                <a:gd name="connsiteY1345" fmla="*/ 932269 h 2340761"/>
                <a:gd name="connsiteX1346" fmla="*/ 2265633 w 2967861"/>
                <a:gd name="connsiteY1346" fmla="*/ 922645 h 2340761"/>
                <a:gd name="connsiteX1347" fmla="*/ 2270911 w 2967861"/>
                <a:gd name="connsiteY1347" fmla="*/ 917367 h 2340761"/>
                <a:gd name="connsiteX1348" fmla="*/ 2273084 w 2967861"/>
                <a:gd name="connsiteY1348" fmla="*/ 912090 h 2340761"/>
                <a:gd name="connsiteX1349" fmla="*/ 2270911 w 2967861"/>
                <a:gd name="connsiteY1349" fmla="*/ 902466 h 2340761"/>
                <a:gd name="connsiteX1350" fmla="*/ 2266875 w 2967861"/>
                <a:gd name="connsiteY1350" fmla="*/ 887565 h 2340761"/>
                <a:gd name="connsiteX1351" fmla="*/ 2263771 w 2967861"/>
                <a:gd name="connsiteY1351" fmla="*/ 877941 h 2340761"/>
                <a:gd name="connsiteX1352" fmla="*/ 2258493 w 2967861"/>
                <a:gd name="connsiteY1352" fmla="*/ 870490 h 2340761"/>
                <a:gd name="connsiteX1353" fmla="*/ 2251353 w 2967861"/>
                <a:gd name="connsiteY1353" fmla="*/ 862108 h 2340761"/>
                <a:gd name="connsiteX1354" fmla="*/ 2242039 w 2967861"/>
                <a:gd name="connsiteY1354" fmla="*/ 862108 h 2340761"/>
                <a:gd name="connsiteX1355" fmla="*/ 2236762 w 2967861"/>
                <a:gd name="connsiteY1355" fmla="*/ 862108 h 2340761"/>
                <a:gd name="connsiteX1356" fmla="*/ 2230553 w 2967861"/>
                <a:gd name="connsiteY1356" fmla="*/ 863039 h 2340761"/>
                <a:gd name="connsiteX1357" fmla="*/ 2227448 w 2967861"/>
                <a:gd name="connsiteY1357" fmla="*/ 865213 h 2340761"/>
                <a:gd name="connsiteX1358" fmla="*/ 2223413 w 2967861"/>
                <a:gd name="connsiteY1358" fmla="*/ 869559 h 2340761"/>
                <a:gd name="connsiteX1359" fmla="*/ 2216272 w 2967861"/>
                <a:gd name="connsiteY1359" fmla="*/ 867386 h 2340761"/>
                <a:gd name="connsiteX1360" fmla="*/ 2213168 w 2967861"/>
                <a:gd name="connsiteY1360" fmla="*/ 865213 h 2340761"/>
                <a:gd name="connsiteX1361" fmla="*/ 2209132 w 2967861"/>
                <a:gd name="connsiteY1361" fmla="*/ 862108 h 2340761"/>
                <a:gd name="connsiteX1362" fmla="*/ 2208201 w 2967861"/>
                <a:gd name="connsiteY1362" fmla="*/ 857762 h 2340761"/>
                <a:gd name="connsiteX1363" fmla="*/ 2206028 w 2967861"/>
                <a:gd name="connsiteY1363" fmla="*/ 854657 h 2340761"/>
                <a:gd name="connsiteX1364" fmla="*/ 2203854 w 2967861"/>
                <a:gd name="connsiteY1364" fmla="*/ 848448 h 2340761"/>
                <a:gd name="connsiteX1365" fmla="*/ 2188332 w 2967861"/>
                <a:gd name="connsiteY1365" fmla="*/ 848448 h 2340761"/>
                <a:gd name="connsiteX1366" fmla="*/ 2188332 w 2967861"/>
                <a:gd name="connsiteY1366" fmla="*/ 837893 h 2340761"/>
                <a:gd name="connsiteX1367" fmla="*/ 2200750 w 2967861"/>
                <a:gd name="connsiteY1367" fmla="*/ 828269 h 2340761"/>
                <a:gd name="connsiteX1368" fmla="*/ 2206028 w 2967861"/>
                <a:gd name="connsiteY1368" fmla="*/ 820819 h 2340761"/>
                <a:gd name="connsiteX1369" fmla="*/ 2211305 w 2967861"/>
                <a:gd name="connsiteY1369" fmla="*/ 812437 h 2340761"/>
                <a:gd name="connsiteX1370" fmla="*/ 2218446 w 2967861"/>
                <a:gd name="connsiteY1370" fmla="*/ 804986 h 2340761"/>
                <a:gd name="connsiteX1371" fmla="*/ 2247627 w 2967861"/>
                <a:gd name="connsiteY1371" fmla="*/ 795362 h 2340761"/>
                <a:gd name="connsiteX1372" fmla="*/ 2256941 w 2967861"/>
                <a:gd name="connsiteY1372" fmla="*/ 785738 h 2340761"/>
                <a:gd name="connsiteX1373" fmla="*/ 2264081 w 2967861"/>
                <a:gd name="connsiteY1373" fmla="*/ 773010 h 2340761"/>
                <a:gd name="connsiteX1374" fmla="*/ 2271221 w 2967861"/>
                <a:gd name="connsiteY1374" fmla="*/ 760282 h 2340761"/>
                <a:gd name="connsiteX1375" fmla="*/ 2278361 w 2967861"/>
                <a:gd name="connsiteY1375" fmla="*/ 746622 h 2340761"/>
                <a:gd name="connsiteX1376" fmla="*/ 2290779 w 2967861"/>
                <a:gd name="connsiteY1376" fmla="*/ 736067 h 2340761"/>
                <a:gd name="connsiteX1377" fmla="*/ 2305370 w 2967861"/>
                <a:gd name="connsiteY1377" fmla="*/ 726443 h 2340761"/>
                <a:gd name="connsiteX1378" fmla="*/ 2317788 w 2967861"/>
                <a:gd name="connsiteY1378" fmla="*/ 713715 h 2340761"/>
                <a:gd name="connsiteX1379" fmla="*/ 2354110 w 2967861"/>
                <a:gd name="connsiteY1379" fmla="*/ 718993 h 2340761"/>
                <a:gd name="connsiteX1380" fmla="*/ 2363424 w 2967861"/>
                <a:gd name="connsiteY1380" fmla="*/ 730479 h 2340761"/>
                <a:gd name="connsiteX1381" fmla="*/ 2375841 w 2967861"/>
                <a:gd name="connsiteY1381" fmla="*/ 732652 h 2340761"/>
                <a:gd name="connsiteX1382" fmla="*/ 2390432 w 2967861"/>
                <a:gd name="connsiteY1382" fmla="*/ 726443 h 2340761"/>
                <a:gd name="connsiteX1383" fmla="*/ 2407196 w 2967861"/>
                <a:gd name="connsiteY1383" fmla="*/ 723339 h 2340761"/>
                <a:gd name="connsiteX1384" fmla="*/ 2407196 w 2967861"/>
                <a:gd name="connsiteY1384" fmla="*/ 743518 h 2340761"/>
                <a:gd name="connsiteX1385" fmla="*/ 2422719 w 2967861"/>
                <a:gd name="connsiteY1385" fmla="*/ 743518 h 2340761"/>
                <a:gd name="connsiteX1386" fmla="*/ 2439483 w 2967861"/>
                <a:gd name="connsiteY1386" fmla="*/ 741345 h 2340761"/>
                <a:gd name="connsiteX1387" fmla="*/ 2451901 w 2967861"/>
                <a:gd name="connsiteY1387" fmla="*/ 739171 h 2340761"/>
                <a:gd name="connsiteX1388" fmla="*/ 2463387 w 2967861"/>
                <a:gd name="connsiteY1388" fmla="*/ 733894 h 2340761"/>
                <a:gd name="connsiteX1389" fmla="*/ 2463387 w 2967861"/>
                <a:gd name="connsiteY1389" fmla="*/ 730789 h 2340761"/>
                <a:gd name="connsiteX1390" fmla="*/ 2461214 w 2967861"/>
                <a:gd name="connsiteY1390" fmla="*/ 726443 h 2340761"/>
                <a:gd name="connsiteX1391" fmla="*/ 2459041 w 2967861"/>
                <a:gd name="connsiteY1391" fmla="*/ 721166 h 2340761"/>
                <a:gd name="connsiteX1392" fmla="*/ 2458110 w 2967861"/>
                <a:gd name="connsiteY1392" fmla="*/ 718061 h 2340761"/>
                <a:gd name="connsiteX1393" fmla="*/ 2458110 w 2967861"/>
                <a:gd name="connsiteY1393" fmla="*/ 713715 h 2340761"/>
                <a:gd name="connsiteX1394" fmla="*/ 2458110 w 2967861"/>
                <a:gd name="connsiteY1394" fmla="*/ 710610 h 2340761"/>
                <a:gd name="connsiteX1395" fmla="*/ 2463387 w 2967861"/>
                <a:gd name="connsiteY1395" fmla="*/ 700987 h 2340761"/>
                <a:gd name="connsiteX1396" fmla="*/ 2473942 w 2967861"/>
                <a:gd name="connsiteY1396" fmla="*/ 688258 h 2340761"/>
                <a:gd name="connsiteX1397" fmla="*/ 2485429 w 2967861"/>
                <a:gd name="connsiteY1397" fmla="*/ 674599 h 2340761"/>
                <a:gd name="connsiteX1398" fmla="*/ 2497847 w 2967861"/>
                <a:gd name="connsiteY1398" fmla="*/ 664044 h 2340761"/>
                <a:gd name="connsiteX1399" fmla="*/ 2507160 w 2967861"/>
                <a:gd name="connsiteY1399" fmla="*/ 658766 h 2340761"/>
                <a:gd name="connsiteX1400" fmla="*/ 2510265 w 2967861"/>
                <a:gd name="connsiteY1400" fmla="*/ 656593 h 2340761"/>
                <a:gd name="connsiteX1401" fmla="*/ 2515542 w 2967861"/>
                <a:gd name="connsiteY1401" fmla="*/ 658766 h 2340761"/>
                <a:gd name="connsiteX1402" fmla="*/ 2519578 w 2967861"/>
                <a:gd name="connsiteY1402" fmla="*/ 659697 h 2340761"/>
                <a:gd name="connsiteX1403" fmla="*/ 2524855 w 2967861"/>
                <a:gd name="connsiteY1403" fmla="*/ 661871 h 2340761"/>
                <a:gd name="connsiteX1404" fmla="*/ 2530133 w 2967861"/>
                <a:gd name="connsiteY1404" fmla="*/ 666217 h 2340761"/>
                <a:gd name="connsiteX1405" fmla="*/ 2530133 w 2967861"/>
                <a:gd name="connsiteY1405" fmla="*/ 669321 h 2340761"/>
                <a:gd name="connsiteX1406" fmla="*/ 2529202 w 2967861"/>
                <a:gd name="connsiteY1406" fmla="*/ 673667 h 2340761"/>
                <a:gd name="connsiteX1407" fmla="*/ 2529202 w 2967861"/>
                <a:gd name="connsiteY1407" fmla="*/ 674599 h 2340761"/>
                <a:gd name="connsiteX1408" fmla="*/ 2529202 w 2967861"/>
                <a:gd name="connsiteY1408" fmla="*/ 676772 h 2340761"/>
                <a:gd name="connsiteX1409" fmla="*/ 2527028 w 2967861"/>
                <a:gd name="connsiteY1409" fmla="*/ 678945 h 2340761"/>
                <a:gd name="connsiteX1410" fmla="*/ 2527028 w 2967861"/>
                <a:gd name="connsiteY1410" fmla="*/ 684223 h 2340761"/>
                <a:gd name="connsiteX1411" fmla="*/ 2529202 w 2967861"/>
                <a:gd name="connsiteY1411" fmla="*/ 688569 h 2340761"/>
                <a:gd name="connsiteX1412" fmla="*/ 2529202 w 2967861"/>
                <a:gd name="connsiteY1412" fmla="*/ 689500 h 2340761"/>
                <a:gd name="connsiteX1413" fmla="*/ 2530133 w 2967861"/>
                <a:gd name="connsiteY1413" fmla="*/ 695709 h 2340761"/>
                <a:gd name="connsiteX1414" fmla="*/ 2546897 w 2967861"/>
                <a:gd name="connsiteY1414" fmla="*/ 688258 h 2340761"/>
                <a:gd name="connsiteX1415" fmla="*/ 2559315 w 2967861"/>
                <a:gd name="connsiteY1415" fmla="*/ 678635 h 2340761"/>
                <a:gd name="connsiteX1416" fmla="*/ 2568628 w 2967861"/>
                <a:gd name="connsiteY1416" fmla="*/ 665906 h 2340761"/>
                <a:gd name="connsiteX1417" fmla="*/ 2577942 w 2967861"/>
                <a:gd name="connsiteY1417" fmla="*/ 651005 h 2340761"/>
                <a:gd name="connsiteX1418" fmla="*/ 2587255 w 2967861"/>
                <a:gd name="connsiteY1418" fmla="*/ 637345 h 2340761"/>
                <a:gd name="connsiteX1419" fmla="*/ 2588186 w 2967861"/>
                <a:gd name="connsiteY1419" fmla="*/ 636414 h 2340761"/>
                <a:gd name="connsiteX1420" fmla="*/ 2590359 w 2967861"/>
                <a:gd name="connsiteY1420" fmla="*/ 634241 h 2340761"/>
                <a:gd name="connsiteX1421" fmla="*/ 2593464 w 2967861"/>
                <a:gd name="connsiteY1421" fmla="*/ 632068 h 2340761"/>
                <a:gd name="connsiteX1422" fmla="*/ 2595637 w 2967861"/>
                <a:gd name="connsiteY1422" fmla="*/ 634241 h 2340761"/>
                <a:gd name="connsiteX1423" fmla="*/ 2595637 w 2967861"/>
                <a:gd name="connsiteY1423" fmla="*/ 636414 h 2340761"/>
                <a:gd name="connsiteX1424" fmla="*/ 2597810 w 2967861"/>
                <a:gd name="connsiteY1424" fmla="*/ 636414 h 2340761"/>
                <a:gd name="connsiteX1425" fmla="*/ 2597810 w 2967861"/>
                <a:gd name="connsiteY1425" fmla="*/ 637345 h 2340761"/>
                <a:gd name="connsiteX1426" fmla="*/ 2592533 w 2967861"/>
                <a:gd name="connsiteY1426" fmla="*/ 651005 h 2340761"/>
                <a:gd name="connsiteX1427" fmla="*/ 2588497 w 2967861"/>
                <a:gd name="connsiteY1427" fmla="*/ 665906 h 2340761"/>
                <a:gd name="connsiteX1428" fmla="*/ 2583219 w 2967861"/>
                <a:gd name="connsiteY1428" fmla="*/ 678635 h 2340761"/>
                <a:gd name="connsiteX1429" fmla="*/ 2570802 w 2967861"/>
                <a:gd name="connsiteY1429" fmla="*/ 688258 h 2340761"/>
                <a:gd name="connsiteX1430" fmla="*/ 2558384 w 2967861"/>
                <a:gd name="connsiteY1430" fmla="*/ 696640 h 2340761"/>
                <a:gd name="connsiteX1431" fmla="*/ 2546897 w 2967861"/>
                <a:gd name="connsiteY1431" fmla="*/ 706264 h 2340761"/>
                <a:gd name="connsiteX1432" fmla="*/ 2532306 w 2967861"/>
                <a:gd name="connsiteY1432" fmla="*/ 728616 h 2340761"/>
                <a:gd name="connsiteX1433" fmla="*/ 2517715 w 2967861"/>
                <a:gd name="connsiteY1433" fmla="*/ 750968 h 2340761"/>
                <a:gd name="connsiteX1434" fmla="*/ 2510575 w 2967861"/>
                <a:gd name="connsiteY1434" fmla="*/ 758419 h 2340761"/>
                <a:gd name="connsiteX1435" fmla="*/ 2500020 w 2967861"/>
                <a:gd name="connsiteY1435" fmla="*/ 761524 h 2340761"/>
                <a:gd name="connsiteX1436" fmla="*/ 2490706 w 2967861"/>
                <a:gd name="connsiteY1436" fmla="*/ 765870 h 2340761"/>
                <a:gd name="connsiteX1437" fmla="*/ 2483566 w 2967861"/>
                <a:gd name="connsiteY1437" fmla="*/ 771147 h 2340761"/>
                <a:gd name="connsiteX1438" fmla="*/ 2476426 w 2967861"/>
                <a:gd name="connsiteY1438" fmla="*/ 786049 h 2340761"/>
                <a:gd name="connsiteX1439" fmla="*/ 2478599 w 2967861"/>
                <a:gd name="connsiteY1439" fmla="*/ 798777 h 2340761"/>
                <a:gd name="connsiteX1440" fmla="*/ 2483877 w 2967861"/>
                <a:gd name="connsiteY1440" fmla="*/ 808401 h 2340761"/>
                <a:gd name="connsiteX1441" fmla="*/ 2480772 w 2967861"/>
                <a:gd name="connsiteY1441" fmla="*/ 815852 h 2340761"/>
                <a:gd name="connsiteX1442" fmla="*/ 2478599 w 2967861"/>
                <a:gd name="connsiteY1442" fmla="*/ 821129 h 2340761"/>
                <a:gd name="connsiteX1443" fmla="*/ 2473322 w 2967861"/>
                <a:gd name="connsiteY1443" fmla="*/ 825475 h 2340761"/>
                <a:gd name="connsiteX1444" fmla="*/ 2469286 w 2967861"/>
                <a:gd name="connsiteY1444" fmla="*/ 828580 h 2340761"/>
                <a:gd name="connsiteX1445" fmla="*/ 2464008 w 2967861"/>
                <a:gd name="connsiteY1445" fmla="*/ 832926 h 2340761"/>
                <a:gd name="connsiteX1446" fmla="*/ 2461835 w 2967861"/>
                <a:gd name="connsiteY1446" fmla="*/ 865833 h 2340761"/>
                <a:gd name="connsiteX1447" fmla="*/ 2464008 w 2967861"/>
                <a:gd name="connsiteY1447" fmla="*/ 893463 h 2340761"/>
                <a:gd name="connsiteX1448" fmla="*/ 2473322 w 2967861"/>
                <a:gd name="connsiteY1448" fmla="*/ 917678 h 2340761"/>
                <a:gd name="connsiteX1449" fmla="*/ 2487912 w 2967861"/>
                <a:gd name="connsiteY1449" fmla="*/ 937857 h 2340761"/>
                <a:gd name="connsiteX1450" fmla="*/ 2487912 w 2967861"/>
                <a:gd name="connsiteY1450" fmla="*/ 943134 h 2340761"/>
                <a:gd name="connsiteX1451" fmla="*/ 2494121 w 2967861"/>
                <a:gd name="connsiteY1451" fmla="*/ 943134 h 2340761"/>
                <a:gd name="connsiteX1452" fmla="*/ 2498157 w 2967861"/>
                <a:gd name="connsiteY1452" fmla="*/ 922955 h 2340761"/>
                <a:gd name="connsiteX1453" fmla="*/ 2510575 w 2967861"/>
                <a:gd name="connsiteY1453" fmla="*/ 922955 h 2340761"/>
                <a:gd name="connsiteX1454" fmla="*/ 2515852 w 2967861"/>
                <a:gd name="connsiteY1454" fmla="*/ 904950 h 2340761"/>
                <a:gd name="connsiteX1455" fmla="*/ 2522993 w 2967861"/>
                <a:gd name="connsiteY1455" fmla="*/ 890048 h 2340761"/>
                <a:gd name="connsiteX1456" fmla="*/ 2527028 w 2967861"/>
                <a:gd name="connsiteY1456" fmla="*/ 890048 h 2340761"/>
                <a:gd name="connsiteX1457" fmla="*/ 2529202 w 2967861"/>
                <a:gd name="connsiteY1457" fmla="*/ 890048 h 2340761"/>
                <a:gd name="connsiteX1458" fmla="*/ 2530133 w 2967861"/>
                <a:gd name="connsiteY1458" fmla="*/ 890048 h 2340761"/>
                <a:gd name="connsiteX1459" fmla="*/ 2534169 w 2967861"/>
                <a:gd name="connsiteY1459" fmla="*/ 890048 h 2340761"/>
                <a:gd name="connsiteX1460" fmla="*/ 2537273 w 2967861"/>
                <a:gd name="connsiteY1460" fmla="*/ 890048 h 2340761"/>
                <a:gd name="connsiteX1461" fmla="*/ 2539446 w 2967861"/>
                <a:gd name="connsiteY1461" fmla="*/ 875147 h 2340761"/>
                <a:gd name="connsiteX1462" fmla="*/ 2541620 w 2967861"/>
                <a:gd name="connsiteY1462" fmla="*/ 867696 h 2340761"/>
                <a:gd name="connsiteX1463" fmla="*/ 2546897 w 2967861"/>
                <a:gd name="connsiteY1463" fmla="*/ 860245 h 2340761"/>
                <a:gd name="connsiteX1464" fmla="*/ 2554037 w 2967861"/>
                <a:gd name="connsiteY1464" fmla="*/ 848759 h 2340761"/>
                <a:gd name="connsiteX1465" fmla="*/ 2566455 w 2967861"/>
                <a:gd name="connsiteY1465" fmla="*/ 848759 h 2340761"/>
                <a:gd name="connsiteX1466" fmla="*/ 2566455 w 2967861"/>
                <a:gd name="connsiteY1466" fmla="*/ 840377 h 2340761"/>
                <a:gd name="connsiteX1467" fmla="*/ 2566455 w 2967861"/>
                <a:gd name="connsiteY1467" fmla="*/ 832926 h 2340761"/>
                <a:gd name="connsiteX1468" fmla="*/ 2568628 w 2967861"/>
                <a:gd name="connsiteY1468" fmla="*/ 827649 h 2340761"/>
                <a:gd name="connsiteX1469" fmla="*/ 2570802 w 2967861"/>
                <a:gd name="connsiteY1469" fmla="*/ 821440 h 2340761"/>
                <a:gd name="connsiteX1470" fmla="*/ 2572975 w 2967861"/>
                <a:gd name="connsiteY1470" fmla="*/ 820508 h 2340761"/>
                <a:gd name="connsiteX1471" fmla="*/ 2573906 w 2967861"/>
                <a:gd name="connsiteY1471" fmla="*/ 818335 h 2340761"/>
                <a:gd name="connsiteX1472" fmla="*/ 2576079 w 2967861"/>
                <a:gd name="connsiteY1472" fmla="*/ 818335 h 2340761"/>
                <a:gd name="connsiteX1473" fmla="*/ 2578252 w 2967861"/>
                <a:gd name="connsiteY1473" fmla="*/ 818335 h 2340761"/>
                <a:gd name="connsiteX1474" fmla="*/ 2583530 w 2967861"/>
                <a:gd name="connsiteY1474" fmla="*/ 818335 h 2340761"/>
                <a:gd name="connsiteX1475" fmla="*/ 2580425 w 2967861"/>
                <a:gd name="connsiteY1475" fmla="*/ 794120 h 2340761"/>
                <a:gd name="connsiteX1476" fmla="*/ 2580425 w 2967861"/>
                <a:gd name="connsiteY1476" fmla="*/ 766491 h 2340761"/>
                <a:gd name="connsiteX1477" fmla="*/ 2581356 w 2967861"/>
                <a:gd name="connsiteY1477" fmla="*/ 742276 h 2340761"/>
                <a:gd name="connsiteX1478" fmla="*/ 2590670 w 2967861"/>
                <a:gd name="connsiteY1478" fmla="*/ 719924 h 2340761"/>
                <a:gd name="connsiteX1479" fmla="*/ 2595948 w 2967861"/>
                <a:gd name="connsiteY1479" fmla="*/ 718993 h 2340761"/>
                <a:gd name="connsiteX1480" fmla="*/ 2607434 w 2967861"/>
                <a:gd name="connsiteY1480" fmla="*/ 716819 h 2340761"/>
                <a:gd name="connsiteX1481" fmla="*/ 2619852 w 2967861"/>
                <a:gd name="connsiteY1481" fmla="*/ 716819 h 2340761"/>
                <a:gd name="connsiteX1482" fmla="*/ 2629165 w 2967861"/>
                <a:gd name="connsiteY1482" fmla="*/ 716819 h 2340761"/>
                <a:gd name="connsiteX1483" fmla="*/ 2634443 w 2967861"/>
                <a:gd name="connsiteY1483" fmla="*/ 714646 h 2340761"/>
                <a:gd name="connsiteX1484" fmla="*/ 2634443 w 2967861"/>
                <a:gd name="connsiteY1484" fmla="*/ 707196 h 2340761"/>
                <a:gd name="connsiteX1485" fmla="*/ 2639720 w 2967861"/>
                <a:gd name="connsiteY1485" fmla="*/ 704091 h 2340761"/>
                <a:gd name="connsiteX1486" fmla="*/ 2646861 w 2967861"/>
                <a:gd name="connsiteY1486" fmla="*/ 699745 h 2340761"/>
                <a:gd name="connsiteX1487" fmla="*/ 2656174 w 2967861"/>
                <a:gd name="connsiteY1487" fmla="*/ 697572 h 2340761"/>
                <a:gd name="connsiteX1488" fmla="*/ 2663314 w 2967861"/>
                <a:gd name="connsiteY1488" fmla="*/ 696640 h 2340761"/>
                <a:gd name="connsiteX1489" fmla="*/ 2666419 w 2967861"/>
                <a:gd name="connsiteY1489" fmla="*/ 701918 h 2340761"/>
                <a:gd name="connsiteX1490" fmla="*/ 2672628 w 2967861"/>
                <a:gd name="connsiteY1490" fmla="*/ 707196 h 2340761"/>
                <a:gd name="connsiteX1491" fmla="*/ 2677905 w 2967861"/>
                <a:gd name="connsiteY1491" fmla="*/ 711542 h 2340761"/>
                <a:gd name="connsiteX1492" fmla="*/ 2685045 w 2967861"/>
                <a:gd name="connsiteY1492" fmla="*/ 709369 h 2340761"/>
                <a:gd name="connsiteX1493" fmla="*/ 2692186 w 2967861"/>
                <a:gd name="connsiteY1493" fmla="*/ 705022 h 2340761"/>
                <a:gd name="connsiteX1494" fmla="*/ 2702741 w 2967861"/>
                <a:gd name="connsiteY1494" fmla="*/ 701918 h 2340761"/>
                <a:gd name="connsiteX1495" fmla="*/ 2717332 w 2967861"/>
                <a:gd name="connsiteY1495" fmla="*/ 699745 h 2340761"/>
                <a:gd name="connsiteX1496" fmla="*/ 2724472 w 2967861"/>
                <a:gd name="connsiteY1496" fmla="*/ 689190 h 2340761"/>
                <a:gd name="connsiteX1497" fmla="*/ 2728508 w 2967861"/>
                <a:gd name="connsiteY1497" fmla="*/ 677703 h 2340761"/>
                <a:gd name="connsiteX1498" fmla="*/ 2729439 w 2967861"/>
                <a:gd name="connsiteY1498" fmla="*/ 662802 h 2340761"/>
                <a:gd name="connsiteX1499" fmla="*/ 2744030 w 2967861"/>
                <a:gd name="connsiteY1499" fmla="*/ 657524 h 2340761"/>
                <a:gd name="connsiteX1500" fmla="*/ 2757690 w 2967861"/>
                <a:gd name="connsiteY1500" fmla="*/ 652247 h 2340761"/>
                <a:gd name="connsiteX1501" fmla="*/ 2768245 w 2967861"/>
                <a:gd name="connsiteY1501" fmla="*/ 644796 h 2340761"/>
                <a:gd name="connsiteX1502" fmla="*/ 2773522 w 2967861"/>
                <a:gd name="connsiteY1502" fmla="*/ 629895 h 2340761"/>
                <a:gd name="connsiteX1503" fmla="*/ 2782836 w 2967861"/>
                <a:gd name="connsiteY1503" fmla="*/ 632068 h 2340761"/>
                <a:gd name="connsiteX1504" fmla="*/ 2789976 w 2967861"/>
                <a:gd name="connsiteY1504" fmla="*/ 632999 h 2340761"/>
                <a:gd name="connsiteX1505" fmla="*/ 2795254 w 2967861"/>
                <a:gd name="connsiteY1505" fmla="*/ 637345 h 2340761"/>
                <a:gd name="connsiteX1506" fmla="*/ 2802394 w 2967861"/>
                <a:gd name="connsiteY1506" fmla="*/ 642623 h 2340761"/>
                <a:gd name="connsiteX1507" fmla="*/ 2807671 w 2967861"/>
                <a:gd name="connsiteY1507" fmla="*/ 640450 h 2340761"/>
                <a:gd name="connsiteX1508" fmla="*/ 2811707 w 2967861"/>
                <a:gd name="connsiteY1508" fmla="*/ 640450 h 2340761"/>
                <a:gd name="connsiteX1509" fmla="*/ 2813880 w 2967861"/>
                <a:gd name="connsiteY1509" fmla="*/ 638277 h 2340761"/>
                <a:gd name="connsiteX1510" fmla="*/ 2816985 w 2967861"/>
                <a:gd name="connsiteY1510" fmla="*/ 638277 h 2340761"/>
                <a:gd name="connsiteX1511" fmla="*/ 2811707 w 2967861"/>
                <a:gd name="connsiteY1511" fmla="*/ 612820 h 2340761"/>
                <a:gd name="connsiteX1512" fmla="*/ 2800221 w 2967861"/>
                <a:gd name="connsiteY1512" fmla="*/ 590468 h 2340761"/>
                <a:gd name="connsiteX1513" fmla="*/ 2789666 w 2967861"/>
                <a:gd name="connsiteY1513" fmla="*/ 577740 h 2340761"/>
                <a:gd name="connsiteX1514" fmla="*/ 2792770 w 2967861"/>
                <a:gd name="connsiteY1514" fmla="*/ 572462 h 2340761"/>
                <a:gd name="connsiteX1515" fmla="*/ 2794943 w 2967861"/>
                <a:gd name="connsiteY1515" fmla="*/ 570289 h 2340761"/>
                <a:gd name="connsiteX1516" fmla="*/ 2797116 w 2967861"/>
                <a:gd name="connsiteY1516" fmla="*/ 568116 h 2340761"/>
                <a:gd name="connsiteX1517" fmla="*/ 2799290 w 2967861"/>
                <a:gd name="connsiteY1517" fmla="*/ 568116 h 2340761"/>
                <a:gd name="connsiteX1518" fmla="*/ 2800221 w 2967861"/>
                <a:gd name="connsiteY1518" fmla="*/ 568116 h 2340761"/>
                <a:gd name="connsiteX1519" fmla="*/ 2802394 w 2967861"/>
                <a:gd name="connsiteY1519" fmla="*/ 570289 h 2340761"/>
                <a:gd name="connsiteX1520" fmla="*/ 2804567 w 2967861"/>
                <a:gd name="connsiteY1520" fmla="*/ 570289 h 2340761"/>
                <a:gd name="connsiteX1521" fmla="*/ 2806740 w 2967861"/>
                <a:gd name="connsiteY1521" fmla="*/ 570289 h 2340761"/>
                <a:gd name="connsiteX1522" fmla="*/ 2809845 w 2967861"/>
                <a:gd name="connsiteY1522" fmla="*/ 570289 h 2340761"/>
                <a:gd name="connsiteX1523" fmla="*/ 2813880 w 2967861"/>
                <a:gd name="connsiteY1523" fmla="*/ 568116 h 2340761"/>
                <a:gd name="connsiteX1524" fmla="*/ 2822263 w 2967861"/>
                <a:gd name="connsiteY1524" fmla="*/ 560665 h 2340761"/>
                <a:gd name="connsiteX1525" fmla="*/ 2826298 w 2967861"/>
                <a:gd name="connsiteY1525" fmla="*/ 547937 h 2340761"/>
                <a:gd name="connsiteX1526" fmla="*/ 2829403 w 2967861"/>
                <a:gd name="connsiteY1526" fmla="*/ 533036 h 2340761"/>
                <a:gd name="connsiteX1527" fmla="*/ 2829403 w 2967861"/>
                <a:gd name="connsiteY1527" fmla="*/ 520307 h 2340761"/>
                <a:gd name="connsiteX1528" fmla="*/ 2833439 w 2967861"/>
                <a:gd name="connsiteY1528" fmla="*/ 525585 h 2340761"/>
                <a:gd name="connsiteX1529" fmla="*/ 2838716 w 2967861"/>
                <a:gd name="connsiteY1529" fmla="*/ 533036 h 2340761"/>
                <a:gd name="connsiteX1530" fmla="*/ 2842752 w 2967861"/>
                <a:gd name="connsiteY1530" fmla="*/ 540486 h 2340761"/>
                <a:gd name="connsiteX1531" fmla="*/ 2845856 w 2967861"/>
                <a:gd name="connsiteY1531" fmla="*/ 538313 h 2340761"/>
                <a:gd name="connsiteX1532" fmla="*/ 2848029 w 2967861"/>
                <a:gd name="connsiteY1532" fmla="*/ 538313 h 2340761"/>
                <a:gd name="connsiteX1533" fmla="*/ 2850203 w 2967861"/>
                <a:gd name="connsiteY1533" fmla="*/ 538313 h 2340761"/>
                <a:gd name="connsiteX1534" fmla="*/ 2851134 w 2967861"/>
                <a:gd name="connsiteY1534" fmla="*/ 536140 h 2340761"/>
                <a:gd name="connsiteX1535" fmla="*/ 2853307 w 2967861"/>
                <a:gd name="connsiteY1535" fmla="*/ 536140 h 2340761"/>
                <a:gd name="connsiteX1536" fmla="*/ 2860447 w 2967861"/>
                <a:gd name="connsiteY1536" fmla="*/ 536140 h 2340761"/>
                <a:gd name="connsiteX1537" fmla="*/ 2864483 w 2967861"/>
                <a:gd name="connsiteY1537" fmla="*/ 538313 h 2340761"/>
                <a:gd name="connsiteX1538" fmla="*/ 2865414 w 2967861"/>
                <a:gd name="connsiteY1538" fmla="*/ 540486 h 2340761"/>
                <a:gd name="connsiteX1539" fmla="*/ 2869450 w 2967861"/>
                <a:gd name="connsiteY1539" fmla="*/ 542659 h 2340761"/>
                <a:gd name="connsiteX1540" fmla="*/ 2872555 w 2967861"/>
                <a:gd name="connsiteY1540" fmla="*/ 543591 h 2340761"/>
                <a:gd name="connsiteX1541" fmla="*/ 2872555 w 2967861"/>
                <a:gd name="connsiteY1541" fmla="*/ 557250 h 2340761"/>
                <a:gd name="connsiteX1542" fmla="*/ 2887146 w 2967861"/>
                <a:gd name="connsiteY1542" fmla="*/ 560355 h 2340761"/>
                <a:gd name="connsiteX1543" fmla="*/ 2898632 w 2967861"/>
                <a:gd name="connsiteY1543" fmla="*/ 565632 h 2340761"/>
                <a:gd name="connsiteX1544" fmla="*/ 2905772 w 2967861"/>
                <a:gd name="connsiteY1544" fmla="*/ 577119 h 2340761"/>
                <a:gd name="connsiteX1545" fmla="*/ 2912913 w 2967861"/>
                <a:gd name="connsiteY1545" fmla="*/ 577119 h 2340761"/>
                <a:gd name="connsiteX1546" fmla="*/ 2916017 w 2967861"/>
                <a:gd name="connsiteY1546" fmla="*/ 577119 h 2340761"/>
                <a:gd name="connsiteX1547" fmla="*/ 2920053 w 2967861"/>
                <a:gd name="connsiteY1547" fmla="*/ 577119 h 2340761"/>
                <a:gd name="connsiteX1548" fmla="*/ 2923158 w 2967861"/>
                <a:gd name="connsiteY1548" fmla="*/ 574946 h 2340761"/>
                <a:gd name="connsiteX1549" fmla="*/ 2925330 w 2967861"/>
                <a:gd name="connsiteY1549" fmla="*/ 572773 h 2340761"/>
                <a:gd name="connsiteX1550" fmla="*/ 2928435 w 2967861"/>
                <a:gd name="connsiteY1550" fmla="*/ 567495 h 2340761"/>
                <a:gd name="connsiteX1551" fmla="*/ 2930608 w 2967861"/>
                <a:gd name="connsiteY1551" fmla="*/ 564390 h 2340761"/>
                <a:gd name="connsiteX1552" fmla="*/ 2930608 w 2967861"/>
                <a:gd name="connsiteY1552" fmla="*/ 562217 h 2340761"/>
                <a:gd name="connsiteX1553" fmla="*/ 2928435 w 2967861"/>
                <a:gd name="connsiteY1553" fmla="*/ 557871 h 2340761"/>
                <a:gd name="connsiteX1554" fmla="*/ 2927503 w 2967861"/>
                <a:gd name="connsiteY1554" fmla="*/ 556940 h 2340761"/>
                <a:gd name="connsiteX1555" fmla="*/ 2925330 w 2967861"/>
                <a:gd name="connsiteY1555" fmla="*/ 554767 h 2340761"/>
                <a:gd name="connsiteX1556" fmla="*/ 2921295 w 2967861"/>
                <a:gd name="connsiteY1556" fmla="*/ 552594 h 2340761"/>
                <a:gd name="connsiteX1557" fmla="*/ 2923468 w 2967861"/>
                <a:gd name="connsiteY1557" fmla="*/ 547316 h 2340761"/>
                <a:gd name="connsiteX1558" fmla="*/ 2925641 w 2967861"/>
                <a:gd name="connsiteY1558" fmla="*/ 542038 h 2340761"/>
                <a:gd name="connsiteX1559" fmla="*/ 2927814 w 2967861"/>
                <a:gd name="connsiteY1559" fmla="*/ 539865 h 2340761"/>
                <a:gd name="connsiteX1560" fmla="*/ 2930919 w 2967861"/>
                <a:gd name="connsiteY1560" fmla="*/ 535519 h 2340761"/>
                <a:gd name="connsiteX1561" fmla="*/ 2933092 w 2967861"/>
                <a:gd name="connsiteY1561" fmla="*/ 532415 h 2340761"/>
                <a:gd name="connsiteX1562" fmla="*/ 2969414 w 2967861"/>
                <a:gd name="connsiteY1562" fmla="*/ 532415 h 2340761"/>
                <a:gd name="connsiteX1563" fmla="*/ 2965999 w 2967861"/>
                <a:gd name="connsiteY1563" fmla="*/ 516271 h 2340761"/>
                <a:gd name="connsiteX1564" fmla="*/ 758729 w 2967861"/>
                <a:gd name="connsiteY1564" fmla="*/ 1039993 h 2340761"/>
                <a:gd name="connsiteX1565" fmla="*/ 776425 w 2967861"/>
                <a:gd name="connsiteY1565" fmla="*/ 1034716 h 2340761"/>
                <a:gd name="connsiteX1566" fmla="*/ 791016 w 2967861"/>
                <a:gd name="connsiteY1566" fmla="*/ 1027265 h 2340761"/>
                <a:gd name="connsiteX1567" fmla="*/ 791016 w 2967861"/>
                <a:gd name="connsiteY1567" fmla="*/ 1030370 h 2340761"/>
                <a:gd name="connsiteX1568" fmla="*/ 791016 w 2967861"/>
                <a:gd name="connsiteY1568" fmla="*/ 1034716 h 2340761"/>
                <a:gd name="connsiteX1569" fmla="*/ 791016 w 2967861"/>
                <a:gd name="connsiteY1569" fmla="*/ 1039993 h 2340761"/>
                <a:gd name="connsiteX1570" fmla="*/ 788843 w 2967861"/>
                <a:gd name="connsiteY1570" fmla="*/ 1045271 h 2340761"/>
                <a:gd name="connsiteX1571" fmla="*/ 785738 w 2967861"/>
                <a:gd name="connsiteY1571" fmla="*/ 1050549 h 2340761"/>
                <a:gd name="connsiteX1572" fmla="*/ 785738 w 2967861"/>
                <a:gd name="connsiteY1572" fmla="*/ 1057999 h 2340761"/>
                <a:gd name="connsiteX1573" fmla="*/ 774252 w 2967861"/>
                <a:gd name="connsiteY1573" fmla="*/ 1057999 h 2340761"/>
                <a:gd name="connsiteX1574" fmla="*/ 765870 w 2967861"/>
                <a:gd name="connsiteY1574" fmla="*/ 1057068 h 2340761"/>
                <a:gd name="connsiteX1575" fmla="*/ 758729 w 2967861"/>
                <a:gd name="connsiteY1575" fmla="*/ 1054895 h 2340761"/>
                <a:gd name="connsiteX1576" fmla="*/ 758729 w 2967861"/>
                <a:gd name="connsiteY1576" fmla="*/ 1039993 h 2340761"/>
                <a:gd name="connsiteX1577" fmla="*/ 644175 w 2967861"/>
                <a:gd name="connsiteY1577" fmla="*/ 1152064 h 2340761"/>
                <a:gd name="connsiteX1578" fmla="*/ 645106 w 2967861"/>
                <a:gd name="connsiteY1578" fmla="*/ 1151133 h 2340761"/>
                <a:gd name="connsiteX1579" fmla="*/ 645106 w 2967861"/>
                <a:gd name="connsiteY1579" fmla="*/ 1148960 h 2340761"/>
                <a:gd name="connsiteX1580" fmla="*/ 647279 w 2967861"/>
                <a:gd name="connsiteY1580" fmla="*/ 1148960 h 2340761"/>
                <a:gd name="connsiteX1581" fmla="*/ 649453 w 2967861"/>
                <a:gd name="connsiteY1581" fmla="*/ 1146787 h 2340761"/>
                <a:gd name="connsiteX1582" fmla="*/ 651626 w 2967861"/>
                <a:gd name="connsiteY1582" fmla="*/ 1144614 h 2340761"/>
                <a:gd name="connsiteX1583" fmla="*/ 666217 w 2967861"/>
                <a:gd name="connsiteY1583" fmla="*/ 1144614 h 2340761"/>
                <a:gd name="connsiteX1584" fmla="*/ 662181 w 2967861"/>
                <a:gd name="connsiteY1584" fmla="*/ 1148960 h 2340761"/>
                <a:gd name="connsiteX1585" fmla="*/ 659076 w 2967861"/>
                <a:gd name="connsiteY1585" fmla="*/ 1151133 h 2340761"/>
                <a:gd name="connsiteX1586" fmla="*/ 655041 w 2967861"/>
                <a:gd name="connsiteY1586" fmla="*/ 1152064 h 2340761"/>
                <a:gd name="connsiteX1587" fmla="*/ 651936 w 2967861"/>
                <a:gd name="connsiteY1587" fmla="*/ 1154238 h 2340761"/>
                <a:gd name="connsiteX1588" fmla="*/ 645727 w 2967861"/>
                <a:gd name="connsiteY1588" fmla="*/ 1156411 h 2340761"/>
                <a:gd name="connsiteX1589" fmla="*/ 642623 w 2967861"/>
                <a:gd name="connsiteY1589" fmla="*/ 1156411 h 2340761"/>
                <a:gd name="connsiteX1590" fmla="*/ 644175 w 2967861"/>
                <a:gd name="connsiteY1590" fmla="*/ 1152064 h 2340761"/>
                <a:gd name="connsiteX1591" fmla="*/ 765870 w 2967861"/>
                <a:gd name="connsiteY1591" fmla="*/ 1265377 h 2340761"/>
                <a:gd name="connsiteX1592" fmla="*/ 759661 w 2967861"/>
                <a:gd name="connsiteY1592" fmla="*/ 1282452 h 2340761"/>
                <a:gd name="connsiteX1593" fmla="*/ 752520 w 2967861"/>
                <a:gd name="connsiteY1593" fmla="*/ 1300457 h 2340761"/>
                <a:gd name="connsiteX1594" fmla="*/ 751589 w 2967861"/>
                <a:gd name="connsiteY1594" fmla="*/ 1315359 h 2340761"/>
                <a:gd name="connsiteX1595" fmla="*/ 737930 w 2967861"/>
                <a:gd name="connsiteY1595" fmla="*/ 1319705 h 2340761"/>
                <a:gd name="connsiteX1596" fmla="*/ 725512 w 2967861"/>
                <a:gd name="connsiteY1596" fmla="*/ 1320636 h 2340761"/>
                <a:gd name="connsiteX1597" fmla="*/ 714957 w 2967861"/>
                <a:gd name="connsiteY1597" fmla="*/ 1315359 h 2340761"/>
                <a:gd name="connsiteX1598" fmla="*/ 701297 w 2967861"/>
                <a:gd name="connsiteY1598" fmla="*/ 1312254 h 2340761"/>
                <a:gd name="connsiteX1599" fmla="*/ 696019 w 2967861"/>
                <a:gd name="connsiteY1599" fmla="*/ 1312254 h 2340761"/>
                <a:gd name="connsiteX1600" fmla="*/ 692915 w 2967861"/>
                <a:gd name="connsiteY1600" fmla="*/ 1312254 h 2340761"/>
                <a:gd name="connsiteX1601" fmla="*/ 688879 w 2967861"/>
                <a:gd name="connsiteY1601" fmla="*/ 1313186 h 2340761"/>
                <a:gd name="connsiteX1602" fmla="*/ 685775 w 2967861"/>
                <a:gd name="connsiteY1602" fmla="*/ 1317532 h 2340761"/>
                <a:gd name="connsiteX1603" fmla="*/ 683602 w 2967861"/>
                <a:gd name="connsiteY1603" fmla="*/ 1319705 h 2340761"/>
                <a:gd name="connsiteX1604" fmla="*/ 681428 w 2967861"/>
                <a:gd name="connsiteY1604" fmla="*/ 1322810 h 2340761"/>
                <a:gd name="connsiteX1605" fmla="*/ 678324 w 2967861"/>
                <a:gd name="connsiteY1605" fmla="*/ 1324983 h 2340761"/>
                <a:gd name="connsiteX1606" fmla="*/ 673046 w 2967861"/>
                <a:gd name="connsiteY1606" fmla="*/ 1322810 h 2340761"/>
                <a:gd name="connsiteX1607" fmla="*/ 661560 w 2967861"/>
                <a:gd name="connsiteY1607" fmla="*/ 1320636 h 2340761"/>
                <a:gd name="connsiteX1608" fmla="*/ 646969 w 2967861"/>
                <a:gd name="connsiteY1608" fmla="*/ 1319705 h 2340761"/>
                <a:gd name="connsiteX1609" fmla="*/ 632378 w 2967861"/>
                <a:gd name="connsiteY1609" fmla="*/ 1315359 h 2340761"/>
                <a:gd name="connsiteX1610" fmla="*/ 617787 w 2967861"/>
                <a:gd name="connsiteY1610" fmla="*/ 1313186 h 2340761"/>
                <a:gd name="connsiteX1611" fmla="*/ 610647 w 2967861"/>
                <a:gd name="connsiteY1611" fmla="*/ 1312254 h 2340761"/>
                <a:gd name="connsiteX1612" fmla="*/ 596056 w 2967861"/>
                <a:gd name="connsiteY1612" fmla="*/ 1306046 h 2340761"/>
                <a:gd name="connsiteX1613" fmla="*/ 581465 w 2967861"/>
                <a:gd name="connsiteY1613" fmla="*/ 1298595 h 2340761"/>
                <a:gd name="connsiteX1614" fmla="*/ 566874 w 2967861"/>
                <a:gd name="connsiteY1614" fmla="*/ 1295490 h 2340761"/>
                <a:gd name="connsiteX1615" fmla="*/ 551352 w 2967861"/>
                <a:gd name="connsiteY1615" fmla="*/ 1298595 h 2340761"/>
                <a:gd name="connsiteX1616" fmla="*/ 539865 w 2967861"/>
                <a:gd name="connsiteY1616" fmla="*/ 1306046 h 2340761"/>
                <a:gd name="connsiteX1617" fmla="*/ 536761 w 2967861"/>
                <a:gd name="connsiteY1617" fmla="*/ 1315669 h 2340761"/>
                <a:gd name="connsiteX1618" fmla="*/ 532725 w 2967861"/>
                <a:gd name="connsiteY1618" fmla="*/ 1325293 h 2340761"/>
                <a:gd name="connsiteX1619" fmla="*/ 530552 w 2967861"/>
                <a:gd name="connsiteY1619" fmla="*/ 1335848 h 2340761"/>
                <a:gd name="connsiteX1620" fmla="*/ 523411 w 2967861"/>
                <a:gd name="connsiteY1620" fmla="*/ 1334917 h 2340761"/>
                <a:gd name="connsiteX1621" fmla="*/ 510994 w 2967861"/>
                <a:gd name="connsiteY1621" fmla="*/ 1330571 h 2340761"/>
                <a:gd name="connsiteX1622" fmla="*/ 496403 w 2967861"/>
                <a:gd name="connsiteY1622" fmla="*/ 1327466 h 2340761"/>
                <a:gd name="connsiteX1623" fmla="*/ 485848 w 2967861"/>
                <a:gd name="connsiteY1623" fmla="*/ 1323120 h 2340761"/>
                <a:gd name="connsiteX1624" fmla="*/ 478707 w 2967861"/>
                <a:gd name="connsiteY1624" fmla="*/ 1320016 h 2340761"/>
                <a:gd name="connsiteX1625" fmla="*/ 474671 w 2967861"/>
                <a:gd name="connsiteY1625" fmla="*/ 1305114 h 2340761"/>
                <a:gd name="connsiteX1626" fmla="*/ 460081 w 2967861"/>
                <a:gd name="connsiteY1626" fmla="*/ 1297664 h 2340761"/>
                <a:gd name="connsiteX1627" fmla="*/ 445490 w 2967861"/>
                <a:gd name="connsiteY1627" fmla="*/ 1295490 h 2340761"/>
                <a:gd name="connsiteX1628" fmla="*/ 430899 w 2967861"/>
                <a:gd name="connsiteY1628" fmla="*/ 1295490 h 2340761"/>
                <a:gd name="connsiteX1629" fmla="*/ 418481 w 2967861"/>
                <a:gd name="connsiteY1629" fmla="*/ 1291144 h 2340761"/>
                <a:gd name="connsiteX1630" fmla="*/ 415376 w 2967861"/>
                <a:gd name="connsiteY1630" fmla="*/ 1288040 h 2340761"/>
                <a:gd name="connsiteX1631" fmla="*/ 413203 w 2967861"/>
                <a:gd name="connsiteY1631" fmla="*/ 1285867 h 2340761"/>
                <a:gd name="connsiteX1632" fmla="*/ 409167 w 2967861"/>
                <a:gd name="connsiteY1632" fmla="*/ 1282762 h 2340761"/>
                <a:gd name="connsiteX1633" fmla="*/ 408236 w 2967861"/>
                <a:gd name="connsiteY1633" fmla="*/ 1278416 h 2340761"/>
                <a:gd name="connsiteX1634" fmla="*/ 402027 w 2967861"/>
                <a:gd name="connsiteY1634" fmla="*/ 1275311 h 2340761"/>
                <a:gd name="connsiteX1635" fmla="*/ 406063 w 2967861"/>
                <a:gd name="connsiteY1635" fmla="*/ 1256374 h 2340761"/>
                <a:gd name="connsiteX1636" fmla="*/ 409167 w 2967861"/>
                <a:gd name="connsiteY1636" fmla="*/ 1238368 h 2340761"/>
                <a:gd name="connsiteX1637" fmla="*/ 415376 w 2967861"/>
                <a:gd name="connsiteY1637" fmla="*/ 1221294 h 2340761"/>
                <a:gd name="connsiteX1638" fmla="*/ 410720 w 2967861"/>
                <a:gd name="connsiteY1638" fmla="*/ 1221294 h 2340761"/>
                <a:gd name="connsiteX1639" fmla="*/ 401406 w 2967861"/>
                <a:gd name="connsiteY1639" fmla="*/ 1219121 h 2340761"/>
                <a:gd name="connsiteX1640" fmla="*/ 381538 w 2967861"/>
                <a:gd name="connsiteY1640" fmla="*/ 1218189 h 2340761"/>
                <a:gd name="connsiteX1641" fmla="*/ 358565 w 2967861"/>
                <a:gd name="connsiteY1641" fmla="*/ 1218189 h 2340761"/>
                <a:gd name="connsiteX1642" fmla="*/ 330314 w 2967861"/>
                <a:gd name="connsiteY1642" fmla="*/ 1218189 h 2340761"/>
                <a:gd name="connsiteX1643" fmla="*/ 305168 w 2967861"/>
                <a:gd name="connsiteY1643" fmla="*/ 1219121 h 2340761"/>
                <a:gd name="connsiteX1644" fmla="*/ 281264 w 2967861"/>
                <a:gd name="connsiteY1644" fmla="*/ 1223467 h 2340761"/>
                <a:gd name="connsiteX1645" fmla="*/ 265742 w 2967861"/>
                <a:gd name="connsiteY1645" fmla="*/ 1226571 h 2340761"/>
                <a:gd name="connsiteX1646" fmla="*/ 254255 w 2967861"/>
                <a:gd name="connsiteY1646" fmla="*/ 1234022 h 2340761"/>
                <a:gd name="connsiteX1647" fmla="*/ 239664 w 2967861"/>
                <a:gd name="connsiteY1647" fmla="*/ 1243646 h 2340761"/>
                <a:gd name="connsiteX1648" fmla="*/ 225073 w 2967861"/>
                <a:gd name="connsiteY1648" fmla="*/ 1251097 h 2340761"/>
                <a:gd name="connsiteX1649" fmla="*/ 174160 w 2967861"/>
                <a:gd name="connsiteY1649" fmla="*/ 1243646 h 2340761"/>
                <a:gd name="connsiteX1650" fmla="*/ 174160 w 2967861"/>
                <a:gd name="connsiteY1650" fmla="*/ 1234022 h 2340761"/>
                <a:gd name="connsiteX1651" fmla="*/ 180369 w 2967861"/>
                <a:gd name="connsiteY1651" fmla="*/ 1233091 h 2340761"/>
                <a:gd name="connsiteX1652" fmla="*/ 183473 w 2967861"/>
                <a:gd name="connsiteY1652" fmla="*/ 1230918 h 2340761"/>
                <a:gd name="connsiteX1653" fmla="*/ 187509 w 2967861"/>
                <a:gd name="connsiteY1653" fmla="*/ 1228744 h 2340761"/>
                <a:gd name="connsiteX1654" fmla="*/ 190614 w 2967861"/>
                <a:gd name="connsiteY1654" fmla="*/ 1226571 h 2340761"/>
                <a:gd name="connsiteX1655" fmla="*/ 192787 w 2967861"/>
                <a:gd name="connsiteY1655" fmla="*/ 1226571 h 2340761"/>
                <a:gd name="connsiteX1656" fmla="*/ 195891 w 2967861"/>
                <a:gd name="connsiteY1656" fmla="*/ 1228744 h 2340761"/>
                <a:gd name="connsiteX1657" fmla="*/ 199927 w 2967861"/>
                <a:gd name="connsiteY1657" fmla="*/ 1230918 h 2340761"/>
                <a:gd name="connsiteX1658" fmla="*/ 205205 w 2967861"/>
                <a:gd name="connsiteY1658" fmla="*/ 1233091 h 2340761"/>
                <a:gd name="connsiteX1659" fmla="*/ 208309 w 2967861"/>
                <a:gd name="connsiteY1659" fmla="*/ 1233091 h 2340761"/>
                <a:gd name="connsiteX1660" fmla="*/ 214518 w 2967861"/>
                <a:gd name="connsiteY1660" fmla="*/ 1230918 h 2340761"/>
                <a:gd name="connsiteX1661" fmla="*/ 219796 w 2967861"/>
                <a:gd name="connsiteY1661" fmla="*/ 1225640 h 2340761"/>
                <a:gd name="connsiteX1662" fmla="*/ 222900 w 2967861"/>
                <a:gd name="connsiteY1662" fmla="*/ 1219431 h 2340761"/>
                <a:gd name="connsiteX1663" fmla="*/ 226936 w 2967861"/>
                <a:gd name="connsiteY1663" fmla="*/ 1216327 h 2340761"/>
                <a:gd name="connsiteX1664" fmla="*/ 232213 w 2967861"/>
                <a:gd name="connsiteY1664" fmla="*/ 1211980 h 2340761"/>
                <a:gd name="connsiteX1665" fmla="*/ 244631 w 2967861"/>
                <a:gd name="connsiteY1665" fmla="*/ 1211049 h 2340761"/>
                <a:gd name="connsiteX1666" fmla="*/ 244631 w 2967861"/>
                <a:gd name="connsiteY1666" fmla="*/ 1204840 h 2340761"/>
                <a:gd name="connsiteX1667" fmla="*/ 244631 w 2967861"/>
                <a:gd name="connsiteY1667" fmla="*/ 1202978 h 2340761"/>
                <a:gd name="connsiteX1668" fmla="*/ 244631 w 2967861"/>
                <a:gd name="connsiteY1668" fmla="*/ 1200804 h 2340761"/>
                <a:gd name="connsiteX1669" fmla="*/ 244631 w 2967861"/>
                <a:gd name="connsiteY1669" fmla="*/ 1196458 h 2340761"/>
                <a:gd name="connsiteX1670" fmla="*/ 248667 w 2967861"/>
                <a:gd name="connsiteY1670" fmla="*/ 1195527 h 2340761"/>
                <a:gd name="connsiteX1671" fmla="*/ 250840 w 2967861"/>
                <a:gd name="connsiteY1671" fmla="*/ 1193354 h 2340761"/>
                <a:gd name="connsiteX1672" fmla="*/ 251771 w 2967861"/>
                <a:gd name="connsiteY1672" fmla="*/ 1191181 h 2340761"/>
                <a:gd name="connsiteX1673" fmla="*/ 253945 w 2967861"/>
                <a:gd name="connsiteY1673" fmla="*/ 1191181 h 2340761"/>
                <a:gd name="connsiteX1674" fmla="*/ 256118 w 2967861"/>
                <a:gd name="connsiteY1674" fmla="*/ 1189007 h 2340761"/>
                <a:gd name="connsiteX1675" fmla="*/ 261395 w 2967861"/>
                <a:gd name="connsiteY1675" fmla="*/ 1189007 h 2340761"/>
                <a:gd name="connsiteX1676" fmla="*/ 259222 w 2967861"/>
                <a:gd name="connsiteY1676" fmla="*/ 1185903 h 2340761"/>
                <a:gd name="connsiteX1677" fmla="*/ 256118 w 2967861"/>
                <a:gd name="connsiteY1677" fmla="*/ 1181557 h 2340761"/>
                <a:gd name="connsiteX1678" fmla="*/ 253945 w 2967861"/>
                <a:gd name="connsiteY1678" fmla="*/ 1180625 h 2340761"/>
                <a:gd name="connsiteX1679" fmla="*/ 251771 w 2967861"/>
                <a:gd name="connsiteY1679" fmla="*/ 1178452 h 2340761"/>
                <a:gd name="connsiteX1680" fmla="*/ 251771 w 2967861"/>
                <a:gd name="connsiteY1680" fmla="*/ 1174106 h 2340761"/>
                <a:gd name="connsiteX1681" fmla="*/ 253945 w 2967861"/>
                <a:gd name="connsiteY1681" fmla="*/ 1173175 h 2340761"/>
                <a:gd name="connsiteX1682" fmla="*/ 257980 w 2967861"/>
                <a:gd name="connsiteY1682" fmla="*/ 1159515 h 2340761"/>
                <a:gd name="connsiteX1683" fmla="*/ 263258 w 2967861"/>
                <a:gd name="connsiteY1683" fmla="*/ 1148960 h 2340761"/>
                <a:gd name="connsiteX1684" fmla="*/ 270398 w 2967861"/>
                <a:gd name="connsiteY1684" fmla="*/ 1139336 h 2340761"/>
                <a:gd name="connsiteX1685" fmla="*/ 290267 w 2967861"/>
                <a:gd name="connsiteY1685" fmla="*/ 1139336 h 2340761"/>
                <a:gd name="connsiteX1686" fmla="*/ 295544 w 2967861"/>
                <a:gd name="connsiteY1686" fmla="*/ 1130954 h 2340761"/>
                <a:gd name="connsiteX1687" fmla="*/ 297717 w 2967861"/>
                <a:gd name="connsiteY1687" fmla="*/ 1119468 h 2340761"/>
                <a:gd name="connsiteX1688" fmla="*/ 300822 w 2967861"/>
                <a:gd name="connsiteY1688" fmla="*/ 1108912 h 2340761"/>
                <a:gd name="connsiteX1689" fmla="*/ 310135 w 2967861"/>
                <a:gd name="connsiteY1689" fmla="*/ 1101462 h 2340761"/>
                <a:gd name="connsiteX1690" fmla="*/ 314171 w 2967861"/>
                <a:gd name="connsiteY1690" fmla="*/ 1099289 h 2340761"/>
                <a:gd name="connsiteX1691" fmla="*/ 315102 w 2967861"/>
                <a:gd name="connsiteY1691" fmla="*/ 1099289 h 2340761"/>
                <a:gd name="connsiteX1692" fmla="*/ 319138 w 2967861"/>
                <a:gd name="connsiteY1692" fmla="*/ 1099289 h 2340761"/>
                <a:gd name="connsiteX1693" fmla="*/ 321311 w 2967861"/>
                <a:gd name="connsiteY1693" fmla="*/ 1101462 h 2340761"/>
                <a:gd name="connsiteX1694" fmla="*/ 322243 w 2967861"/>
                <a:gd name="connsiteY1694" fmla="*/ 1104566 h 2340761"/>
                <a:gd name="connsiteX1695" fmla="*/ 324416 w 2967861"/>
                <a:gd name="connsiteY1695" fmla="*/ 1108912 h 2340761"/>
                <a:gd name="connsiteX1696" fmla="*/ 344284 w 2967861"/>
                <a:gd name="connsiteY1696" fmla="*/ 1104566 h 2340761"/>
                <a:gd name="connsiteX1697" fmla="*/ 361048 w 2967861"/>
                <a:gd name="connsiteY1697" fmla="*/ 1094942 h 2340761"/>
                <a:gd name="connsiteX1698" fmla="*/ 373466 w 2967861"/>
                <a:gd name="connsiteY1698" fmla="*/ 1084387 h 2340761"/>
                <a:gd name="connsiteX1699" fmla="*/ 388057 w 2967861"/>
                <a:gd name="connsiteY1699" fmla="*/ 1089665 h 2340761"/>
                <a:gd name="connsiteX1700" fmla="*/ 399544 w 2967861"/>
                <a:gd name="connsiteY1700" fmla="*/ 1101151 h 2340761"/>
                <a:gd name="connsiteX1701" fmla="*/ 406684 w 2967861"/>
                <a:gd name="connsiteY1701" fmla="*/ 1113880 h 2340761"/>
                <a:gd name="connsiteX1702" fmla="*/ 415066 w 2967861"/>
                <a:gd name="connsiteY1702" fmla="*/ 1124435 h 2340761"/>
                <a:gd name="connsiteX1703" fmla="*/ 424379 w 2967861"/>
                <a:gd name="connsiteY1703" fmla="*/ 1135921 h 2340761"/>
                <a:gd name="connsiteX1704" fmla="*/ 453561 w 2967861"/>
                <a:gd name="connsiteY1704" fmla="*/ 1156100 h 2340761"/>
                <a:gd name="connsiteX1705" fmla="*/ 480570 w 2967861"/>
                <a:gd name="connsiteY1705" fmla="*/ 1176279 h 2340761"/>
                <a:gd name="connsiteX1706" fmla="*/ 480570 w 2967861"/>
                <a:gd name="connsiteY1706" fmla="*/ 1180625 h 2340761"/>
                <a:gd name="connsiteX1707" fmla="*/ 480570 w 2967861"/>
                <a:gd name="connsiteY1707" fmla="*/ 1183730 h 2340761"/>
                <a:gd name="connsiteX1708" fmla="*/ 479639 w 2967861"/>
                <a:gd name="connsiteY1708" fmla="*/ 1185903 h 2340761"/>
                <a:gd name="connsiteX1709" fmla="*/ 479639 w 2967861"/>
                <a:gd name="connsiteY1709" fmla="*/ 1188076 h 2340761"/>
                <a:gd name="connsiteX1710" fmla="*/ 477466 w 2967861"/>
                <a:gd name="connsiteY1710" fmla="*/ 1189007 h 2340761"/>
                <a:gd name="connsiteX1711" fmla="*/ 470325 w 2967861"/>
                <a:gd name="connsiteY1711" fmla="*/ 1196458 h 2340761"/>
                <a:gd name="connsiteX1712" fmla="*/ 458839 w 2967861"/>
                <a:gd name="connsiteY1712" fmla="*/ 1200804 h 2340761"/>
                <a:gd name="connsiteX1713" fmla="*/ 444248 w 2967861"/>
                <a:gd name="connsiteY1713" fmla="*/ 1202978 h 2340761"/>
                <a:gd name="connsiteX1714" fmla="*/ 429657 w 2967861"/>
                <a:gd name="connsiteY1714" fmla="*/ 1200804 h 2340761"/>
                <a:gd name="connsiteX1715" fmla="*/ 435866 w 2967861"/>
                <a:gd name="connsiteY1715" fmla="*/ 1213533 h 2340761"/>
                <a:gd name="connsiteX1716" fmla="*/ 444248 w 2967861"/>
                <a:gd name="connsiteY1716" fmla="*/ 1218810 h 2340761"/>
                <a:gd name="connsiteX1717" fmla="*/ 455734 w 2967861"/>
                <a:gd name="connsiteY1717" fmla="*/ 1223157 h 2340761"/>
                <a:gd name="connsiteX1718" fmla="*/ 465048 w 2967861"/>
                <a:gd name="connsiteY1718" fmla="*/ 1230607 h 2340761"/>
                <a:gd name="connsiteX1719" fmla="*/ 473430 w 2967861"/>
                <a:gd name="connsiteY1719" fmla="*/ 1230607 h 2340761"/>
                <a:gd name="connsiteX1720" fmla="*/ 473430 w 2967861"/>
                <a:gd name="connsiteY1720" fmla="*/ 1206082 h 2340761"/>
                <a:gd name="connsiteX1721" fmla="*/ 484916 w 2967861"/>
                <a:gd name="connsiteY1721" fmla="*/ 1206082 h 2340761"/>
                <a:gd name="connsiteX1722" fmla="*/ 488021 w 2967861"/>
                <a:gd name="connsiteY1722" fmla="*/ 1198631 h 2340761"/>
                <a:gd name="connsiteX1723" fmla="*/ 492057 w 2967861"/>
                <a:gd name="connsiteY1723" fmla="*/ 1193354 h 2340761"/>
                <a:gd name="connsiteX1724" fmla="*/ 495161 w 2967861"/>
                <a:gd name="connsiteY1724" fmla="*/ 1189007 h 2340761"/>
                <a:gd name="connsiteX1725" fmla="*/ 500439 w 2967861"/>
                <a:gd name="connsiteY1725" fmla="*/ 1185903 h 2340761"/>
                <a:gd name="connsiteX1726" fmla="*/ 499507 w 2967861"/>
                <a:gd name="connsiteY1726" fmla="*/ 1180625 h 2340761"/>
                <a:gd name="connsiteX1727" fmla="*/ 497334 w 2967861"/>
                <a:gd name="connsiteY1727" fmla="*/ 1176279 h 2340761"/>
                <a:gd name="connsiteX1728" fmla="*/ 497334 w 2967861"/>
                <a:gd name="connsiteY1728" fmla="*/ 1174106 h 2340761"/>
                <a:gd name="connsiteX1729" fmla="*/ 495161 w 2967861"/>
                <a:gd name="connsiteY1729" fmla="*/ 1171002 h 2340761"/>
                <a:gd name="connsiteX1730" fmla="*/ 494230 w 2967861"/>
                <a:gd name="connsiteY1730" fmla="*/ 1166655 h 2340761"/>
                <a:gd name="connsiteX1731" fmla="*/ 494230 w 2967861"/>
                <a:gd name="connsiteY1731" fmla="*/ 1161378 h 2340761"/>
                <a:gd name="connsiteX1732" fmla="*/ 499507 w 2967861"/>
                <a:gd name="connsiteY1732" fmla="*/ 1161378 h 2340761"/>
                <a:gd name="connsiteX1733" fmla="*/ 504785 w 2967861"/>
                <a:gd name="connsiteY1733" fmla="*/ 1163551 h 2340761"/>
                <a:gd name="connsiteX1734" fmla="*/ 507889 w 2967861"/>
                <a:gd name="connsiteY1734" fmla="*/ 1165724 h 2340761"/>
                <a:gd name="connsiteX1735" fmla="*/ 510062 w 2967861"/>
                <a:gd name="connsiteY1735" fmla="*/ 1165724 h 2340761"/>
                <a:gd name="connsiteX1736" fmla="*/ 514098 w 2967861"/>
                <a:gd name="connsiteY1736" fmla="*/ 1165724 h 2340761"/>
                <a:gd name="connsiteX1737" fmla="*/ 517203 w 2967861"/>
                <a:gd name="connsiteY1737" fmla="*/ 1165724 h 2340761"/>
                <a:gd name="connsiteX1738" fmla="*/ 521238 w 2967861"/>
                <a:gd name="connsiteY1738" fmla="*/ 1165724 h 2340761"/>
                <a:gd name="connsiteX1739" fmla="*/ 521238 w 2967861"/>
                <a:gd name="connsiteY1739" fmla="*/ 1161378 h 2340761"/>
                <a:gd name="connsiteX1740" fmla="*/ 509752 w 2967861"/>
                <a:gd name="connsiteY1740" fmla="*/ 1151754 h 2340761"/>
                <a:gd name="connsiteX1741" fmla="*/ 499197 w 2967861"/>
                <a:gd name="connsiteY1741" fmla="*/ 1144303 h 2340761"/>
                <a:gd name="connsiteX1742" fmla="*/ 484606 w 2967861"/>
                <a:gd name="connsiteY1742" fmla="*/ 1139026 h 2340761"/>
                <a:gd name="connsiteX1743" fmla="*/ 484606 w 2967861"/>
                <a:gd name="connsiteY1743" fmla="*/ 1128471 h 2340761"/>
                <a:gd name="connsiteX1744" fmla="*/ 470015 w 2967861"/>
                <a:gd name="connsiteY1744" fmla="*/ 1128471 h 2340761"/>
                <a:gd name="connsiteX1745" fmla="*/ 457597 w 2967861"/>
                <a:gd name="connsiteY1745" fmla="*/ 1109533 h 2340761"/>
                <a:gd name="connsiteX1746" fmla="*/ 443937 w 2967861"/>
                <a:gd name="connsiteY1746" fmla="*/ 1093701 h 2340761"/>
                <a:gd name="connsiteX1747" fmla="*/ 429346 w 2967861"/>
                <a:gd name="connsiteY1747" fmla="*/ 1078799 h 2340761"/>
                <a:gd name="connsiteX1748" fmla="*/ 429346 w 2967861"/>
                <a:gd name="connsiteY1748" fmla="*/ 1072590 h 2340761"/>
                <a:gd name="connsiteX1749" fmla="*/ 429346 w 2967861"/>
                <a:gd name="connsiteY1749" fmla="*/ 1069486 h 2340761"/>
                <a:gd name="connsiteX1750" fmla="*/ 429346 w 2967861"/>
                <a:gd name="connsiteY1750" fmla="*/ 1065140 h 2340761"/>
                <a:gd name="connsiteX1751" fmla="*/ 429346 w 2967861"/>
                <a:gd name="connsiteY1751" fmla="*/ 1064208 h 2340761"/>
                <a:gd name="connsiteX1752" fmla="*/ 433382 w 2967861"/>
                <a:gd name="connsiteY1752" fmla="*/ 1062035 h 2340761"/>
                <a:gd name="connsiteX1753" fmla="*/ 436487 w 2967861"/>
                <a:gd name="connsiteY1753" fmla="*/ 1057689 h 2340761"/>
                <a:gd name="connsiteX1754" fmla="*/ 438660 w 2967861"/>
                <a:gd name="connsiteY1754" fmla="*/ 1057689 h 2340761"/>
                <a:gd name="connsiteX1755" fmla="*/ 438660 w 2967861"/>
                <a:gd name="connsiteY1755" fmla="*/ 1056758 h 2340761"/>
                <a:gd name="connsiteX1756" fmla="*/ 440833 w 2967861"/>
                <a:gd name="connsiteY1756" fmla="*/ 1056758 h 2340761"/>
                <a:gd name="connsiteX1757" fmla="*/ 443006 w 2967861"/>
                <a:gd name="connsiteY1757" fmla="*/ 1056758 h 2340761"/>
                <a:gd name="connsiteX1758" fmla="*/ 443937 w 2967861"/>
                <a:gd name="connsiteY1758" fmla="*/ 1054584 h 2340761"/>
                <a:gd name="connsiteX1759" fmla="*/ 446111 w 2967861"/>
                <a:gd name="connsiteY1759" fmla="*/ 1057689 h 2340761"/>
                <a:gd name="connsiteX1760" fmla="*/ 448284 w 2967861"/>
                <a:gd name="connsiteY1760" fmla="*/ 1062035 h 2340761"/>
                <a:gd name="connsiteX1761" fmla="*/ 448284 w 2967861"/>
                <a:gd name="connsiteY1761" fmla="*/ 1065140 h 2340761"/>
                <a:gd name="connsiteX1762" fmla="*/ 450457 w 2967861"/>
                <a:gd name="connsiteY1762" fmla="*/ 1071349 h 2340761"/>
                <a:gd name="connsiteX1763" fmla="*/ 465048 w 2967861"/>
                <a:gd name="connsiteY1763" fmla="*/ 1067002 h 2340761"/>
                <a:gd name="connsiteX1764" fmla="*/ 472188 w 2967861"/>
                <a:gd name="connsiteY1764" fmla="*/ 1087181 h 2340761"/>
                <a:gd name="connsiteX1765" fmla="*/ 479328 w 2967861"/>
                <a:gd name="connsiteY1765" fmla="*/ 1098668 h 2340761"/>
                <a:gd name="connsiteX1766" fmla="*/ 487710 w 2967861"/>
                <a:gd name="connsiteY1766" fmla="*/ 1103945 h 2340761"/>
                <a:gd name="connsiteX1767" fmla="*/ 497024 w 2967861"/>
                <a:gd name="connsiteY1767" fmla="*/ 1106118 h 2340761"/>
                <a:gd name="connsiteX1768" fmla="*/ 507579 w 2967861"/>
                <a:gd name="connsiteY1768" fmla="*/ 1111396 h 2340761"/>
                <a:gd name="connsiteX1769" fmla="*/ 521238 w 2967861"/>
                <a:gd name="connsiteY1769" fmla="*/ 1121020 h 2340761"/>
                <a:gd name="connsiteX1770" fmla="*/ 526516 w 2967861"/>
                <a:gd name="connsiteY1770" fmla="*/ 1126297 h 2340761"/>
                <a:gd name="connsiteX1771" fmla="*/ 526516 w 2967861"/>
                <a:gd name="connsiteY1771" fmla="*/ 1133748 h 2340761"/>
                <a:gd name="connsiteX1772" fmla="*/ 524343 w 2967861"/>
                <a:gd name="connsiteY1772" fmla="*/ 1141199 h 2340761"/>
                <a:gd name="connsiteX1773" fmla="*/ 522170 w 2967861"/>
                <a:gd name="connsiteY1773" fmla="*/ 1150823 h 2340761"/>
                <a:gd name="connsiteX1774" fmla="*/ 524343 w 2967861"/>
                <a:gd name="connsiteY1774" fmla="*/ 1161378 h 2340761"/>
                <a:gd name="connsiteX1775" fmla="*/ 528379 w 2967861"/>
                <a:gd name="connsiteY1775" fmla="*/ 1165724 h 2340761"/>
                <a:gd name="connsiteX1776" fmla="*/ 531483 w 2967861"/>
                <a:gd name="connsiteY1776" fmla="*/ 1166655 h 2340761"/>
                <a:gd name="connsiteX1777" fmla="*/ 536761 w 2967861"/>
                <a:gd name="connsiteY1777" fmla="*/ 1171002 h 2340761"/>
                <a:gd name="connsiteX1778" fmla="*/ 540797 w 2967861"/>
                <a:gd name="connsiteY1778" fmla="*/ 1174106 h 2340761"/>
                <a:gd name="connsiteX1779" fmla="*/ 543901 w 2967861"/>
                <a:gd name="connsiteY1779" fmla="*/ 1176279 h 2340761"/>
                <a:gd name="connsiteX1780" fmla="*/ 560665 w 2967861"/>
                <a:gd name="connsiteY1780" fmla="*/ 1225951 h 2340761"/>
                <a:gd name="connsiteX1781" fmla="*/ 564701 w 2967861"/>
                <a:gd name="connsiteY1781" fmla="*/ 1225951 h 2340761"/>
                <a:gd name="connsiteX1782" fmla="*/ 565632 w 2967861"/>
                <a:gd name="connsiteY1782" fmla="*/ 1228124 h 2340761"/>
                <a:gd name="connsiteX1783" fmla="*/ 567805 w 2967861"/>
                <a:gd name="connsiteY1783" fmla="*/ 1228124 h 2340761"/>
                <a:gd name="connsiteX1784" fmla="*/ 569978 w 2967861"/>
                <a:gd name="connsiteY1784" fmla="*/ 1230297 h 2340761"/>
                <a:gd name="connsiteX1785" fmla="*/ 575256 w 2967861"/>
                <a:gd name="connsiteY1785" fmla="*/ 1228124 h 2340761"/>
                <a:gd name="connsiteX1786" fmla="*/ 580534 w 2967861"/>
                <a:gd name="connsiteY1786" fmla="*/ 1225951 h 2340761"/>
                <a:gd name="connsiteX1787" fmla="*/ 582707 w 2967861"/>
                <a:gd name="connsiteY1787" fmla="*/ 1225019 h 2340761"/>
                <a:gd name="connsiteX1788" fmla="*/ 584880 w 2967861"/>
                <a:gd name="connsiteY1788" fmla="*/ 1220673 h 2340761"/>
                <a:gd name="connsiteX1789" fmla="*/ 584880 w 2967861"/>
                <a:gd name="connsiteY1789" fmla="*/ 1218500 h 2340761"/>
                <a:gd name="connsiteX1790" fmla="*/ 587053 w 2967861"/>
                <a:gd name="connsiteY1790" fmla="*/ 1215395 h 2340761"/>
                <a:gd name="connsiteX1791" fmla="*/ 587984 w 2967861"/>
                <a:gd name="connsiteY1791" fmla="*/ 1211049 h 2340761"/>
                <a:gd name="connsiteX1792" fmla="*/ 592020 w 2967861"/>
                <a:gd name="connsiteY1792" fmla="*/ 1210118 h 2340761"/>
                <a:gd name="connsiteX1793" fmla="*/ 597298 w 2967861"/>
                <a:gd name="connsiteY1793" fmla="*/ 1205772 h 2340761"/>
                <a:gd name="connsiteX1794" fmla="*/ 594193 w 2967861"/>
                <a:gd name="connsiteY1794" fmla="*/ 1188697 h 2340761"/>
                <a:gd name="connsiteX1795" fmla="*/ 587053 w 2967861"/>
                <a:gd name="connsiteY1795" fmla="*/ 1172864 h 2340761"/>
                <a:gd name="connsiteX1796" fmla="*/ 577740 w 2967861"/>
                <a:gd name="connsiteY1796" fmla="*/ 1161378 h 2340761"/>
                <a:gd name="connsiteX1797" fmla="*/ 577740 w 2967861"/>
                <a:gd name="connsiteY1797" fmla="*/ 1156411 h 2340761"/>
                <a:gd name="connsiteX1798" fmla="*/ 580844 w 2967861"/>
                <a:gd name="connsiteY1798" fmla="*/ 1158584 h 2340761"/>
                <a:gd name="connsiteX1799" fmla="*/ 580844 w 2967861"/>
                <a:gd name="connsiteY1799" fmla="*/ 1159515 h 2340761"/>
                <a:gd name="connsiteX1800" fmla="*/ 583017 w 2967861"/>
                <a:gd name="connsiteY1800" fmla="*/ 1161688 h 2340761"/>
                <a:gd name="connsiteX1801" fmla="*/ 585190 w 2967861"/>
                <a:gd name="connsiteY1801" fmla="*/ 1166035 h 2340761"/>
                <a:gd name="connsiteX1802" fmla="*/ 592331 w 2967861"/>
                <a:gd name="connsiteY1802" fmla="*/ 1163861 h 2340761"/>
                <a:gd name="connsiteX1803" fmla="*/ 595435 w 2967861"/>
                <a:gd name="connsiteY1803" fmla="*/ 1163861 h 2340761"/>
                <a:gd name="connsiteX1804" fmla="*/ 597608 w 2967861"/>
                <a:gd name="connsiteY1804" fmla="*/ 1163861 h 2340761"/>
                <a:gd name="connsiteX1805" fmla="*/ 599781 w 2967861"/>
                <a:gd name="connsiteY1805" fmla="*/ 1161688 h 2340761"/>
                <a:gd name="connsiteX1806" fmla="*/ 599781 w 2967861"/>
                <a:gd name="connsiteY1806" fmla="*/ 1159515 h 2340761"/>
                <a:gd name="connsiteX1807" fmla="*/ 599781 w 2967861"/>
                <a:gd name="connsiteY1807" fmla="*/ 1158584 h 2340761"/>
                <a:gd name="connsiteX1808" fmla="*/ 597608 w 2967861"/>
                <a:gd name="connsiteY1808" fmla="*/ 1154238 h 2340761"/>
                <a:gd name="connsiteX1809" fmla="*/ 597608 w 2967861"/>
                <a:gd name="connsiteY1809" fmla="*/ 1148960 h 2340761"/>
                <a:gd name="connsiteX1810" fmla="*/ 600713 w 2967861"/>
                <a:gd name="connsiteY1810" fmla="*/ 1148960 h 2340761"/>
                <a:gd name="connsiteX1811" fmla="*/ 600713 w 2967861"/>
                <a:gd name="connsiteY1811" fmla="*/ 1144614 h 2340761"/>
                <a:gd name="connsiteX1812" fmla="*/ 604748 w 2967861"/>
                <a:gd name="connsiteY1812" fmla="*/ 1144614 h 2340761"/>
                <a:gd name="connsiteX1813" fmla="*/ 607853 w 2967861"/>
                <a:gd name="connsiteY1813" fmla="*/ 1144614 h 2340761"/>
                <a:gd name="connsiteX1814" fmla="*/ 610026 w 2967861"/>
                <a:gd name="connsiteY1814" fmla="*/ 1146787 h 2340761"/>
                <a:gd name="connsiteX1815" fmla="*/ 612199 w 2967861"/>
                <a:gd name="connsiteY1815" fmla="*/ 1146787 h 2340761"/>
                <a:gd name="connsiteX1816" fmla="*/ 614372 w 2967861"/>
                <a:gd name="connsiteY1816" fmla="*/ 1148960 h 2340761"/>
                <a:gd name="connsiteX1817" fmla="*/ 619650 w 2967861"/>
                <a:gd name="connsiteY1817" fmla="*/ 1151133 h 2340761"/>
                <a:gd name="connsiteX1818" fmla="*/ 622754 w 2967861"/>
                <a:gd name="connsiteY1818" fmla="*/ 1152064 h 2340761"/>
                <a:gd name="connsiteX1819" fmla="*/ 624927 w 2967861"/>
                <a:gd name="connsiteY1819" fmla="*/ 1154238 h 2340761"/>
                <a:gd name="connsiteX1820" fmla="*/ 627100 w 2967861"/>
                <a:gd name="connsiteY1820" fmla="*/ 1156411 h 2340761"/>
                <a:gd name="connsiteX1821" fmla="*/ 630205 w 2967861"/>
                <a:gd name="connsiteY1821" fmla="*/ 1158584 h 2340761"/>
                <a:gd name="connsiteX1822" fmla="*/ 634241 w 2967861"/>
                <a:gd name="connsiteY1822" fmla="*/ 1161688 h 2340761"/>
                <a:gd name="connsiteX1823" fmla="*/ 632068 w 2967861"/>
                <a:gd name="connsiteY1823" fmla="*/ 1166966 h 2340761"/>
                <a:gd name="connsiteX1824" fmla="*/ 629894 w 2967861"/>
                <a:gd name="connsiteY1824" fmla="*/ 1171312 h 2340761"/>
                <a:gd name="connsiteX1825" fmla="*/ 629894 w 2967861"/>
                <a:gd name="connsiteY1825" fmla="*/ 1174416 h 2340761"/>
                <a:gd name="connsiteX1826" fmla="*/ 629894 w 2967861"/>
                <a:gd name="connsiteY1826" fmla="*/ 1178763 h 2340761"/>
                <a:gd name="connsiteX1827" fmla="*/ 629894 w 2967861"/>
                <a:gd name="connsiteY1827" fmla="*/ 1181867 h 2340761"/>
                <a:gd name="connsiteX1828" fmla="*/ 629894 w 2967861"/>
                <a:gd name="connsiteY1828" fmla="*/ 1186213 h 2340761"/>
                <a:gd name="connsiteX1829" fmla="*/ 629894 w 2967861"/>
                <a:gd name="connsiteY1829" fmla="*/ 1189318 h 2340761"/>
                <a:gd name="connsiteX1830" fmla="*/ 636103 w 2967861"/>
                <a:gd name="connsiteY1830" fmla="*/ 1206392 h 2340761"/>
                <a:gd name="connsiteX1831" fmla="*/ 648521 w 2967861"/>
                <a:gd name="connsiteY1831" fmla="*/ 1223467 h 2340761"/>
                <a:gd name="connsiteX1832" fmla="*/ 665285 w 2967861"/>
                <a:gd name="connsiteY1832" fmla="*/ 1234022 h 2340761"/>
                <a:gd name="connsiteX1833" fmla="*/ 680808 w 2967861"/>
                <a:gd name="connsiteY1833" fmla="*/ 1238368 h 2340761"/>
                <a:gd name="connsiteX1834" fmla="*/ 684843 w 2967861"/>
                <a:gd name="connsiteY1834" fmla="*/ 1236195 h 2340761"/>
                <a:gd name="connsiteX1835" fmla="*/ 687948 w 2967861"/>
                <a:gd name="connsiteY1835" fmla="*/ 1233091 h 2340761"/>
                <a:gd name="connsiteX1836" fmla="*/ 690121 w 2967861"/>
                <a:gd name="connsiteY1836" fmla="*/ 1228744 h 2340761"/>
                <a:gd name="connsiteX1837" fmla="*/ 695399 w 2967861"/>
                <a:gd name="connsiteY1837" fmla="*/ 1226571 h 2340761"/>
                <a:gd name="connsiteX1838" fmla="*/ 699434 w 2967861"/>
                <a:gd name="connsiteY1838" fmla="*/ 1225640 h 2340761"/>
                <a:gd name="connsiteX1839" fmla="*/ 704712 w 2967861"/>
                <a:gd name="connsiteY1839" fmla="*/ 1226571 h 2340761"/>
                <a:gd name="connsiteX1840" fmla="*/ 714025 w 2967861"/>
                <a:gd name="connsiteY1840" fmla="*/ 1230918 h 2340761"/>
                <a:gd name="connsiteX1841" fmla="*/ 721165 w 2967861"/>
                <a:gd name="connsiteY1841" fmla="*/ 1234022 h 2340761"/>
                <a:gd name="connsiteX1842" fmla="*/ 728306 w 2967861"/>
                <a:gd name="connsiteY1842" fmla="*/ 1236195 h 2340761"/>
                <a:gd name="connsiteX1843" fmla="*/ 735446 w 2967861"/>
                <a:gd name="connsiteY1843" fmla="*/ 1234022 h 2340761"/>
                <a:gd name="connsiteX1844" fmla="*/ 743828 w 2967861"/>
                <a:gd name="connsiteY1844" fmla="*/ 1226571 h 2340761"/>
                <a:gd name="connsiteX1845" fmla="*/ 750968 w 2967861"/>
                <a:gd name="connsiteY1845" fmla="*/ 1226571 h 2340761"/>
                <a:gd name="connsiteX1846" fmla="*/ 755004 w 2967861"/>
                <a:gd name="connsiteY1846" fmla="*/ 1226571 h 2340761"/>
                <a:gd name="connsiteX1847" fmla="*/ 758109 w 2967861"/>
                <a:gd name="connsiteY1847" fmla="*/ 1226571 h 2340761"/>
                <a:gd name="connsiteX1848" fmla="*/ 760282 w 2967861"/>
                <a:gd name="connsiteY1848" fmla="*/ 1228744 h 2340761"/>
                <a:gd name="connsiteX1849" fmla="*/ 762455 w 2967861"/>
                <a:gd name="connsiteY1849" fmla="*/ 1230918 h 2340761"/>
                <a:gd name="connsiteX1850" fmla="*/ 762455 w 2967861"/>
                <a:gd name="connsiteY1850" fmla="*/ 1234022 h 2340761"/>
                <a:gd name="connsiteX1851" fmla="*/ 764628 w 2967861"/>
                <a:gd name="connsiteY1851" fmla="*/ 1238368 h 2340761"/>
                <a:gd name="connsiteX1852" fmla="*/ 767732 w 2967861"/>
                <a:gd name="connsiteY1852" fmla="*/ 1251097 h 2340761"/>
                <a:gd name="connsiteX1853" fmla="*/ 765870 w 2967861"/>
                <a:gd name="connsiteY1853" fmla="*/ 1265377 h 2340761"/>
                <a:gd name="connsiteX1854" fmla="*/ 845033 w 2967861"/>
                <a:gd name="connsiteY1854" fmla="*/ 1136232 h 2340761"/>
                <a:gd name="connsiteX1855" fmla="*/ 825165 w 2967861"/>
                <a:gd name="connsiteY1855" fmla="*/ 1141509 h 2340761"/>
                <a:gd name="connsiteX1856" fmla="*/ 803434 w 2967861"/>
                <a:gd name="connsiteY1856" fmla="*/ 1143682 h 2340761"/>
                <a:gd name="connsiteX1857" fmla="*/ 781702 w 2967861"/>
                <a:gd name="connsiteY1857" fmla="*/ 1139336 h 2340761"/>
                <a:gd name="connsiteX1858" fmla="*/ 773320 w 2967861"/>
                <a:gd name="connsiteY1858" fmla="*/ 1136232 h 2340761"/>
                <a:gd name="connsiteX1859" fmla="*/ 766180 w 2967861"/>
                <a:gd name="connsiteY1859" fmla="*/ 1130954 h 2340761"/>
                <a:gd name="connsiteX1860" fmla="*/ 756867 w 2967861"/>
                <a:gd name="connsiteY1860" fmla="*/ 1124745 h 2340761"/>
                <a:gd name="connsiteX1861" fmla="*/ 742276 w 2967861"/>
                <a:gd name="connsiteY1861" fmla="*/ 1124745 h 2340761"/>
                <a:gd name="connsiteX1862" fmla="*/ 727685 w 2967861"/>
                <a:gd name="connsiteY1862" fmla="*/ 1126918 h 2340761"/>
                <a:gd name="connsiteX1863" fmla="*/ 713094 w 2967861"/>
                <a:gd name="connsiteY1863" fmla="*/ 1134369 h 2340761"/>
                <a:gd name="connsiteX1864" fmla="*/ 700676 w 2967861"/>
                <a:gd name="connsiteY1864" fmla="*/ 1139647 h 2340761"/>
                <a:gd name="connsiteX1865" fmla="*/ 686085 w 2967861"/>
                <a:gd name="connsiteY1865" fmla="*/ 1141820 h 2340761"/>
                <a:gd name="connsiteX1866" fmla="*/ 671494 w 2967861"/>
                <a:gd name="connsiteY1866" fmla="*/ 1136542 h 2340761"/>
                <a:gd name="connsiteX1867" fmla="*/ 666217 w 2967861"/>
                <a:gd name="connsiteY1867" fmla="*/ 1134369 h 2340761"/>
                <a:gd name="connsiteX1868" fmla="*/ 662181 w 2967861"/>
                <a:gd name="connsiteY1868" fmla="*/ 1132196 h 2340761"/>
                <a:gd name="connsiteX1869" fmla="*/ 659076 w 2967861"/>
                <a:gd name="connsiteY1869" fmla="*/ 1131265 h 2340761"/>
                <a:gd name="connsiteX1870" fmla="*/ 656903 w 2967861"/>
                <a:gd name="connsiteY1870" fmla="*/ 1126918 h 2340761"/>
                <a:gd name="connsiteX1871" fmla="*/ 656903 w 2967861"/>
                <a:gd name="connsiteY1871" fmla="*/ 1123814 h 2340761"/>
                <a:gd name="connsiteX1872" fmla="*/ 654730 w 2967861"/>
                <a:gd name="connsiteY1872" fmla="*/ 1116363 h 2340761"/>
                <a:gd name="connsiteX1873" fmla="*/ 654730 w 2967861"/>
                <a:gd name="connsiteY1873" fmla="*/ 1110154 h 2340761"/>
                <a:gd name="connsiteX1874" fmla="*/ 658766 w 2967861"/>
                <a:gd name="connsiteY1874" fmla="*/ 1099599 h 2340761"/>
                <a:gd name="connsiteX1875" fmla="*/ 665906 w 2967861"/>
                <a:gd name="connsiteY1875" fmla="*/ 1086871 h 2340761"/>
                <a:gd name="connsiteX1876" fmla="*/ 674288 w 2967861"/>
                <a:gd name="connsiteY1876" fmla="*/ 1071969 h 2340761"/>
                <a:gd name="connsiteX1877" fmla="*/ 683602 w 2967861"/>
                <a:gd name="connsiteY1877" fmla="*/ 1057068 h 2340761"/>
                <a:gd name="connsiteX1878" fmla="*/ 690742 w 2967861"/>
                <a:gd name="connsiteY1878" fmla="*/ 1043408 h 2340761"/>
                <a:gd name="connsiteX1879" fmla="*/ 694778 w 2967861"/>
                <a:gd name="connsiteY1879" fmla="*/ 1035026 h 2340761"/>
                <a:gd name="connsiteX1880" fmla="*/ 703160 w 2967861"/>
                <a:gd name="connsiteY1880" fmla="*/ 1037199 h 2340761"/>
                <a:gd name="connsiteX1881" fmla="*/ 710300 w 2967861"/>
                <a:gd name="connsiteY1881" fmla="*/ 1040304 h 2340761"/>
                <a:gd name="connsiteX1882" fmla="*/ 715578 w 2967861"/>
                <a:gd name="connsiteY1882" fmla="*/ 1042477 h 2340761"/>
                <a:gd name="connsiteX1883" fmla="*/ 721786 w 2967861"/>
                <a:gd name="connsiteY1883" fmla="*/ 1047755 h 2340761"/>
                <a:gd name="connsiteX1884" fmla="*/ 724891 w 2967861"/>
                <a:gd name="connsiteY1884" fmla="*/ 1049928 h 2340761"/>
                <a:gd name="connsiteX1885" fmla="*/ 727064 w 2967861"/>
                <a:gd name="connsiteY1885" fmla="*/ 1049928 h 2340761"/>
                <a:gd name="connsiteX1886" fmla="*/ 729237 w 2967861"/>
                <a:gd name="connsiteY1886" fmla="*/ 1049928 h 2340761"/>
                <a:gd name="connsiteX1887" fmla="*/ 730168 w 2967861"/>
                <a:gd name="connsiteY1887" fmla="*/ 1050859 h 2340761"/>
                <a:gd name="connsiteX1888" fmla="*/ 717751 w 2967861"/>
                <a:gd name="connsiteY1888" fmla="*/ 1055205 h 2340761"/>
                <a:gd name="connsiteX1889" fmla="*/ 721786 w 2967861"/>
                <a:gd name="connsiteY1889" fmla="*/ 1064829 h 2340761"/>
                <a:gd name="connsiteX1890" fmla="*/ 728927 w 2967861"/>
                <a:gd name="connsiteY1890" fmla="*/ 1072280 h 2340761"/>
                <a:gd name="connsiteX1891" fmla="*/ 734204 w 2967861"/>
                <a:gd name="connsiteY1891" fmla="*/ 1079731 h 2340761"/>
                <a:gd name="connsiteX1892" fmla="*/ 743518 w 2967861"/>
                <a:gd name="connsiteY1892" fmla="*/ 1080662 h 2340761"/>
                <a:gd name="connsiteX1893" fmla="*/ 755935 w 2967861"/>
                <a:gd name="connsiteY1893" fmla="*/ 1075384 h 2340761"/>
                <a:gd name="connsiteX1894" fmla="*/ 765249 w 2967861"/>
                <a:gd name="connsiteY1894" fmla="*/ 1067934 h 2340761"/>
                <a:gd name="connsiteX1895" fmla="*/ 780771 w 2967861"/>
                <a:gd name="connsiteY1895" fmla="*/ 1073211 h 2340761"/>
                <a:gd name="connsiteX1896" fmla="*/ 800640 w 2967861"/>
                <a:gd name="connsiteY1896" fmla="*/ 1084698 h 2340761"/>
                <a:gd name="connsiteX1897" fmla="*/ 821439 w 2967861"/>
                <a:gd name="connsiteY1897" fmla="*/ 1097426 h 2340761"/>
                <a:gd name="connsiteX1898" fmla="*/ 836030 w 2967861"/>
                <a:gd name="connsiteY1898" fmla="*/ 1110154 h 2340761"/>
                <a:gd name="connsiteX1899" fmla="*/ 844413 w 2967861"/>
                <a:gd name="connsiteY1899" fmla="*/ 1125056 h 2340761"/>
                <a:gd name="connsiteX1900" fmla="*/ 850621 w 2967861"/>
                <a:gd name="connsiteY1900" fmla="*/ 1125056 h 2340761"/>
                <a:gd name="connsiteX1901" fmla="*/ 845033 w 2967861"/>
                <a:gd name="connsiteY1901" fmla="*/ 1136232 h 2340761"/>
                <a:gd name="connsiteX1902" fmla="*/ 1025402 w 2967861"/>
                <a:gd name="connsiteY1902" fmla="*/ 1146787 h 2340761"/>
                <a:gd name="connsiteX1903" fmla="*/ 1022298 w 2967861"/>
                <a:gd name="connsiteY1903" fmla="*/ 1146787 h 2340761"/>
                <a:gd name="connsiteX1904" fmla="*/ 1018262 w 2967861"/>
                <a:gd name="connsiteY1904" fmla="*/ 1146787 h 2340761"/>
                <a:gd name="connsiteX1905" fmla="*/ 1015157 w 2967861"/>
                <a:gd name="connsiteY1905" fmla="*/ 1146787 h 2340761"/>
                <a:gd name="connsiteX1906" fmla="*/ 1011122 w 2967861"/>
                <a:gd name="connsiteY1906" fmla="*/ 1144614 h 2340761"/>
                <a:gd name="connsiteX1907" fmla="*/ 1008949 w 2967861"/>
                <a:gd name="connsiteY1907" fmla="*/ 1161688 h 2340761"/>
                <a:gd name="connsiteX1908" fmla="*/ 1011122 w 2967861"/>
                <a:gd name="connsiteY1908" fmla="*/ 1173175 h 2340761"/>
                <a:gd name="connsiteX1909" fmla="*/ 1016399 w 2967861"/>
                <a:gd name="connsiteY1909" fmla="*/ 1183730 h 2340761"/>
                <a:gd name="connsiteX1910" fmla="*/ 1020435 w 2967861"/>
                <a:gd name="connsiteY1910" fmla="*/ 1196458 h 2340761"/>
                <a:gd name="connsiteX1911" fmla="*/ 1022608 w 2967861"/>
                <a:gd name="connsiteY1911" fmla="*/ 1217569 h 2340761"/>
                <a:gd name="connsiteX1912" fmla="*/ 995600 w 2967861"/>
                <a:gd name="connsiteY1912" fmla="*/ 1218500 h 2340761"/>
                <a:gd name="connsiteX1913" fmla="*/ 976973 w 2967861"/>
                <a:gd name="connsiteY1913" fmla="*/ 1215395 h 2340761"/>
                <a:gd name="connsiteX1914" fmla="*/ 966418 w 2967861"/>
                <a:gd name="connsiteY1914" fmla="*/ 1205772 h 2340761"/>
                <a:gd name="connsiteX1915" fmla="*/ 962382 w 2967861"/>
                <a:gd name="connsiteY1915" fmla="*/ 1188697 h 2340761"/>
                <a:gd name="connsiteX1916" fmla="*/ 962382 w 2967861"/>
                <a:gd name="connsiteY1916" fmla="*/ 1165414 h 2340761"/>
                <a:gd name="connsiteX1917" fmla="*/ 974800 w 2967861"/>
                <a:gd name="connsiteY1917" fmla="*/ 1165414 h 2340761"/>
                <a:gd name="connsiteX1918" fmla="*/ 967660 w 2967861"/>
                <a:gd name="connsiteY1918" fmla="*/ 1151754 h 2340761"/>
                <a:gd name="connsiteX1919" fmla="*/ 955242 w 2967861"/>
                <a:gd name="connsiteY1919" fmla="*/ 1138094 h 2340761"/>
                <a:gd name="connsiteX1920" fmla="*/ 944686 w 2967861"/>
                <a:gd name="connsiteY1920" fmla="*/ 1121020 h 2340761"/>
                <a:gd name="connsiteX1921" fmla="*/ 933200 w 2967861"/>
                <a:gd name="connsiteY1921" fmla="*/ 1103945 h 2340761"/>
                <a:gd name="connsiteX1922" fmla="*/ 927922 w 2967861"/>
                <a:gd name="connsiteY1922" fmla="*/ 1086871 h 2340761"/>
                <a:gd name="connsiteX1923" fmla="*/ 931027 w 2967861"/>
                <a:gd name="connsiteY1923" fmla="*/ 1071038 h 2340761"/>
                <a:gd name="connsiteX1924" fmla="*/ 938167 w 2967861"/>
                <a:gd name="connsiteY1924" fmla="*/ 1059552 h 2340761"/>
                <a:gd name="connsiteX1925" fmla="*/ 949653 w 2967861"/>
                <a:gd name="connsiteY1925" fmla="*/ 1049928 h 2340761"/>
                <a:gd name="connsiteX1926" fmla="*/ 962071 w 2967861"/>
                <a:gd name="connsiteY1926" fmla="*/ 1044650 h 2340761"/>
                <a:gd name="connsiteX1927" fmla="*/ 974489 w 2967861"/>
                <a:gd name="connsiteY1927" fmla="*/ 1039373 h 2340761"/>
                <a:gd name="connsiteX1928" fmla="*/ 985976 w 2967861"/>
                <a:gd name="connsiteY1928" fmla="*/ 1029749 h 2340761"/>
                <a:gd name="connsiteX1929" fmla="*/ 995289 w 2967861"/>
                <a:gd name="connsiteY1929" fmla="*/ 1029749 h 2340761"/>
                <a:gd name="connsiteX1930" fmla="*/ 1000567 w 2967861"/>
                <a:gd name="connsiteY1930" fmla="*/ 1031922 h 2340761"/>
                <a:gd name="connsiteX1931" fmla="*/ 1005844 w 2967861"/>
                <a:gd name="connsiteY1931" fmla="*/ 1031922 h 2340761"/>
                <a:gd name="connsiteX1932" fmla="*/ 1011122 w 2967861"/>
                <a:gd name="connsiteY1932" fmla="*/ 1034095 h 2340761"/>
                <a:gd name="connsiteX1933" fmla="*/ 1008017 w 2967861"/>
                <a:gd name="connsiteY1933" fmla="*/ 1049928 h 2340761"/>
                <a:gd name="connsiteX1934" fmla="*/ 1000877 w 2967861"/>
                <a:gd name="connsiteY1934" fmla="*/ 1063587 h 2340761"/>
                <a:gd name="connsiteX1935" fmla="*/ 986286 w 2967861"/>
                <a:gd name="connsiteY1935" fmla="*/ 1068865 h 2340761"/>
                <a:gd name="connsiteX1936" fmla="*/ 966418 w 2967861"/>
                <a:gd name="connsiteY1936" fmla="*/ 1071038 h 2340761"/>
                <a:gd name="connsiteX1937" fmla="*/ 973558 w 2967861"/>
                <a:gd name="connsiteY1937" fmla="*/ 1086871 h 2340761"/>
                <a:gd name="connsiteX1938" fmla="*/ 985976 w 2967861"/>
                <a:gd name="connsiteY1938" fmla="*/ 1101772 h 2340761"/>
                <a:gd name="connsiteX1939" fmla="*/ 1001498 w 2967861"/>
                <a:gd name="connsiteY1939" fmla="*/ 1111396 h 2340761"/>
                <a:gd name="connsiteX1940" fmla="*/ 1000567 w 2967861"/>
                <a:gd name="connsiteY1940" fmla="*/ 1115742 h 2340761"/>
                <a:gd name="connsiteX1941" fmla="*/ 998394 w 2967861"/>
                <a:gd name="connsiteY1941" fmla="*/ 1116674 h 2340761"/>
                <a:gd name="connsiteX1942" fmla="*/ 996220 w 2967861"/>
                <a:gd name="connsiteY1942" fmla="*/ 1116674 h 2340761"/>
                <a:gd name="connsiteX1943" fmla="*/ 995289 w 2967861"/>
                <a:gd name="connsiteY1943" fmla="*/ 1121020 h 2340761"/>
                <a:gd name="connsiteX1944" fmla="*/ 1000567 w 2967861"/>
                <a:gd name="connsiteY1944" fmla="*/ 1130644 h 2340761"/>
                <a:gd name="connsiteX1945" fmla="*/ 1005844 w 2967861"/>
                <a:gd name="connsiteY1945" fmla="*/ 1139026 h 2340761"/>
                <a:gd name="connsiteX1946" fmla="*/ 1008017 w 2967861"/>
                <a:gd name="connsiteY1946" fmla="*/ 1143372 h 2340761"/>
                <a:gd name="connsiteX1947" fmla="*/ 1008949 w 2967861"/>
                <a:gd name="connsiteY1947" fmla="*/ 1144303 h 2340761"/>
                <a:gd name="connsiteX1948" fmla="*/ 1011122 w 2967861"/>
                <a:gd name="connsiteY1948" fmla="*/ 1143372 h 2340761"/>
                <a:gd name="connsiteX1949" fmla="*/ 1011122 w 2967861"/>
                <a:gd name="connsiteY1949" fmla="*/ 1141199 h 2340761"/>
                <a:gd name="connsiteX1950" fmla="*/ 1013295 w 2967861"/>
                <a:gd name="connsiteY1950" fmla="*/ 1138094 h 2340761"/>
                <a:gd name="connsiteX1951" fmla="*/ 1013295 w 2967861"/>
                <a:gd name="connsiteY1951" fmla="*/ 1133748 h 2340761"/>
                <a:gd name="connsiteX1952" fmla="*/ 1015468 w 2967861"/>
                <a:gd name="connsiteY1952" fmla="*/ 1131575 h 2340761"/>
                <a:gd name="connsiteX1953" fmla="*/ 1018573 w 2967861"/>
                <a:gd name="connsiteY1953" fmla="*/ 1133748 h 2340761"/>
                <a:gd name="connsiteX1954" fmla="*/ 1022608 w 2967861"/>
                <a:gd name="connsiteY1954" fmla="*/ 1138094 h 2340761"/>
                <a:gd name="connsiteX1955" fmla="*/ 1023540 w 2967861"/>
                <a:gd name="connsiteY1955" fmla="*/ 1139026 h 2340761"/>
                <a:gd name="connsiteX1956" fmla="*/ 1027575 w 2967861"/>
                <a:gd name="connsiteY1956" fmla="*/ 1141199 h 2340761"/>
                <a:gd name="connsiteX1957" fmla="*/ 1030680 w 2967861"/>
                <a:gd name="connsiteY1957" fmla="*/ 1144303 h 2340761"/>
                <a:gd name="connsiteX1958" fmla="*/ 1025402 w 2967861"/>
                <a:gd name="connsiteY1958" fmla="*/ 1146787 h 2340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</a:cxnLst>
              <a:rect l="l" t="t" r="r" b="b"/>
              <a:pathLst>
                <a:path w="2967861" h="2340761">
                  <a:moveTo>
                    <a:pt x="2965999" y="516271"/>
                  </a:moveTo>
                  <a:lnTo>
                    <a:pt x="2956685" y="502612"/>
                  </a:lnTo>
                  <a:lnTo>
                    <a:pt x="2945199" y="489883"/>
                  </a:lnTo>
                  <a:lnTo>
                    <a:pt x="2934644" y="477155"/>
                  </a:lnTo>
                  <a:lnTo>
                    <a:pt x="2930608" y="477155"/>
                  </a:lnTo>
                  <a:lnTo>
                    <a:pt x="2929677" y="477155"/>
                  </a:lnTo>
                  <a:lnTo>
                    <a:pt x="2927503" y="479328"/>
                  </a:lnTo>
                  <a:lnTo>
                    <a:pt x="2925330" y="479328"/>
                  </a:lnTo>
                  <a:lnTo>
                    <a:pt x="2923158" y="480260"/>
                  </a:lnTo>
                  <a:lnTo>
                    <a:pt x="2905462" y="477155"/>
                  </a:lnTo>
                  <a:lnTo>
                    <a:pt x="2896149" y="469705"/>
                  </a:lnTo>
                  <a:lnTo>
                    <a:pt x="2889008" y="460081"/>
                  </a:lnTo>
                  <a:lnTo>
                    <a:pt x="2881868" y="449526"/>
                  </a:lnTo>
                  <a:lnTo>
                    <a:pt x="2871313" y="439902"/>
                  </a:lnTo>
                  <a:lnTo>
                    <a:pt x="2866035" y="435555"/>
                  </a:lnTo>
                  <a:lnTo>
                    <a:pt x="2859827" y="435555"/>
                  </a:lnTo>
                  <a:lnTo>
                    <a:pt x="2854549" y="434624"/>
                  </a:lnTo>
                  <a:lnTo>
                    <a:pt x="2849271" y="434624"/>
                  </a:lnTo>
                  <a:lnTo>
                    <a:pt x="2843994" y="430278"/>
                  </a:lnTo>
                  <a:lnTo>
                    <a:pt x="2810776" y="395508"/>
                  </a:lnTo>
                  <a:lnTo>
                    <a:pt x="2751481" y="370051"/>
                  </a:lnTo>
                  <a:lnTo>
                    <a:pt x="2747445" y="370983"/>
                  </a:lnTo>
                  <a:lnTo>
                    <a:pt x="2744340" y="373156"/>
                  </a:lnTo>
                  <a:lnTo>
                    <a:pt x="2740305" y="377502"/>
                  </a:lnTo>
                  <a:lnTo>
                    <a:pt x="2735027" y="378433"/>
                  </a:lnTo>
                  <a:lnTo>
                    <a:pt x="2729750" y="378433"/>
                  </a:lnTo>
                  <a:lnTo>
                    <a:pt x="2723541" y="378433"/>
                  </a:lnTo>
                  <a:lnTo>
                    <a:pt x="2708950" y="373156"/>
                  </a:lnTo>
                  <a:lnTo>
                    <a:pt x="2696532" y="365705"/>
                  </a:lnTo>
                  <a:lnTo>
                    <a:pt x="2678836" y="362601"/>
                  </a:lnTo>
                  <a:lnTo>
                    <a:pt x="2678836" y="367878"/>
                  </a:lnTo>
                  <a:lnTo>
                    <a:pt x="2678836" y="373156"/>
                  </a:lnTo>
                  <a:lnTo>
                    <a:pt x="2676664" y="377502"/>
                  </a:lnTo>
                  <a:lnTo>
                    <a:pt x="2676664" y="380607"/>
                  </a:lnTo>
                  <a:lnTo>
                    <a:pt x="2678836" y="382780"/>
                  </a:lnTo>
                  <a:lnTo>
                    <a:pt x="2681010" y="385884"/>
                  </a:lnTo>
                  <a:lnTo>
                    <a:pt x="2684114" y="392093"/>
                  </a:lnTo>
                  <a:lnTo>
                    <a:pt x="2681941" y="397371"/>
                  </a:lnTo>
                  <a:lnTo>
                    <a:pt x="2681941" y="400475"/>
                  </a:lnTo>
                  <a:lnTo>
                    <a:pt x="2681010" y="404821"/>
                  </a:lnTo>
                  <a:lnTo>
                    <a:pt x="2678836" y="406994"/>
                  </a:lnTo>
                  <a:lnTo>
                    <a:pt x="2678836" y="412272"/>
                  </a:lnTo>
                  <a:lnTo>
                    <a:pt x="2671696" y="406994"/>
                  </a:lnTo>
                  <a:lnTo>
                    <a:pt x="2666419" y="402648"/>
                  </a:lnTo>
                  <a:lnTo>
                    <a:pt x="2660210" y="395198"/>
                  </a:lnTo>
                  <a:lnTo>
                    <a:pt x="2654932" y="389920"/>
                  </a:lnTo>
                  <a:lnTo>
                    <a:pt x="2651828" y="382469"/>
                  </a:lnTo>
                  <a:lnTo>
                    <a:pt x="2616437" y="382469"/>
                  </a:lnTo>
                  <a:lnTo>
                    <a:pt x="2581978" y="382469"/>
                  </a:lnTo>
                  <a:lnTo>
                    <a:pt x="2547518" y="385574"/>
                  </a:lnTo>
                  <a:lnTo>
                    <a:pt x="2544414" y="384642"/>
                  </a:lnTo>
                  <a:lnTo>
                    <a:pt x="2542240" y="380296"/>
                  </a:lnTo>
                  <a:lnTo>
                    <a:pt x="2538205" y="378123"/>
                  </a:lnTo>
                  <a:lnTo>
                    <a:pt x="2535100" y="365395"/>
                  </a:lnTo>
                  <a:lnTo>
                    <a:pt x="2532927" y="350493"/>
                  </a:lnTo>
                  <a:lnTo>
                    <a:pt x="2527650" y="333419"/>
                  </a:lnTo>
                  <a:lnTo>
                    <a:pt x="2515232" y="330314"/>
                  </a:lnTo>
                  <a:lnTo>
                    <a:pt x="2498468" y="327210"/>
                  </a:lnTo>
                  <a:lnTo>
                    <a:pt x="2481703" y="325037"/>
                  </a:lnTo>
                  <a:lnTo>
                    <a:pt x="2464008" y="325037"/>
                  </a:lnTo>
                  <a:lnTo>
                    <a:pt x="2451590" y="330314"/>
                  </a:lnTo>
                  <a:lnTo>
                    <a:pt x="2437931" y="325037"/>
                  </a:lnTo>
                  <a:lnTo>
                    <a:pt x="2427375" y="315413"/>
                  </a:lnTo>
                  <a:lnTo>
                    <a:pt x="2420235" y="304858"/>
                  </a:lnTo>
                  <a:lnTo>
                    <a:pt x="2414958" y="293371"/>
                  </a:lnTo>
                  <a:lnTo>
                    <a:pt x="2401298" y="293371"/>
                  </a:lnTo>
                  <a:lnTo>
                    <a:pt x="2388880" y="293371"/>
                  </a:lnTo>
                  <a:lnTo>
                    <a:pt x="2378325" y="297718"/>
                  </a:lnTo>
                  <a:lnTo>
                    <a:pt x="2373047" y="295544"/>
                  </a:lnTo>
                  <a:lnTo>
                    <a:pt x="2369012" y="293371"/>
                  </a:lnTo>
                  <a:lnTo>
                    <a:pt x="2365907" y="291198"/>
                  </a:lnTo>
                  <a:lnTo>
                    <a:pt x="2365907" y="288094"/>
                  </a:lnTo>
                  <a:lnTo>
                    <a:pt x="2363734" y="285921"/>
                  </a:lnTo>
                  <a:lnTo>
                    <a:pt x="2363734" y="282816"/>
                  </a:lnTo>
                  <a:lnTo>
                    <a:pt x="2361561" y="276607"/>
                  </a:lnTo>
                  <a:lnTo>
                    <a:pt x="2358457" y="273503"/>
                  </a:lnTo>
                  <a:lnTo>
                    <a:pt x="2351316" y="268225"/>
                  </a:lnTo>
                  <a:lnTo>
                    <a:pt x="2334552" y="262016"/>
                  </a:lnTo>
                  <a:lnTo>
                    <a:pt x="2315925" y="256739"/>
                  </a:lnTo>
                  <a:lnTo>
                    <a:pt x="2296057" y="251461"/>
                  </a:lnTo>
                  <a:lnTo>
                    <a:pt x="2276188" y="249288"/>
                  </a:lnTo>
                  <a:lnTo>
                    <a:pt x="2258493" y="249288"/>
                  </a:lnTo>
                  <a:lnTo>
                    <a:pt x="2247007" y="253634"/>
                  </a:lnTo>
                  <a:lnTo>
                    <a:pt x="2234589" y="256739"/>
                  </a:lnTo>
                  <a:lnTo>
                    <a:pt x="2237693" y="273813"/>
                  </a:lnTo>
                  <a:lnTo>
                    <a:pt x="2241729" y="286541"/>
                  </a:lnTo>
                  <a:lnTo>
                    <a:pt x="2243902" y="305479"/>
                  </a:lnTo>
                  <a:lnTo>
                    <a:pt x="2236762" y="305479"/>
                  </a:lnTo>
                  <a:lnTo>
                    <a:pt x="2232726" y="303306"/>
                  </a:lnTo>
                  <a:lnTo>
                    <a:pt x="2227448" y="303306"/>
                  </a:lnTo>
                  <a:lnTo>
                    <a:pt x="2225275" y="303306"/>
                  </a:lnTo>
                  <a:lnTo>
                    <a:pt x="2222171" y="303306"/>
                  </a:lnTo>
                  <a:lnTo>
                    <a:pt x="2218135" y="306410"/>
                  </a:lnTo>
                  <a:lnTo>
                    <a:pt x="2215030" y="310756"/>
                  </a:lnTo>
                  <a:lnTo>
                    <a:pt x="2207890" y="306410"/>
                  </a:lnTo>
                  <a:lnTo>
                    <a:pt x="2201681" y="303306"/>
                  </a:lnTo>
                  <a:lnTo>
                    <a:pt x="2198577" y="298028"/>
                  </a:lnTo>
                  <a:lnTo>
                    <a:pt x="2193299" y="293682"/>
                  </a:lnTo>
                  <a:lnTo>
                    <a:pt x="2188022" y="288404"/>
                  </a:lnTo>
                  <a:lnTo>
                    <a:pt x="2174362" y="310756"/>
                  </a:lnTo>
                  <a:lnTo>
                    <a:pt x="2165980" y="308583"/>
                  </a:lnTo>
                  <a:lnTo>
                    <a:pt x="2158840" y="306410"/>
                  </a:lnTo>
                  <a:lnTo>
                    <a:pt x="2152631" y="303306"/>
                  </a:lnTo>
                  <a:lnTo>
                    <a:pt x="2149526" y="298028"/>
                  </a:lnTo>
                  <a:lnTo>
                    <a:pt x="2147353" y="290577"/>
                  </a:lnTo>
                  <a:lnTo>
                    <a:pt x="2147353" y="280953"/>
                  </a:lnTo>
                  <a:lnTo>
                    <a:pt x="2140213" y="290577"/>
                  </a:lnTo>
                  <a:lnTo>
                    <a:pt x="2137109" y="301132"/>
                  </a:lnTo>
                  <a:lnTo>
                    <a:pt x="2133073" y="312619"/>
                  </a:lnTo>
                  <a:lnTo>
                    <a:pt x="2127795" y="321001"/>
                  </a:lnTo>
                  <a:lnTo>
                    <a:pt x="2125622" y="323174"/>
                  </a:lnTo>
                  <a:lnTo>
                    <a:pt x="2123449" y="325347"/>
                  </a:lnTo>
                  <a:lnTo>
                    <a:pt x="2112894" y="317896"/>
                  </a:lnTo>
                  <a:lnTo>
                    <a:pt x="2100476" y="310446"/>
                  </a:lnTo>
                  <a:lnTo>
                    <a:pt x="2091163" y="300822"/>
                  </a:lnTo>
                  <a:lnTo>
                    <a:pt x="2088989" y="295544"/>
                  </a:lnTo>
                  <a:lnTo>
                    <a:pt x="2088058" y="291198"/>
                  </a:lnTo>
                  <a:lnTo>
                    <a:pt x="2088058" y="288094"/>
                  </a:lnTo>
                  <a:lnTo>
                    <a:pt x="2085885" y="283747"/>
                  </a:lnTo>
                  <a:lnTo>
                    <a:pt x="2083712" y="280643"/>
                  </a:lnTo>
                  <a:lnTo>
                    <a:pt x="2090852" y="261706"/>
                  </a:lnTo>
                  <a:lnTo>
                    <a:pt x="2103270" y="248978"/>
                  </a:lnTo>
                  <a:lnTo>
                    <a:pt x="2093957" y="212034"/>
                  </a:lnTo>
                  <a:lnTo>
                    <a:pt x="2090852" y="212034"/>
                  </a:lnTo>
                  <a:lnTo>
                    <a:pt x="2090852" y="206757"/>
                  </a:lnTo>
                  <a:lnTo>
                    <a:pt x="2070984" y="208930"/>
                  </a:lnTo>
                  <a:lnTo>
                    <a:pt x="2058566" y="214208"/>
                  </a:lnTo>
                  <a:lnTo>
                    <a:pt x="2047079" y="223831"/>
                  </a:lnTo>
                  <a:lnTo>
                    <a:pt x="2036524" y="218554"/>
                  </a:lnTo>
                  <a:lnTo>
                    <a:pt x="2025038" y="212345"/>
                  </a:lnTo>
                  <a:lnTo>
                    <a:pt x="2014482" y="207067"/>
                  </a:lnTo>
                  <a:lnTo>
                    <a:pt x="2012310" y="209240"/>
                  </a:lnTo>
                  <a:lnTo>
                    <a:pt x="2012310" y="211414"/>
                  </a:lnTo>
                  <a:lnTo>
                    <a:pt x="2010136" y="211414"/>
                  </a:lnTo>
                  <a:lnTo>
                    <a:pt x="2007032" y="212345"/>
                  </a:lnTo>
                  <a:lnTo>
                    <a:pt x="2007032" y="218554"/>
                  </a:lnTo>
                  <a:lnTo>
                    <a:pt x="2007032" y="223831"/>
                  </a:lnTo>
                  <a:lnTo>
                    <a:pt x="2007032" y="226936"/>
                  </a:lnTo>
                  <a:lnTo>
                    <a:pt x="2007032" y="229109"/>
                  </a:lnTo>
                  <a:lnTo>
                    <a:pt x="2007032" y="232213"/>
                  </a:lnTo>
                  <a:lnTo>
                    <a:pt x="2002996" y="243700"/>
                  </a:lnTo>
                  <a:lnTo>
                    <a:pt x="1950841" y="239354"/>
                  </a:lnTo>
                  <a:lnTo>
                    <a:pt x="1948668" y="234076"/>
                  </a:lnTo>
                  <a:lnTo>
                    <a:pt x="1948668" y="228799"/>
                  </a:lnTo>
                  <a:lnTo>
                    <a:pt x="1946495" y="223521"/>
                  </a:lnTo>
                  <a:lnTo>
                    <a:pt x="1946495" y="218243"/>
                  </a:lnTo>
                  <a:lnTo>
                    <a:pt x="1946495" y="216070"/>
                  </a:lnTo>
                  <a:lnTo>
                    <a:pt x="1934077" y="206446"/>
                  </a:lnTo>
                  <a:lnTo>
                    <a:pt x="1921659" y="204273"/>
                  </a:lnTo>
                  <a:lnTo>
                    <a:pt x="1904895" y="204273"/>
                  </a:lnTo>
                  <a:lnTo>
                    <a:pt x="1887200" y="206446"/>
                  </a:lnTo>
                  <a:lnTo>
                    <a:pt x="1887200" y="219175"/>
                  </a:lnTo>
                  <a:lnTo>
                    <a:pt x="1877886" y="219175"/>
                  </a:lnTo>
                  <a:lnTo>
                    <a:pt x="1877886" y="218243"/>
                  </a:lnTo>
                  <a:lnTo>
                    <a:pt x="1875713" y="218243"/>
                  </a:lnTo>
                  <a:lnTo>
                    <a:pt x="1873540" y="216070"/>
                  </a:lnTo>
                  <a:lnTo>
                    <a:pt x="1875713" y="206446"/>
                  </a:lnTo>
                  <a:lnTo>
                    <a:pt x="1877886" y="198996"/>
                  </a:lnTo>
                  <a:lnTo>
                    <a:pt x="1880060" y="193718"/>
                  </a:lnTo>
                  <a:lnTo>
                    <a:pt x="1883164" y="188441"/>
                  </a:lnTo>
                  <a:lnTo>
                    <a:pt x="1883164" y="182232"/>
                  </a:lnTo>
                  <a:lnTo>
                    <a:pt x="1873851" y="186578"/>
                  </a:lnTo>
                  <a:lnTo>
                    <a:pt x="1866710" y="191856"/>
                  </a:lnTo>
                  <a:lnTo>
                    <a:pt x="1859570" y="197133"/>
                  </a:lnTo>
                  <a:lnTo>
                    <a:pt x="1854293" y="203342"/>
                  </a:lnTo>
                  <a:lnTo>
                    <a:pt x="1851188" y="201169"/>
                  </a:lnTo>
                  <a:lnTo>
                    <a:pt x="1849015" y="201169"/>
                  </a:lnTo>
                  <a:lnTo>
                    <a:pt x="1849015" y="198996"/>
                  </a:lnTo>
                  <a:lnTo>
                    <a:pt x="1849015" y="196823"/>
                  </a:lnTo>
                  <a:lnTo>
                    <a:pt x="1849015" y="195891"/>
                  </a:lnTo>
                  <a:lnTo>
                    <a:pt x="1851188" y="191545"/>
                  </a:lnTo>
                  <a:lnTo>
                    <a:pt x="1851188" y="188441"/>
                  </a:lnTo>
                  <a:lnTo>
                    <a:pt x="1834424" y="186267"/>
                  </a:lnTo>
                  <a:lnTo>
                    <a:pt x="1819833" y="188441"/>
                  </a:lnTo>
                  <a:lnTo>
                    <a:pt x="1807415" y="195891"/>
                  </a:lnTo>
                  <a:lnTo>
                    <a:pt x="1803379" y="195891"/>
                  </a:lnTo>
                  <a:lnTo>
                    <a:pt x="1815797" y="180990"/>
                  </a:lnTo>
                  <a:lnTo>
                    <a:pt x="1832561" y="169503"/>
                  </a:lnTo>
                  <a:lnTo>
                    <a:pt x="1849325" y="159880"/>
                  </a:lnTo>
                  <a:lnTo>
                    <a:pt x="1863916" y="151498"/>
                  </a:lnTo>
                  <a:lnTo>
                    <a:pt x="1869194" y="141874"/>
                  </a:lnTo>
                  <a:lnTo>
                    <a:pt x="1873230" y="132250"/>
                  </a:lnTo>
                  <a:lnTo>
                    <a:pt x="1878507" y="123868"/>
                  </a:lnTo>
                  <a:lnTo>
                    <a:pt x="1890925" y="114244"/>
                  </a:lnTo>
                  <a:lnTo>
                    <a:pt x="1890925" y="90029"/>
                  </a:lnTo>
                  <a:lnTo>
                    <a:pt x="1881612" y="77301"/>
                  </a:lnTo>
                  <a:lnTo>
                    <a:pt x="1873230" y="65815"/>
                  </a:lnTo>
                  <a:lnTo>
                    <a:pt x="1861743" y="57432"/>
                  </a:lnTo>
                  <a:lnTo>
                    <a:pt x="1847152" y="49982"/>
                  </a:lnTo>
                  <a:lnTo>
                    <a:pt x="1847152" y="47809"/>
                  </a:lnTo>
                  <a:lnTo>
                    <a:pt x="1847152" y="45636"/>
                  </a:lnTo>
                  <a:lnTo>
                    <a:pt x="1844979" y="43462"/>
                  </a:lnTo>
                  <a:lnTo>
                    <a:pt x="1844048" y="45636"/>
                  </a:lnTo>
                  <a:lnTo>
                    <a:pt x="1827284" y="50913"/>
                  </a:lnTo>
                  <a:lnTo>
                    <a:pt x="1812693" y="53086"/>
                  </a:lnTo>
                  <a:lnTo>
                    <a:pt x="1800275" y="55259"/>
                  </a:lnTo>
                  <a:lnTo>
                    <a:pt x="1787857" y="60537"/>
                  </a:lnTo>
                  <a:lnTo>
                    <a:pt x="1780717" y="50913"/>
                  </a:lnTo>
                  <a:lnTo>
                    <a:pt x="1773577" y="43462"/>
                  </a:lnTo>
                  <a:lnTo>
                    <a:pt x="1766436" y="40358"/>
                  </a:lnTo>
                  <a:lnTo>
                    <a:pt x="1751845" y="36012"/>
                  </a:lnTo>
                  <a:lnTo>
                    <a:pt x="1752777" y="30734"/>
                  </a:lnTo>
                  <a:lnTo>
                    <a:pt x="1754950" y="28561"/>
                  </a:lnTo>
                  <a:lnTo>
                    <a:pt x="1757123" y="25457"/>
                  </a:lnTo>
                  <a:lnTo>
                    <a:pt x="1760227" y="23283"/>
                  </a:lnTo>
                  <a:lnTo>
                    <a:pt x="1762401" y="22352"/>
                  </a:lnTo>
                  <a:lnTo>
                    <a:pt x="1767678" y="20179"/>
                  </a:lnTo>
                  <a:lnTo>
                    <a:pt x="1766747" y="14901"/>
                  </a:lnTo>
                  <a:lnTo>
                    <a:pt x="1762711" y="10555"/>
                  </a:lnTo>
                  <a:lnTo>
                    <a:pt x="1760538" y="7451"/>
                  </a:lnTo>
                  <a:lnTo>
                    <a:pt x="1759607" y="5278"/>
                  </a:lnTo>
                  <a:lnTo>
                    <a:pt x="1755571" y="0"/>
                  </a:lnTo>
                  <a:lnTo>
                    <a:pt x="1735702" y="0"/>
                  </a:lnTo>
                  <a:lnTo>
                    <a:pt x="1731666" y="18006"/>
                  </a:lnTo>
                  <a:lnTo>
                    <a:pt x="1721111" y="28561"/>
                  </a:lnTo>
                  <a:lnTo>
                    <a:pt x="1708693" y="38185"/>
                  </a:lnTo>
                  <a:lnTo>
                    <a:pt x="1695034" y="45636"/>
                  </a:lnTo>
                  <a:lnTo>
                    <a:pt x="1679511" y="53086"/>
                  </a:lnTo>
                  <a:lnTo>
                    <a:pt x="1679511" y="73265"/>
                  </a:lnTo>
                  <a:lnTo>
                    <a:pt x="1674234" y="73265"/>
                  </a:lnTo>
                  <a:lnTo>
                    <a:pt x="1668025" y="72334"/>
                  </a:lnTo>
                  <a:lnTo>
                    <a:pt x="1664921" y="72334"/>
                  </a:lnTo>
                  <a:lnTo>
                    <a:pt x="1659643" y="70161"/>
                  </a:lnTo>
                  <a:lnTo>
                    <a:pt x="1653434" y="75438"/>
                  </a:lnTo>
                  <a:lnTo>
                    <a:pt x="1646294" y="82889"/>
                  </a:lnTo>
                  <a:lnTo>
                    <a:pt x="1639153" y="88167"/>
                  </a:lnTo>
                  <a:lnTo>
                    <a:pt x="1632013" y="94376"/>
                  </a:lnTo>
                  <a:lnTo>
                    <a:pt x="1626736" y="94376"/>
                  </a:lnTo>
                  <a:lnTo>
                    <a:pt x="1616181" y="94376"/>
                  </a:lnTo>
                  <a:lnTo>
                    <a:pt x="1601590" y="94376"/>
                  </a:lnTo>
                  <a:lnTo>
                    <a:pt x="1586999" y="94376"/>
                  </a:lnTo>
                  <a:lnTo>
                    <a:pt x="1575512" y="94376"/>
                  </a:lnTo>
                  <a:lnTo>
                    <a:pt x="1572408" y="99653"/>
                  </a:lnTo>
                  <a:lnTo>
                    <a:pt x="1570235" y="104931"/>
                  </a:lnTo>
                  <a:lnTo>
                    <a:pt x="1567130" y="110208"/>
                  </a:lnTo>
                  <a:lnTo>
                    <a:pt x="1564957" y="117659"/>
                  </a:lnTo>
                  <a:lnTo>
                    <a:pt x="1543226" y="117659"/>
                  </a:lnTo>
                  <a:lnTo>
                    <a:pt x="1526462" y="123868"/>
                  </a:lnTo>
                  <a:lnTo>
                    <a:pt x="1511871" y="130077"/>
                  </a:lnTo>
                  <a:lnTo>
                    <a:pt x="1497280" y="141563"/>
                  </a:lnTo>
                  <a:lnTo>
                    <a:pt x="1484862" y="152118"/>
                  </a:lnTo>
                  <a:lnTo>
                    <a:pt x="1468098" y="161742"/>
                  </a:lnTo>
                  <a:lnTo>
                    <a:pt x="1462821" y="180679"/>
                  </a:lnTo>
                  <a:lnTo>
                    <a:pt x="1459716" y="198685"/>
                  </a:lnTo>
                  <a:lnTo>
                    <a:pt x="1455680" y="215760"/>
                  </a:lnTo>
                  <a:lnTo>
                    <a:pt x="1452576" y="215760"/>
                  </a:lnTo>
                  <a:lnTo>
                    <a:pt x="1445436" y="198685"/>
                  </a:lnTo>
                  <a:lnTo>
                    <a:pt x="1419358" y="203963"/>
                  </a:lnTo>
                  <a:lnTo>
                    <a:pt x="1395454" y="211414"/>
                  </a:lnTo>
                  <a:lnTo>
                    <a:pt x="1399490" y="233766"/>
                  </a:lnTo>
                  <a:lnTo>
                    <a:pt x="1404767" y="253945"/>
                  </a:lnTo>
                  <a:lnTo>
                    <a:pt x="1410045" y="275055"/>
                  </a:lnTo>
                  <a:lnTo>
                    <a:pt x="1419358" y="290888"/>
                  </a:lnTo>
                  <a:lnTo>
                    <a:pt x="1431776" y="304547"/>
                  </a:lnTo>
                  <a:lnTo>
                    <a:pt x="1431776" y="312929"/>
                  </a:lnTo>
                  <a:lnTo>
                    <a:pt x="1416254" y="302374"/>
                  </a:lnTo>
                  <a:lnTo>
                    <a:pt x="1399490" y="287473"/>
                  </a:lnTo>
                  <a:lnTo>
                    <a:pt x="1388934" y="272571"/>
                  </a:lnTo>
                  <a:lnTo>
                    <a:pt x="1368135" y="272571"/>
                  </a:lnTo>
                  <a:lnTo>
                    <a:pt x="1352612" y="275676"/>
                  </a:lnTo>
                  <a:lnTo>
                    <a:pt x="1338953" y="283127"/>
                  </a:lnTo>
                  <a:lnTo>
                    <a:pt x="1331812" y="274745"/>
                  </a:lnTo>
                  <a:lnTo>
                    <a:pt x="1328708" y="263258"/>
                  </a:lnTo>
                  <a:lnTo>
                    <a:pt x="1324672" y="252703"/>
                  </a:lnTo>
                  <a:lnTo>
                    <a:pt x="1321568" y="250530"/>
                  </a:lnTo>
                  <a:lnTo>
                    <a:pt x="1321568" y="249909"/>
                  </a:lnTo>
                  <a:lnTo>
                    <a:pt x="1319394" y="249909"/>
                  </a:lnTo>
                  <a:lnTo>
                    <a:pt x="1316290" y="249909"/>
                  </a:lnTo>
                  <a:lnTo>
                    <a:pt x="1312254" y="249909"/>
                  </a:lnTo>
                  <a:lnTo>
                    <a:pt x="1312254" y="284679"/>
                  </a:lnTo>
                  <a:lnTo>
                    <a:pt x="1289281" y="305789"/>
                  </a:lnTo>
                  <a:lnTo>
                    <a:pt x="1294559" y="320691"/>
                  </a:lnTo>
                  <a:lnTo>
                    <a:pt x="1299837" y="331246"/>
                  </a:lnTo>
                  <a:lnTo>
                    <a:pt x="1305114" y="343974"/>
                  </a:lnTo>
                  <a:lnTo>
                    <a:pt x="1309150" y="362911"/>
                  </a:lnTo>
                  <a:lnTo>
                    <a:pt x="1329018" y="370362"/>
                  </a:lnTo>
                  <a:lnTo>
                    <a:pt x="1350750" y="378744"/>
                  </a:lnTo>
                  <a:lnTo>
                    <a:pt x="1368445" y="386195"/>
                  </a:lnTo>
                  <a:lnTo>
                    <a:pt x="1368445" y="392403"/>
                  </a:lnTo>
                  <a:lnTo>
                    <a:pt x="1350750" y="386195"/>
                  </a:lnTo>
                  <a:lnTo>
                    <a:pt x="1332123" y="386195"/>
                  </a:lnTo>
                  <a:lnTo>
                    <a:pt x="1312254" y="386195"/>
                  </a:lnTo>
                  <a:lnTo>
                    <a:pt x="1314427" y="401096"/>
                  </a:lnTo>
                  <a:lnTo>
                    <a:pt x="1316601" y="418170"/>
                  </a:lnTo>
                  <a:lnTo>
                    <a:pt x="1319705" y="435245"/>
                  </a:lnTo>
                  <a:lnTo>
                    <a:pt x="1316601" y="453251"/>
                  </a:lnTo>
                  <a:lnTo>
                    <a:pt x="1310392" y="464737"/>
                  </a:lnTo>
                  <a:lnTo>
                    <a:pt x="1303251" y="479639"/>
                  </a:lnTo>
                  <a:lnTo>
                    <a:pt x="1296111" y="492367"/>
                  </a:lnTo>
                  <a:lnTo>
                    <a:pt x="1293006" y="494540"/>
                  </a:lnTo>
                  <a:lnTo>
                    <a:pt x="1290833" y="495472"/>
                  </a:lnTo>
                  <a:lnTo>
                    <a:pt x="1289902" y="497645"/>
                  </a:lnTo>
                  <a:lnTo>
                    <a:pt x="1269102" y="497645"/>
                  </a:lnTo>
                  <a:lnTo>
                    <a:pt x="1269102" y="492057"/>
                  </a:lnTo>
                  <a:lnTo>
                    <a:pt x="1276243" y="489883"/>
                  </a:lnTo>
                  <a:lnTo>
                    <a:pt x="1282452" y="486779"/>
                  </a:lnTo>
                  <a:lnTo>
                    <a:pt x="1287729" y="484606"/>
                  </a:lnTo>
                  <a:lnTo>
                    <a:pt x="1290833" y="480260"/>
                  </a:lnTo>
                  <a:lnTo>
                    <a:pt x="1296111" y="477155"/>
                  </a:lnTo>
                  <a:lnTo>
                    <a:pt x="1296111" y="460081"/>
                  </a:lnTo>
                  <a:lnTo>
                    <a:pt x="1300147" y="447352"/>
                  </a:lnTo>
                  <a:lnTo>
                    <a:pt x="1305424" y="435866"/>
                  </a:lnTo>
                  <a:lnTo>
                    <a:pt x="1302320" y="429657"/>
                  </a:lnTo>
                  <a:lnTo>
                    <a:pt x="1300147" y="423448"/>
                  </a:lnTo>
                  <a:lnTo>
                    <a:pt x="1296111" y="420344"/>
                  </a:lnTo>
                  <a:lnTo>
                    <a:pt x="1293006" y="415997"/>
                  </a:lnTo>
                  <a:lnTo>
                    <a:pt x="1290833" y="412893"/>
                  </a:lnTo>
                  <a:lnTo>
                    <a:pt x="1289902" y="407615"/>
                  </a:lnTo>
                  <a:lnTo>
                    <a:pt x="1289902" y="400165"/>
                  </a:lnTo>
                  <a:lnTo>
                    <a:pt x="1293006" y="390541"/>
                  </a:lnTo>
                  <a:lnTo>
                    <a:pt x="1296111" y="379054"/>
                  </a:lnTo>
                  <a:lnTo>
                    <a:pt x="1296111" y="366326"/>
                  </a:lnTo>
                  <a:lnTo>
                    <a:pt x="1293006" y="355771"/>
                  </a:lnTo>
                  <a:lnTo>
                    <a:pt x="1289902" y="340870"/>
                  </a:lnTo>
                  <a:lnTo>
                    <a:pt x="1283693" y="328141"/>
                  </a:lnTo>
                  <a:lnTo>
                    <a:pt x="1280589" y="318517"/>
                  </a:lnTo>
                  <a:lnTo>
                    <a:pt x="1282762" y="311067"/>
                  </a:lnTo>
                  <a:lnTo>
                    <a:pt x="1283693" y="299580"/>
                  </a:lnTo>
                  <a:lnTo>
                    <a:pt x="1287729" y="286852"/>
                  </a:lnTo>
                  <a:lnTo>
                    <a:pt x="1290833" y="271951"/>
                  </a:lnTo>
                  <a:lnTo>
                    <a:pt x="1293006" y="257049"/>
                  </a:lnTo>
                  <a:lnTo>
                    <a:pt x="1285866" y="249598"/>
                  </a:lnTo>
                  <a:lnTo>
                    <a:pt x="1280589" y="239975"/>
                  </a:lnTo>
                  <a:lnTo>
                    <a:pt x="1260720" y="239043"/>
                  </a:lnTo>
                  <a:lnTo>
                    <a:pt x="1243956" y="239975"/>
                  </a:lnTo>
                  <a:lnTo>
                    <a:pt x="1234643" y="246184"/>
                  </a:lnTo>
                  <a:lnTo>
                    <a:pt x="1227502" y="254566"/>
                  </a:lnTo>
                  <a:lnTo>
                    <a:pt x="1222225" y="266052"/>
                  </a:lnTo>
                  <a:lnTo>
                    <a:pt x="1218189" y="276607"/>
                  </a:lnTo>
                  <a:lnTo>
                    <a:pt x="1215085" y="290267"/>
                  </a:lnTo>
                  <a:lnTo>
                    <a:pt x="1211049" y="300822"/>
                  </a:lnTo>
                  <a:lnTo>
                    <a:pt x="1203909" y="310446"/>
                  </a:lnTo>
                  <a:lnTo>
                    <a:pt x="1193353" y="317896"/>
                  </a:lnTo>
                  <a:lnTo>
                    <a:pt x="1196458" y="338075"/>
                  </a:lnTo>
                  <a:lnTo>
                    <a:pt x="1198631" y="352977"/>
                  </a:lnTo>
                  <a:lnTo>
                    <a:pt x="1202667" y="370051"/>
                  </a:lnTo>
                  <a:lnTo>
                    <a:pt x="1200494" y="392403"/>
                  </a:lnTo>
                  <a:lnTo>
                    <a:pt x="1217258" y="392403"/>
                  </a:lnTo>
                  <a:lnTo>
                    <a:pt x="1218189" y="399854"/>
                  </a:lnTo>
                  <a:lnTo>
                    <a:pt x="1222225" y="405132"/>
                  </a:lnTo>
                  <a:lnTo>
                    <a:pt x="1224398" y="410409"/>
                  </a:lnTo>
                  <a:lnTo>
                    <a:pt x="1227502" y="414756"/>
                  </a:lnTo>
                  <a:lnTo>
                    <a:pt x="1232780" y="420033"/>
                  </a:lnTo>
                  <a:lnTo>
                    <a:pt x="1231849" y="423138"/>
                  </a:lnTo>
                  <a:lnTo>
                    <a:pt x="1231849" y="425311"/>
                  </a:lnTo>
                  <a:lnTo>
                    <a:pt x="1229676" y="427484"/>
                  </a:lnTo>
                  <a:lnTo>
                    <a:pt x="1220362" y="423138"/>
                  </a:lnTo>
                  <a:lnTo>
                    <a:pt x="1205771" y="415687"/>
                  </a:lnTo>
                  <a:lnTo>
                    <a:pt x="1190249" y="402959"/>
                  </a:lnTo>
                  <a:lnTo>
                    <a:pt x="1171622" y="390230"/>
                  </a:lnTo>
                  <a:lnTo>
                    <a:pt x="1159204" y="377502"/>
                  </a:lnTo>
                  <a:lnTo>
                    <a:pt x="1149891" y="366016"/>
                  </a:lnTo>
                  <a:lnTo>
                    <a:pt x="1142751" y="366016"/>
                  </a:lnTo>
                  <a:lnTo>
                    <a:pt x="1135611" y="366016"/>
                  </a:lnTo>
                  <a:lnTo>
                    <a:pt x="1130333" y="363842"/>
                  </a:lnTo>
                  <a:lnTo>
                    <a:pt x="1126297" y="362911"/>
                  </a:lnTo>
                  <a:lnTo>
                    <a:pt x="1119157" y="366016"/>
                  </a:lnTo>
                  <a:lnTo>
                    <a:pt x="1116052" y="368189"/>
                  </a:lnTo>
                  <a:lnTo>
                    <a:pt x="1112017" y="371293"/>
                  </a:lnTo>
                  <a:lnTo>
                    <a:pt x="1106739" y="375639"/>
                  </a:lnTo>
                  <a:lnTo>
                    <a:pt x="1106739" y="383090"/>
                  </a:lnTo>
                  <a:lnTo>
                    <a:pt x="1106739" y="388368"/>
                  </a:lnTo>
                  <a:lnTo>
                    <a:pt x="1108912" y="392714"/>
                  </a:lnTo>
                  <a:lnTo>
                    <a:pt x="1111085" y="395818"/>
                  </a:lnTo>
                  <a:lnTo>
                    <a:pt x="1114190" y="400165"/>
                  </a:lnTo>
                  <a:lnTo>
                    <a:pt x="1114190" y="405442"/>
                  </a:lnTo>
                  <a:lnTo>
                    <a:pt x="1112017" y="410720"/>
                  </a:lnTo>
                  <a:lnTo>
                    <a:pt x="1112017" y="415066"/>
                  </a:lnTo>
                  <a:lnTo>
                    <a:pt x="1111085" y="415997"/>
                  </a:lnTo>
                  <a:lnTo>
                    <a:pt x="1108912" y="420344"/>
                  </a:lnTo>
                  <a:lnTo>
                    <a:pt x="1106739" y="423448"/>
                  </a:lnTo>
                  <a:lnTo>
                    <a:pt x="1099599" y="422517"/>
                  </a:lnTo>
                  <a:lnTo>
                    <a:pt x="1096495" y="422517"/>
                  </a:lnTo>
                  <a:lnTo>
                    <a:pt x="1094321" y="420344"/>
                  </a:lnTo>
                  <a:lnTo>
                    <a:pt x="1092148" y="418170"/>
                  </a:lnTo>
                  <a:lnTo>
                    <a:pt x="1089044" y="415066"/>
                  </a:lnTo>
                  <a:lnTo>
                    <a:pt x="1086871" y="412893"/>
                  </a:lnTo>
                  <a:lnTo>
                    <a:pt x="1083766" y="412893"/>
                  </a:lnTo>
                  <a:lnTo>
                    <a:pt x="1072280" y="415997"/>
                  </a:lnTo>
                  <a:lnTo>
                    <a:pt x="1061724" y="420344"/>
                  </a:lnTo>
                  <a:lnTo>
                    <a:pt x="1048065" y="425621"/>
                  </a:lnTo>
                  <a:lnTo>
                    <a:pt x="1035647" y="430899"/>
                  </a:lnTo>
                  <a:lnTo>
                    <a:pt x="1030369" y="436176"/>
                  </a:lnTo>
                  <a:lnTo>
                    <a:pt x="1021056" y="436176"/>
                  </a:lnTo>
                  <a:lnTo>
                    <a:pt x="1028196" y="425621"/>
                  </a:lnTo>
                  <a:lnTo>
                    <a:pt x="1035336" y="420344"/>
                  </a:lnTo>
                  <a:lnTo>
                    <a:pt x="1044650" y="415066"/>
                  </a:lnTo>
                  <a:lnTo>
                    <a:pt x="1053963" y="407615"/>
                  </a:lnTo>
                  <a:lnTo>
                    <a:pt x="1040304" y="403269"/>
                  </a:lnTo>
                  <a:lnTo>
                    <a:pt x="1025713" y="400165"/>
                  </a:lnTo>
                  <a:lnTo>
                    <a:pt x="1010190" y="400165"/>
                  </a:lnTo>
                  <a:lnTo>
                    <a:pt x="1008017" y="407615"/>
                  </a:lnTo>
                  <a:lnTo>
                    <a:pt x="1008017" y="412893"/>
                  </a:lnTo>
                  <a:lnTo>
                    <a:pt x="1005844" y="415997"/>
                  </a:lnTo>
                  <a:lnTo>
                    <a:pt x="1003671" y="420344"/>
                  </a:lnTo>
                  <a:lnTo>
                    <a:pt x="1000567" y="423448"/>
                  </a:lnTo>
                  <a:lnTo>
                    <a:pt x="1000567" y="427794"/>
                  </a:lnTo>
                  <a:lnTo>
                    <a:pt x="996531" y="425621"/>
                  </a:lnTo>
                  <a:lnTo>
                    <a:pt x="995600" y="422517"/>
                  </a:lnTo>
                  <a:lnTo>
                    <a:pt x="993426" y="420344"/>
                  </a:lnTo>
                  <a:lnTo>
                    <a:pt x="991253" y="415997"/>
                  </a:lnTo>
                  <a:lnTo>
                    <a:pt x="990322" y="412893"/>
                  </a:lnTo>
                  <a:lnTo>
                    <a:pt x="986286" y="410720"/>
                  </a:lnTo>
                  <a:lnTo>
                    <a:pt x="983182" y="408547"/>
                  </a:lnTo>
                  <a:lnTo>
                    <a:pt x="981009" y="410720"/>
                  </a:lnTo>
                  <a:lnTo>
                    <a:pt x="975731" y="410720"/>
                  </a:lnTo>
                  <a:lnTo>
                    <a:pt x="969522" y="412893"/>
                  </a:lnTo>
                  <a:lnTo>
                    <a:pt x="957104" y="429967"/>
                  </a:lnTo>
                  <a:lnTo>
                    <a:pt x="942513" y="443627"/>
                  </a:lnTo>
                  <a:lnTo>
                    <a:pt x="930095" y="460702"/>
                  </a:lnTo>
                  <a:lnTo>
                    <a:pt x="932269" y="465979"/>
                  </a:lnTo>
                  <a:lnTo>
                    <a:pt x="932269" y="470325"/>
                  </a:lnTo>
                  <a:lnTo>
                    <a:pt x="932269" y="475603"/>
                  </a:lnTo>
                  <a:lnTo>
                    <a:pt x="932269" y="479949"/>
                  </a:lnTo>
                  <a:lnTo>
                    <a:pt x="930095" y="485227"/>
                  </a:lnTo>
                  <a:lnTo>
                    <a:pt x="926060" y="487400"/>
                  </a:lnTo>
                  <a:lnTo>
                    <a:pt x="925128" y="487400"/>
                  </a:lnTo>
                  <a:lnTo>
                    <a:pt x="922955" y="488331"/>
                  </a:lnTo>
                  <a:lnTo>
                    <a:pt x="920782" y="488331"/>
                  </a:lnTo>
                  <a:lnTo>
                    <a:pt x="915504" y="488331"/>
                  </a:lnTo>
                  <a:lnTo>
                    <a:pt x="911469" y="487400"/>
                  </a:lnTo>
                  <a:lnTo>
                    <a:pt x="908364" y="485227"/>
                  </a:lnTo>
                  <a:lnTo>
                    <a:pt x="906191" y="483054"/>
                  </a:lnTo>
                  <a:lnTo>
                    <a:pt x="900914" y="480881"/>
                  </a:lnTo>
                  <a:lnTo>
                    <a:pt x="900914" y="460702"/>
                  </a:lnTo>
                  <a:lnTo>
                    <a:pt x="908054" y="460702"/>
                  </a:lnTo>
                  <a:lnTo>
                    <a:pt x="911158" y="458528"/>
                  </a:lnTo>
                  <a:lnTo>
                    <a:pt x="913331" y="458528"/>
                  </a:lnTo>
                  <a:lnTo>
                    <a:pt x="917367" y="457597"/>
                  </a:lnTo>
                  <a:lnTo>
                    <a:pt x="917367" y="447973"/>
                  </a:lnTo>
                  <a:lnTo>
                    <a:pt x="911158" y="438349"/>
                  </a:lnTo>
                  <a:lnTo>
                    <a:pt x="904018" y="427794"/>
                  </a:lnTo>
                  <a:lnTo>
                    <a:pt x="896878" y="420344"/>
                  </a:lnTo>
                  <a:lnTo>
                    <a:pt x="866765" y="420344"/>
                  </a:lnTo>
                  <a:lnTo>
                    <a:pt x="873905" y="464737"/>
                  </a:lnTo>
                  <a:lnTo>
                    <a:pt x="877009" y="504785"/>
                  </a:lnTo>
                  <a:lnTo>
                    <a:pt x="869869" y="502612"/>
                  </a:lnTo>
                  <a:lnTo>
                    <a:pt x="862729" y="501680"/>
                  </a:lnTo>
                  <a:lnTo>
                    <a:pt x="855588" y="499507"/>
                  </a:lnTo>
                  <a:lnTo>
                    <a:pt x="850311" y="497334"/>
                  </a:lnTo>
                  <a:lnTo>
                    <a:pt x="840997" y="510062"/>
                  </a:lnTo>
                  <a:lnTo>
                    <a:pt x="830442" y="521549"/>
                  </a:lnTo>
                  <a:lnTo>
                    <a:pt x="813678" y="529000"/>
                  </a:lnTo>
                  <a:lnTo>
                    <a:pt x="815851" y="534277"/>
                  </a:lnTo>
                  <a:lnTo>
                    <a:pt x="815851" y="537382"/>
                  </a:lnTo>
                  <a:lnTo>
                    <a:pt x="815851" y="539555"/>
                  </a:lnTo>
                  <a:lnTo>
                    <a:pt x="818025" y="541728"/>
                  </a:lnTo>
                  <a:lnTo>
                    <a:pt x="818956" y="543901"/>
                  </a:lnTo>
                  <a:lnTo>
                    <a:pt x="821129" y="544832"/>
                  </a:lnTo>
                  <a:lnTo>
                    <a:pt x="821129" y="551041"/>
                  </a:lnTo>
                  <a:lnTo>
                    <a:pt x="818956" y="556319"/>
                  </a:lnTo>
                  <a:lnTo>
                    <a:pt x="818025" y="558492"/>
                  </a:lnTo>
                  <a:lnTo>
                    <a:pt x="815851" y="561596"/>
                  </a:lnTo>
                  <a:lnTo>
                    <a:pt x="813678" y="565943"/>
                  </a:lnTo>
                  <a:lnTo>
                    <a:pt x="799087" y="559734"/>
                  </a:lnTo>
                  <a:lnTo>
                    <a:pt x="786669" y="552283"/>
                  </a:lnTo>
                  <a:lnTo>
                    <a:pt x="774252" y="544832"/>
                  </a:lnTo>
                  <a:lnTo>
                    <a:pt x="774252" y="549179"/>
                  </a:lnTo>
                  <a:lnTo>
                    <a:pt x="767732" y="549179"/>
                  </a:lnTo>
                  <a:lnTo>
                    <a:pt x="767732" y="559734"/>
                  </a:lnTo>
                  <a:lnTo>
                    <a:pt x="769906" y="569358"/>
                  </a:lnTo>
                  <a:lnTo>
                    <a:pt x="772079" y="582086"/>
                  </a:lnTo>
                  <a:lnTo>
                    <a:pt x="764938" y="581155"/>
                  </a:lnTo>
                  <a:lnTo>
                    <a:pt x="760903" y="576808"/>
                  </a:lnTo>
                  <a:lnTo>
                    <a:pt x="755625" y="574635"/>
                  </a:lnTo>
                  <a:lnTo>
                    <a:pt x="752520" y="569358"/>
                  </a:lnTo>
                  <a:lnTo>
                    <a:pt x="748485" y="559734"/>
                  </a:lnTo>
                  <a:lnTo>
                    <a:pt x="745380" y="544832"/>
                  </a:lnTo>
                  <a:lnTo>
                    <a:pt x="743207" y="526827"/>
                  </a:lnTo>
                  <a:lnTo>
                    <a:pt x="741034" y="509752"/>
                  </a:lnTo>
                  <a:lnTo>
                    <a:pt x="738861" y="497024"/>
                  </a:lnTo>
                  <a:lnTo>
                    <a:pt x="753452" y="502301"/>
                  </a:lnTo>
                  <a:lnTo>
                    <a:pt x="768043" y="509752"/>
                  </a:lnTo>
                  <a:lnTo>
                    <a:pt x="784807" y="517203"/>
                  </a:lnTo>
                  <a:lnTo>
                    <a:pt x="802502" y="517203"/>
                  </a:lnTo>
                  <a:lnTo>
                    <a:pt x="819266" y="508821"/>
                  </a:lnTo>
                  <a:lnTo>
                    <a:pt x="831684" y="495161"/>
                  </a:lnTo>
                  <a:lnTo>
                    <a:pt x="833857" y="479328"/>
                  </a:lnTo>
                  <a:lnTo>
                    <a:pt x="830753" y="462254"/>
                  </a:lnTo>
                  <a:lnTo>
                    <a:pt x="819266" y="445179"/>
                  </a:lnTo>
                  <a:lnTo>
                    <a:pt x="806848" y="429347"/>
                  </a:lnTo>
                  <a:lnTo>
                    <a:pt x="792258" y="414445"/>
                  </a:lnTo>
                  <a:lnTo>
                    <a:pt x="777667" y="402959"/>
                  </a:lnTo>
                  <a:lnTo>
                    <a:pt x="765249" y="395508"/>
                  </a:lnTo>
                  <a:lnTo>
                    <a:pt x="732031" y="392403"/>
                  </a:lnTo>
                  <a:lnTo>
                    <a:pt x="726753" y="386195"/>
                  </a:lnTo>
                  <a:lnTo>
                    <a:pt x="721476" y="380917"/>
                  </a:lnTo>
                  <a:lnTo>
                    <a:pt x="719303" y="375639"/>
                  </a:lnTo>
                  <a:lnTo>
                    <a:pt x="717130" y="371293"/>
                  </a:lnTo>
                  <a:lnTo>
                    <a:pt x="711852" y="371293"/>
                  </a:lnTo>
                  <a:lnTo>
                    <a:pt x="704712" y="373466"/>
                  </a:lnTo>
                  <a:lnTo>
                    <a:pt x="692294" y="378744"/>
                  </a:lnTo>
                  <a:lnTo>
                    <a:pt x="690121" y="375639"/>
                  </a:lnTo>
                  <a:lnTo>
                    <a:pt x="689190" y="373466"/>
                  </a:lnTo>
                  <a:lnTo>
                    <a:pt x="687016" y="373466"/>
                  </a:lnTo>
                  <a:lnTo>
                    <a:pt x="684843" y="370362"/>
                  </a:lnTo>
                  <a:lnTo>
                    <a:pt x="684843" y="366016"/>
                  </a:lnTo>
                  <a:lnTo>
                    <a:pt x="687016" y="363842"/>
                  </a:lnTo>
                  <a:lnTo>
                    <a:pt x="687016" y="362911"/>
                  </a:lnTo>
                  <a:lnTo>
                    <a:pt x="689190" y="362911"/>
                  </a:lnTo>
                  <a:lnTo>
                    <a:pt x="690121" y="360738"/>
                  </a:lnTo>
                  <a:lnTo>
                    <a:pt x="692294" y="358565"/>
                  </a:lnTo>
                  <a:lnTo>
                    <a:pt x="689190" y="343664"/>
                  </a:lnTo>
                  <a:lnTo>
                    <a:pt x="682981" y="336213"/>
                  </a:lnTo>
                  <a:lnTo>
                    <a:pt x="675840" y="334040"/>
                  </a:lnTo>
                  <a:lnTo>
                    <a:pt x="668700" y="333108"/>
                  </a:lnTo>
                  <a:lnTo>
                    <a:pt x="660318" y="328762"/>
                  </a:lnTo>
                  <a:lnTo>
                    <a:pt x="653178" y="321311"/>
                  </a:lnTo>
                  <a:lnTo>
                    <a:pt x="636414" y="323485"/>
                  </a:lnTo>
                  <a:lnTo>
                    <a:pt x="619650" y="327831"/>
                  </a:lnTo>
                  <a:lnTo>
                    <a:pt x="607232" y="330935"/>
                  </a:lnTo>
                  <a:lnTo>
                    <a:pt x="595745" y="340559"/>
                  </a:lnTo>
                  <a:lnTo>
                    <a:pt x="589536" y="355460"/>
                  </a:lnTo>
                  <a:lnTo>
                    <a:pt x="583328" y="351114"/>
                  </a:lnTo>
                  <a:lnTo>
                    <a:pt x="581465" y="351114"/>
                  </a:lnTo>
                  <a:lnTo>
                    <a:pt x="579292" y="348941"/>
                  </a:lnTo>
                  <a:lnTo>
                    <a:pt x="577119" y="348941"/>
                  </a:lnTo>
                  <a:lnTo>
                    <a:pt x="574014" y="348941"/>
                  </a:lnTo>
                  <a:lnTo>
                    <a:pt x="569978" y="348941"/>
                  </a:lnTo>
                  <a:lnTo>
                    <a:pt x="564701" y="348941"/>
                  </a:lnTo>
                  <a:lnTo>
                    <a:pt x="564701" y="362601"/>
                  </a:lnTo>
                  <a:lnTo>
                    <a:pt x="560665" y="360428"/>
                  </a:lnTo>
                  <a:lnTo>
                    <a:pt x="559734" y="360428"/>
                  </a:lnTo>
                  <a:lnTo>
                    <a:pt x="557561" y="360428"/>
                  </a:lnTo>
                  <a:lnTo>
                    <a:pt x="555387" y="358254"/>
                  </a:lnTo>
                  <a:lnTo>
                    <a:pt x="535519" y="363532"/>
                  </a:lnTo>
                  <a:lnTo>
                    <a:pt x="520928" y="375019"/>
                  </a:lnTo>
                  <a:lnTo>
                    <a:pt x="511615" y="392093"/>
                  </a:lnTo>
                  <a:lnTo>
                    <a:pt x="494850" y="392093"/>
                  </a:lnTo>
                  <a:lnTo>
                    <a:pt x="494850" y="406994"/>
                  </a:lnTo>
                  <a:lnTo>
                    <a:pt x="479328" y="415377"/>
                  </a:lnTo>
                  <a:lnTo>
                    <a:pt x="466910" y="430278"/>
                  </a:lnTo>
                  <a:lnTo>
                    <a:pt x="453251" y="452630"/>
                  </a:lnTo>
                  <a:lnTo>
                    <a:pt x="442696" y="476845"/>
                  </a:lnTo>
                  <a:lnTo>
                    <a:pt x="431209" y="501060"/>
                  </a:lnTo>
                  <a:lnTo>
                    <a:pt x="420654" y="524343"/>
                  </a:lnTo>
                  <a:lnTo>
                    <a:pt x="408236" y="544522"/>
                  </a:lnTo>
                  <a:lnTo>
                    <a:pt x="394577" y="561596"/>
                  </a:lnTo>
                  <a:lnTo>
                    <a:pt x="396750" y="565943"/>
                  </a:lnTo>
                  <a:lnTo>
                    <a:pt x="396750" y="569047"/>
                  </a:lnTo>
                  <a:lnTo>
                    <a:pt x="396750" y="571220"/>
                  </a:lnTo>
                  <a:lnTo>
                    <a:pt x="398923" y="571220"/>
                  </a:lnTo>
                  <a:lnTo>
                    <a:pt x="401096" y="571220"/>
                  </a:lnTo>
                  <a:lnTo>
                    <a:pt x="404200" y="573393"/>
                  </a:lnTo>
                  <a:lnTo>
                    <a:pt x="394887" y="581775"/>
                  </a:lnTo>
                  <a:lnTo>
                    <a:pt x="384332" y="586122"/>
                  </a:lnTo>
                  <a:lnTo>
                    <a:pt x="371914" y="593572"/>
                  </a:lnTo>
                  <a:lnTo>
                    <a:pt x="369741" y="596677"/>
                  </a:lnTo>
                  <a:lnTo>
                    <a:pt x="367568" y="602886"/>
                  </a:lnTo>
                  <a:lnTo>
                    <a:pt x="366636" y="605990"/>
                  </a:lnTo>
                  <a:lnTo>
                    <a:pt x="364463" y="610336"/>
                  </a:lnTo>
                  <a:lnTo>
                    <a:pt x="360427" y="613441"/>
                  </a:lnTo>
                  <a:lnTo>
                    <a:pt x="359496" y="611268"/>
                  </a:lnTo>
                  <a:lnTo>
                    <a:pt x="357323" y="610336"/>
                  </a:lnTo>
                  <a:lnTo>
                    <a:pt x="355150" y="608163"/>
                  </a:lnTo>
                  <a:lnTo>
                    <a:pt x="352045" y="605990"/>
                  </a:lnTo>
                  <a:lnTo>
                    <a:pt x="345836" y="611268"/>
                  </a:lnTo>
                  <a:lnTo>
                    <a:pt x="340559" y="617477"/>
                  </a:lnTo>
                  <a:lnTo>
                    <a:pt x="335281" y="622754"/>
                  </a:lnTo>
                  <a:lnTo>
                    <a:pt x="331246" y="625859"/>
                  </a:lnTo>
                  <a:lnTo>
                    <a:pt x="325968" y="640760"/>
                  </a:lnTo>
                  <a:lnTo>
                    <a:pt x="323795" y="652247"/>
                  </a:lnTo>
                  <a:lnTo>
                    <a:pt x="320690" y="660629"/>
                  </a:lnTo>
                  <a:lnTo>
                    <a:pt x="311377" y="670252"/>
                  </a:lnTo>
                  <a:lnTo>
                    <a:pt x="313550" y="692605"/>
                  </a:lnTo>
                  <a:lnTo>
                    <a:pt x="316655" y="709679"/>
                  </a:lnTo>
                  <a:lnTo>
                    <a:pt x="320690" y="724581"/>
                  </a:lnTo>
                  <a:lnTo>
                    <a:pt x="322864" y="742586"/>
                  </a:lnTo>
                  <a:lnTo>
                    <a:pt x="323795" y="764938"/>
                  </a:lnTo>
                  <a:lnTo>
                    <a:pt x="327831" y="764938"/>
                  </a:lnTo>
                  <a:lnTo>
                    <a:pt x="330004" y="767112"/>
                  </a:lnTo>
                  <a:lnTo>
                    <a:pt x="330935" y="767112"/>
                  </a:lnTo>
                  <a:lnTo>
                    <a:pt x="333108" y="767112"/>
                  </a:lnTo>
                  <a:lnTo>
                    <a:pt x="335281" y="769285"/>
                  </a:lnTo>
                  <a:lnTo>
                    <a:pt x="352977" y="764938"/>
                  </a:lnTo>
                  <a:lnTo>
                    <a:pt x="364463" y="759661"/>
                  </a:lnTo>
                  <a:lnTo>
                    <a:pt x="375018" y="752210"/>
                  </a:lnTo>
                  <a:lnTo>
                    <a:pt x="384332" y="742586"/>
                  </a:lnTo>
                  <a:lnTo>
                    <a:pt x="398923" y="735136"/>
                  </a:lnTo>
                  <a:lnTo>
                    <a:pt x="409478" y="762765"/>
                  </a:lnTo>
                  <a:lnTo>
                    <a:pt x="415687" y="786980"/>
                  </a:lnTo>
                  <a:lnTo>
                    <a:pt x="424069" y="809332"/>
                  </a:lnTo>
                  <a:lnTo>
                    <a:pt x="438660" y="829511"/>
                  </a:lnTo>
                  <a:lnTo>
                    <a:pt x="438660" y="833857"/>
                  </a:lnTo>
                  <a:lnTo>
                    <a:pt x="444869" y="833857"/>
                  </a:lnTo>
                  <a:lnTo>
                    <a:pt x="453251" y="818956"/>
                  </a:lnTo>
                  <a:lnTo>
                    <a:pt x="462564" y="807470"/>
                  </a:lnTo>
                  <a:lnTo>
                    <a:pt x="474051" y="796914"/>
                  </a:lnTo>
                  <a:lnTo>
                    <a:pt x="481191" y="784186"/>
                  </a:lnTo>
                  <a:lnTo>
                    <a:pt x="488331" y="767112"/>
                  </a:lnTo>
                  <a:lnTo>
                    <a:pt x="491436" y="744759"/>
                  </a:lnTo>
                  <a:lnTo>
                    <a:pt x="515340" y="735136"/>
                  </a:lnTo>
                  <a:lnTo>
                    <a:pt x="516271" y="734204"/>
                  </a:lnTo>
                  <a:lnTo>
                    <a:pt x="516271" y="729858"/>
                  </a:lnTo>
                  <a:lnTo>
                    <a:pt x="518444" y="727685"/>
                  </a:lnTo>
                  <a:lnTo>
                    <a:pt x="518444" y="726754"/>
                  </a:lnTo>
                  <a:lnTo>
                    <a:pt x="520618" y="724581"/>
                  </a:lnTo>
                  <a:lnTo>
                    <a:pt x="522791" y="722407"/>
                  </a:lnTo>
                  <a:lnTo>
                    <a:pt x="528068" y="720234"/>
                  </a:lnTo>
                  <a:lnTo>
                    <a:pt x="524032" y="704402"/>
                  </a:lnTo>
                  <a:lnTo>
                    <a:pt x="516892" y="690742"/>
                  </a:lnTo>
                  <a:lnTo>
                    <a:pt x="506337" y="680187"/>
                  </a:lnTo>
                  <a:lnTo>
                    <a:pt x="494850" y="670563"/>
                  </a:lnTo>
                  <a:lnTo>
                    <a:pt x="501059" y="645106"/>
                  </a:lnTo>
                  <a:lnTo>
                    <a:pt x="509441" y="622754"/>
                  </a:lnTo>
                  <a:lnTo>
                    <a:pt x="523101" y="603817"/>
                  </a:lnTo>
                  <a:lnTo>
                    <a:pt x="537692" y="587984"/>
                  </a:lnTo>
                  <a:lnTo>
                    <a:pt x="550110" y="570910"/>
                  </a:lnTo>
                  <a:lnTo>
                    <a:pt x="559423" y="550731"/>
                  </a:lnTo>
                  <a:lnTo>
                    <a:pt x="564701" y="524343"/>
                  </a:lnTo>
                  <a:lnTo>
                    <a:pt x="581465" y="523412"/>
                  </a:lnTo>
                  <a:lnTo>
                    <a:pt x="595125" y="521238"/>
                  </a:lnTo>
                  <a:lnTo>
                    <a:pt x="601334" y="526516"/>
                  </a:lnTo>
                  <a:lnTo>
                    <a:pt x="606611" y="531794"/>
                  </a:lnTo>
                  <a:lnTo>
                    <a:pt x="611889" y="537071"/>
                  </a:lnTo>
                  <a:lnTo>
                    <a:pt x="602575" y="554146"/>
                  </a:lnTo>
                  <a:lnTo>
                    <a:pt x="590157" y="569047"/>
                  </a:lnTo>
                  <a:lnTo>
                    <a:pt x="575566" y="583949"/>
                  </a:lnTo>
                  <a:lnTo>
                    <a:pt x="560976" y="596677"/>
                  </a:lnTo>
                  <a:lnTo>
                    <a:pt x="552593" y="615614"/>
                  </a:lnTo>
                  <a:lnTo>
                    <a:pt x="550420" y="628342"/>
                  </a:lnTo>
                  <a:lnTo>
                    <a:pt x="552593" y="643244"/>
                  </a:lnTo>
                  <a:lnTo>
                    <a:pt x="553525" y="655972"/>
                  </a:lnTo>
                  <a:lnTo>
                    <a:pt x="552593" y="667458"/>
                  </a:lnTo>
                  <a:lnTo>
                    <a:pt x="553525" y="682360"/>
                  </a:lnTo>
                  <a:lnTo>
                    <a:pt x="557561" y="690742"/>
                  </a:lnTo>
                  <a:lnTo>
                    <a:pt x="562838" y="698193"/>
                  </a:lnTo>
                  <a:lnTo>
                    <a:pt x="568116" y="705643"/>
                  </a:lnTo>
                  <a:lnTo>
                    <a:pt x="572152" y="715267"/>
                  </a:lnTo>
                  <a:lnTo>
                    <a:pt x="593883" y="712163"/>
                  </a:lnTo>
                  <a:lnTo>
                    <a:pt x="613751" y="705954"/>
                  </a:lnTo>
                  <a:lnTo>
                    <a:pt x="631447" y="697572"/>
                  </a:lnTo>
                  <a:lnTo>
                    <a:pt x="638587" y="697572"/>
                  </a:lnTo>
                  <a:lnTo>
                    <a:pt x="644796" y="698503"/>
                  </a:lnTo>
                  <a:lnTo>
                    <a:pt x="647900" y="700676"/>
                  </a:lnTo>
                  <a:lnTo>
                    <a:pt x="653178" y="702849"/>
                  </a:lnTo>
                  <a:lnTo>
                    <a:pt x="659387" y="705022"/>
                  </a:lnTo>
                  <a:lnTo>
                    <a:pt x="652246" y="715578"/>
                  </a:lnTo>
                  <a:lnTo>
                    <a:pt x="642933" y="719924"/>
                  </a:lnTo>
                  <a:lnTo>
                    <a:pt x="633620" y="717751"/>
                  </a:lnTo>
                  <a:lnTo>
                    <a:pt x="621202" y="715578"/>
                  </a:lnTo>
                  <a:lnTo>
                    <a:pt x="608784" y="715578"/>
                  </a:lnTo>
                  <a:lnTo>
                    <a:pt x="601644" y="719924"/>
                  </a:lnTo>
                  <a:lnTo>
                    <a:pt x="595435" y="723028"/>
                  </a:lnTo>
                  <a:lnTo>
                    <a:pt x="589226" y="727375"/>
                  </a:lnTo>
                  <a:lnTo>
                    <a:pt x="579913" y="728306"/>
                  </a:lnTo>
                  <a:lnTo>
                    <a:pt x="583017" y="745380"/>
                  </a:lnTo>
                  <a:lnTo>
                    <a:pt x="585190" y="755004"/>
                  </a:lnTo>
                  <a:lnTo>
                    <a:pt x="589226" y="762455"/>
                  </a:lnTo>
                  <a:lnTo>
                    <a:pt x="590157" y="773010"/>
                  </a:lnTo>
                  <a:lnTo>
                    <a:pt x="592331" y="790085"/>
                  </a:lnTo>
                  <a:lnTo>
                    <a:pt x="587053" y="787911"/>
                  </a:lnTo>
                  <a:lnTo>
                    <a:pt x="581775" y="785738"/>
                  </a:lnTo>
                  <a:lnTo>
                    <a:pt x="579602" y="784807"/>
                  </a:lnTo>
                  <a:lnTo>
                    <a:pt x="577429" y="780461"/>
                  </a:lnTo>
                  <a:lnTo>
                    <a:pt x="575256" y="777356"/>
                  </a:lnTo>
                  <a:lnTo>
                    <a:pt x="572152" y="773010"/>
                  </a:lnTo>
                  <a:lnTo>
                    <a:pt x="572152" y="769906"/>
                  </a:lnTo>
                  <a:lnTo>
                    <a:pt x="566874" y="770837"/>
                  </a:lnTo>
                  <a:lnTo>
                    <a:pt x="562838" y="773010"/>
                  </a:lnTo>
                  <a:lnTo>
                    <a:pt x="559734" y="777356"/>
                  </a:lnTo>
                  <a:lnTo>
                    <a:pt x="555698" y="778288"/>
                  </a:lnTo>
                  <a:lnTo>
                    <a:pt x="552593" y="782634"/>
                  </a:lnTo>
                  <a:lnTo>
                    <a:pt x="548558" y="808090"/>
                  </a:lnTo>
                  <a:lnTo>
                    <a:pt x="548558" y="839756"/>
                  </a:lnTo>
                  <a:lnTo>
                    <a:pt x="543280" y="841929"/>
                  </a:lnTo>
                  <a:lnTo>
                    <a:pt x="539244" y="841929"/>
                  </a:lnTo>
                  <a:lnTo>
                    <a:pt x="536140" y="842860"/>
                  </a:lnTo>
                  <a:lnTo>
                    <a:pt x="532104" y="847207"/>
                  </a:lnTo>
                  <a:lnTo>
                    <a:pt x="531173" y="849380"/>
                  </a:lnTo>
                  <a:lnTo>
                    <a:pt x="528999" y="854657"/>
                  </a:lnTo>
                  <a:lnTo>
                    <a:pt x="509131" y="850311"/>
                  </a:lnTo>
                  <a:lnTo>
                    <a:pt x="494540" y="849380"/>
                  </a:lnTo>
                  <a:lnTo>
                    <a:pt x="485227" y="852484"/>
                  </a:lnTo>
                  <a:lnTo>
                    <a:pt x="478086" y="856830"/>
                  </a:lnTo>
                  <a:lnTo>
                    <a:pt x="472809" y="862108"/>
                  </a:lnTo>
                  <a:lnTo>
                    <a:pt x="463495" y="867386"/>
                  </a:lnTo>
                  <a:lnTo>
                    <a:pt x="452940" y="871732"/>
                  </a:lnTo>
                  <a:lnTo>
                    <a:pt x="443627" y="871732"/>
                  </a:lnTo>
                  <a:lnTo>
                    <a:pt x="436487" y="865523"/>
                  </a:lnTo>
                  <a:lnTo>
                    <a:pt x="431209" y="862418"/>
                  </a:lnTo>
                  <a:lnTo>
                    <a:pt x="423138" y="862418"/>
                  </a:lnTo>
                  <a:lnTo>
                    <a:pt x="411651" y="867696"/>
                  </a:lnTo>
                  <a:lnTo>
                    <a:pt x="406373" y="864592"/>
                  </a:lnTo>
                  <a:lnTo>
                    <a:pt x="402338" y="862418"/>
                  </a:lnTo>
                  <a:lnTo>
                    <a:pt x="401406" y="860245"/>
                  </a:lnTo>
                  <a:lnTo>
                    <a:pt x="397371" y="858072"/>
                  </a:lnTo>
                  <a:lnTo>
                    <a:pt x="392093" y="854968"/>
                  </a:lnTo>
                  <a:lnTo>
                    <a:pt x="392093" y="842239"/>
                  </a:lnTo>
                  <a:lnTo>
                    <a:pt x="394266" y="825165"/>
                  </a:lnTo>
                  <a:lnTo>
                    <a:pt x="395197" y="807159"/>
                  </a:lnTo>
                  <a:lnTo>
                    <a:pt x="397371" y="793500"/>
                  </a:lnTo>
                  <a:lnTo>
                    <a:pt x="399544" y="786049"/>
                  </a:lnTo>
                  <a:lnTo>
                    <a:pt x="399544" y="777667"/>
                  </a:lnTo>
                  <a:lnTo>
                    <a:pt x="387126" y="780771"/>
                  </a:lnTo>
                  <a:lnTo>
                    <a:pt x="375639" y="785117"/>
                  </a:lnTo>
                  <a:lnTo>
                    <a:pt x="360117" y="786049"/>
                  </a:lnTo>
                  <a:lnTo>
                    <a:pt x="361048" y="803123"/>
                  </a:lnTo>
                  <a:lnTo>
                    <a:pt x="361048" y="823302"/>
                  </a:lnTo>
                  <a:lnTo>
                    <a:pt x="365084" y="845654"/>
                  </a:lnTo>
                  <a:lnTo>
                    <a:pt x="372224" y="864592"/>
                  </a:lnTo>
                  <a:lnTo>
                    <a:pt x="370051" y="865523"/>
                  </a:lnTo>
                  <a:lnTo>
                    <a:pt x="370051" y="867696"/>
                  </a:lnTo>
                  <a:lnTo>
                    <a:pt x="370051" y="869869"/>
                  </a:lnTo>
                  <a:lnTo>
                    <a:pt x="367878" y="872042"/>
                  </a:lnTo>
                  <a:lnTo>
                    <a:pt x="353287" y="877320"/>
                  </a:lnTo>
                  <a:lnTo>
                    <a:pt x="337765" y="882597"/>
                  </a:lnTo>
                  <a:lnTo>
                    <a:pt x="324105" y="887875"/>
                  </a:lnTo>
                  <a:lnTo>
                    <a:pt x="313550" y="895326"/>
                  </a:lnTo>
                  <a:lnTo>
                    <a:pt x="308273" y="906812"/>
                  </a:lnTo>
                  <a:lnTo>
                    <a:pt x="306099" y="917367"/>
                  </a:lnTo>
                  <a:lnTo>
                    <a:pt x="298959" y="928854"/>
                  </a:lnTo>
                  <a:lnTo>
                    <a:pt x="264500" y="939409"/>
                  </a:lnTo>
                  <a:lnTo>
                    <a:pt x="262327" y="943755"/>
                  </a:lnTo>
                  <a:lnTo>
                    <a:pt x="260154" y="946860"/>
                  </a:lnTo>
                  <a:lnTo>
                    <a:pt x="260154" y="951206"/>
                  </a:lnTo>
                  <a:lnTo>
                    <a:pt x="260154" y="954310"/>
                  </a:lnTo>
                  <a:lnTo>
                    <a:pt x="260154" y="958657"/>
                  </a:lnTo>
                  <a:lnTo>
                    <a:pt x="259222" y="961761"/>
                  </a:lnTo>
                  <a:lnTo>
                    <a:pt x="257049" y="963934"/>
                  </a:lnTo>
                  <a:lnTo>
                    <a:pt x="251771" y="966107"/>
                  </a:lnTo>
                  <a:lnTo>
                    <a:pt x="247736" y="967039"/>
                  </a:lnTo>
                  <a:lnTo>
                    <a:pt x="242458" y="969212"/>
                  </a:lnTo>
                  <a:lnTo>
                    <a:pt x="238422" y="973558"/>
                  </a:lnTo>
                  <a:lnTo>
                    <a:pt x="235318" y="971385"/>
                  </a:lnTo>
                  <a:lnTo>
                    <a:pt x="231282" y="969212"/>
                  </a:lnTo>
                  <a:lnTo>
                    <a:pt x="228178" y="969212"/>
                  </a:lnTo>
                  <a:lnTo>
                    <a:pt x="226004" y="967039"/>
                  </a:lnTo>
                  <a:lnTo>
                    <a:pt x="220727" y="966107"/>
                  </a:lnTo>
                  <a:lnTo>
                    <a:pt x="215449" y="966107"/>
                  </a:lnTo>
                  <a:lnTo>
                    <a:pt x="215449" y="986286"/>
                  </a:lnTo>
                  <a:lnTo>
                    <a:pt x="209240" y="986286"/>
                  </a:lnTo>
                  <a:lnTo>
                    <a:pt x="203963" y="986286"/>
                  </a:lnTo>
                  <a:lnTo>
                    <a:pt x="198685" y="988459"/>
                  </a:lnTo>
                  <a:lnTo>
                    <a:pt x="194650" y="989391"/>
                  </a:lnTo>
                  <a:lnTo>
                    <a:pt x="188441" y="989391"/>
                  </a:lnTo>
                  <a:lnTo>
                    <a:pt x="184405" y="991564"/>
                  </a:lnTo>
                  <a:lnTo>
                    <a:pt x="181300" y="991564"/>
                  </a:lnTo>
                  <a:lnTo>
                    <a:pt x="179127" y="993737"/>
                  </a:lnTo>
                  <a:lnTo>
                    <a:pt x="175091" y="995910"/>
                  </a:lnTo>
                  <a:lnTo>
                    <a:pt x="171987" y="996842"/>
                  </a:lnTo>
                  <a:lnTo>
                    <a:pt x="181300" y="1006465"/>
                  </a:lnTo>
                  <a:lnTo>
                    <a:pt x="193718" y="1013916"/>
                  </a:lnTo>
                  <a:lnTo>
                    <a:pt x="206136" y="1018262"/>
                  </a:lnTo>
                  <a:lnTo>
                    <a:pt x="218554" y="1021367"/>
                  </a:lnTo>
                  <a:lnTo>
                    <a:pt x="220727" y="1040304"/>
                  </a:lnTo>
                  <a:lnTo>
                    <a:pt x="222900" y="1056137"/>
                  </a:lnTo>
                  <a:lnTo>
                    <a:pt x="222900" y="1073211"/>
                  </a:lnTo>
                  <a:lnTo>
                    <a:pt x="218864" y="1088113"/>
                  </a:lnTo>
                  <a:lnTo>
                    <a:pt x="218864" y="1090286"/>
                  </a:lnTo>
                  <a:lnTo>
                    <a:pt x="218864" y="1091217"/>
                  </a:lnTo>
                  <a:lnTo>
                    <a:pt x="216691" y="1091217"/>
                  </a:lnTo>
                  <a:lnTo>
                    <a:pt x="216691" y="1093390"/>
                  </a:lnTo>
                  <a:lnTo>
                    <a:pt x="215760" y="1095563"/>
                  </a:lnTo>
                  <a:lnTo>
                    <a:pt x="202100" y="1100841"/>
                  </a:lnTo>
                  <a:lnTo>
                    <a:pt x="184405" y="1105187"/>
                  </a:lnTo>
                  <a:lnTo>
                    <a:pt x="166709" y="1105187"/>
                  </a:lnTo>
                  <a:lnTo>
                    <a:pt x="149945" y="1100841"/>
                  </a:lnTo>
                  <a:lnTo>
                    <a:pt x="135354" y="1095563"/>
                  </a:lnTo>
                  <a:lnTo>
                    <a:pt x="130077" y="1095563"/>
                  </a:lnTo>
                  <a:lnTo>
                    <a:pt x="126041" y="1097736"/>
                  </a:lnTo>
                  <a:lnTo>
                    <a:pt x="122936" y="1097736"/>
                  </a:lnTo>
                  <a:lnTo>
                    <a:pt x="120763" y="1097736"/>
                  </a:lnTo>
                  <a:lnTo>
                    <a:pt x="118590" y="1098668"/>
                  </a:lnTo>
                  <a:lnTo>
                    <a:pt x="116417" y="1103014"/>
                  </a:lnTo>
                  <a:lnTo>
                    <a:pt x="115796" y="1106739"/>
                  </a:lnTo>
                  <a:lnTo>
                    <a:pt x="111760" y="1119468"/>
                  </a:lnTo>
                  <a:lnTo>
                    <a:pt x="111760" y="1140578"/>
                  </a:lnTo>
                  <a:lnTo>
                    <a:pt x="111760" y="1163861"/>
                  </a:lnTo>
                  <a:lnTo>
                    <a:pt x="113934" y="1188076"/>
                  </a:lnTo>
                  <a:lnTo>
                    <a:pt x="116107" y="1208255"/>
                  </a:lnTo>
                  <a:lnTo>
                    <a:pt x="116107" y="1223157"/>
                  </a:lnTo>
                  <a:lnTo>
                    <a:pt x="119211" y="1223157"/>
                  </a:lnTo>
                  <a:lnTo>
                    <a:pt x="119211" y="1228434"/>
                  </a:lnTo>
                  <a:lnTo>
                    <a:pt x="126351" y="1228434"/>
                  </a:lnTo>
                  <a:lnTo>
                    <a:pt x="131629" y="1227503"/>
                  </a:lnTo>
                  <a:lnTo>
                    <a:pt x="135665" y="1227503"/>
                  </a:lnTo>
                  <a:lnTo>
                    <a:pt x="138769" y="1223157"/>
                  </a:lnTo>
                  <a:lnTo>
                    <a:pt x="144978" y="1225330"/>
                  </a:lnTo>
                  <a:lnTo>
                    <a:pt x="148083" y="1225330"/>
                  </a:lnTo>
                  <a:lnTo>
                    <a:pt x="152118" y="1227503"/>
                  </a:lnTo>
                  <a:lnTo>
                    <a:pt x="155223" y="1228434"/>
                  </a:lnTo>
                  <a:lnTo>
                    <a:pt x="157396" y="1230607"/>
                  </a:lnTo>
                  <a:lnTo>
                    <a:pt x="157396" y="1232780"/>
                  </a:lnTo>
                  <a:lnTo>
                    <a:pt x="157396" y="1234953"/>
                  </a:lnTo>
                  <a:lnTo>
                    <a:pt x="159569" y="1234953"/>
                  </a:lnTo>
                  <a:lnTo>
                    <a:pt x="159569" y="1235885"/>
                  </a:lnTo>
                  <a:lnTo>
                    <a:pt x="153360" y="1252959"/>
                  </a:lnTo>
                  <a:lnTo>
                    <a:pt x="142805" y="1265688"/>
                  </a:lnTo>
                  <a:lnTo>
                    <a:pt x="130387" y="1277174"/>
                  </a:lnTo>
                  <a:lnTo>
                    <a:pt x="116728" y="1287729"/>
                  </a:lnTo>
                  <a:lnTo>
                    <a:pt x="104310" y="1299216"/>
                  </a:lnTo>
                  <a:lnTo>
                    <a:pt x="94996" y="1314117"/>
                  </a:lnTo>
                  <a:lnTo>
                    <a:pt x="94065" y="1324672"/>
                  </a:lnTo>
                  <a:lnTo>
                    <a:pt x="94996" y="1337401"/>
                  </a:lnTo>
                  <a:lnTo>
                    <a:pt x="94996" y="1348887"/>
                  </a:lnTo>
                  <a:lnTo>
                    <a:pt x="91892" y="1357269"/>
                  </a:lnTo>
                  <a:lnTo>
                    <a:pt x="77301" y="1366893"/>
                  </a:lnTo>
                  <a:lnTo>
                    <a:pt x="62710" y="1374344"/>
                  </a:lnTo>
                  <a:lnTo>
                    <a:pt x="48119" y="1383967"/>
                  </a:lnTo>
                  <a:lnTo>
                    <a:pt x="35701" y="1394523"/>
                  </a:lnTo>
                  <a:lnTo>
                    <a:pt x="31666" y="1401973"/>
                  </a:lnTo>
                  <a:lnTo>
                    <a:pt x="24525" y="1415633"/>
                  </a:lnTo>
                  <a:lnTo>
                    <a:pt x="17385" y="1431466"/>
                  </a:lnTo>
                  <a:lnTo>
                    <a:pt x="10245" y="1450403"/>
                  </a:lnTo>
                  <a:lnTo>
                    <a:pt x="3104" y="1466236"/>
                  </a:lnTo>
                  <a:lnTo>
                    <a:pt x="0" y="1481137"/>
                  </a:lnTo>
                  <a:lnTo>
                    <a:pt x="0" y="1492623"/>
                  </a:lnTo>
                  <a:lnTo>
                    <a:pt x="3104" y="1500074"/>
                  </a:lnTo>
                  <a:lnTo>
                    <a:pt x="9313" y="1509698"/>
                  </a:lnTo>
                  <a:lnTo>
                    <a:pt x="12418" y="1518080"/>
                  </a:lnTo>
                  <a:lnTo>
                    <a:pt x="12418" y="1532981"/>
                  </a:lnTo>
                  <a:lnTo>
                    <a:pt x="10245" y="1542605"/>
                  </a:lnTo>
                  <a:lnTo>
                    <a:pt x="7140" y="1555334"/>
                  </a:lnTo>
                  <a:lnTo>
                    <a:pt x="3104" y="1570235"/>
                  </a:lnTo>
                  <a:lnTo>
                    <a:pt x="2173" y="1587309"/>
                  </a:lnTo>
                  <a:lnTo>
                    <a:pt x="5278" y="1597865"/>
                  </a:lnTo>
                  <a:lnTo>
                    <a:pt x="5278" y="1622079"/>
                  </a:lnTo>
                  <a:lnTo>
                    <a:pt x="14591" y="1633566"/>
                  </a:lnTo>
                  <a:lnTo>
                    <a:pt x="29182" y="1646294"/>
                  </a:lnTo>
                  <a:lnTo>
                    <a:pt x="45946" y="1659022"/>
                  </a:lnTo>
                  <a:lnTo>
                    <a:pt x="56501" y="1671751"/>
                  </a:lnTo>
                  <a:lnTo>
                    <a:pt x="65815" y="1695965"/>
                  </a:lnTo>
                  <a:lnTo>
                    <a:pt x="78232" y="1705589"/>
                  </a:lnTo>
                  <a:lnTo>
                    <a:pt x="92823" y="1713040"/>
                  </a:lnTo>
                  <a:lnTo>
                    <a:pt x="107414" y="1720491"/>
                  </a:lnTo>
                  <a:lnTo>
                    <a:pt x="122005" y="1727941"/>
                  </a:lnTo>
                  <a:lnTo>
                    <a:pt x="132560" y="1740670"/>
                  </a:lnTo>
                  <a:lnTo>
                    <a:pt x="139701" y="1738497"/>
                  </a:lnTo>
                  <a:lnTo>
                    <a:pt x="145910" y="1736323"/>
                  </a:lnTo>
                  <a:lnTo>
                    <a:pt x="149014" y="1733219"/>
                  </a:lnTo>
                  <a:lnTo>
                    <a:pt x="153050" y="1731046"/>
                  </a:lnTo>
                  <a:lnTo>
                    <a:pt x="161432" y="1733219"/>
                  </a:lnTo>
                  <a:lnTo>
                    <a:pt x="172918" y="1736323"/>
                  </a:lnTo>
                  <a:lnTo>
                    <a:pt x="185336" y="1736323"/>
                  </a:lnTo>
                  <a:lnTo>
                    <a:pt x="189372" y="1723595"/>
                  </a:lnTo>
                  <a:lnTo>
                    <a:pt x="224763" y="1731046"/>
                  </a:lnTo>
                  <a:lnTo>
                    <a:pt x="239354" y="1725768"/>
                  </a:lnTo>
                  <a:lnTo>
                    <a:pt x="257980" y="1718318"/>
                  </a:lnTo>
                  <a:lnTo>
                    <a:pt x="275676" y="1710867"/>
                  </a:lnTo>
                  <a:lnTo>
                    <a:pt x="290267" y="1713040"/>
                  </a:lnTo>
                  <a:lnTo>
                    <a:pt x="302685" y="1713971"/>
                  </a:lnTo>
                  <a:lnTo>
                    <a:pt x="316344" y="1716144"/>
                  </a:lnTo>
                  <a:lnTo>
                    <a:pt x="336213" y="1747810"/>
                  </a:lnTo>
                  <a:lnTo>
                    <a:pt x="343353" y="1747810"/>
                  </a:lnTo>
                  <a:lnTo>
                    <a:pt x="348631" y="1747810"/>
                  </a:lnTo>
                  <a:lnTo>
                    <a:pt x="353908" y="1745637"/>
                  </a:lnTo>
                  <a:lnTo>
                    <a:pt x="356081" y="1743464"/>
                  </a:lnTo>
                  <a:lnTo>
                    <a:pt x="360117" y="1740359"/>
                  </a:lnTo>
                  <a:lnTo>
                    <a:pt x="367257" y="1742532"/>
                  </a:lnTo>
                  <a:lnTo>
                    <a:pt x="372535" y="1742532"/>
                  </a:lnTo>
                  <a:lnTo>
                    <a:pt x="375639" y="1743464"/>
                  </a:lnTo>
                  <a:lnTo>
                    <a:pt x="379675" y="1747810"/>
                  </a:lnTo>
                  <a:lnTo>
                    <a:pt x="382780" y="1749983"/>
                  </a:lnTo>
                  <a:lnTo>
                    <a:pt x="388989" y="1753088"/>
                  </a:lnTo>
                  <a:lnTo>
                    <a:pt x="382780" y="1775440"/>
                  </a:lnTo>
                  <a:lnTo>
                    <a:pt x="377502" y="1795619"/>
                  </a:lnTo>
                  <a:lnTo>
                    <a:pt x="372224" y="1817971"/>
                  </a:lnTo>
                  <a:lnTo>
                    <a:pt x="388989" y="1835045"/>
                  </a:lnTo>
                  <a:lnTo>
                    <a:pt x="404511" y="1855224"/>
                  </a:lnTo>
                  <a:lnTo>
                    <a:pt x="421275" y="1877576"/>
                  </a:lnTo>
                  <a:lnTo>
                    <a:pt x="431830" y="1899928"/>
                  </a:lnTo>
                  <a:lnTo>
                    <a:pt x="435866" y="1917003"/>
                  </a:lnTo>
                  <a:lnTo>
                    <a:pt x="435866" y="1929731"/>
                  </a:lnTo>
                  <a:lnTo>
                    <a:pt x="438039" y="1942459"/>
                  </a:lnTo>
                  <a:lnTo>
                    <a:pt x="445179" y="1957361"/>
                  </a:lnTo>
                  <a:lnTo>
                    <a:pt x="438970" y="1972262"/>
                  </a:lnTo>
                  <a:lnTo>
                    <a:pt x="431830" y="1989337"/>
                  </a:lnTo>
                  <a:lnTo>
                    <a:pt x="421275" y="2009516"/>
                  </a:lnTo>
                  <a:lnTo>
                    <a:pt x="414135" y="2027522"/>
                  </a:lnTo>
                  <a:lnTo>
                    <a:pt x="410099" y="2048632"/>
                  </a:lnTo>
                  <a:lnTo>
                    <a:pt x="412272" y="2066638"/>
                  </a:lnTo>
                  <a:lnTo>
                    <a:pt x="419412" y="2081539"/>
                  </a:lnTo>
                  <a:lnTo>
                    <a:pt x="430899" y="2096441"/>
                  </a:lnTo>
                  <a:lnTo>
                    <a:pt x="441454" y="2113515"/>
                  </a:lnTo>
                  <a:lnTo>
                    <a:pt x="448594" y="2128416"/>
                  </a:lnTo>
                  <a:lnTo>
                    <a:pt x="448594" y="2133694"/>
                  </a:lnTo>
                  <a:lnTo>
                    <a:pt x="448594" y="2138972"/>
                  </a:lnTo>
                  <a:lnTo>
                    <a:pt x="446421" y="2143318"/>
                  </a:lnTo>
                  <a:lnTo>
                    <a:pt x="445490" y="2148595"/>
                  </a:lnTo>
                  <a:lnTo>
                    <a:pt x="445490" y="2151700"/>
                  </a:lnTo>
                  <a:lnTo>
                    <a:pt x="445490" y="2156046"/>
                  </a:lnTo>
                  <a:lnTo>
                    <a:pt x="452630" y="2159151"/>
                  </a:lnTo>
                  <a:lnTo>
                    <a:pt x="450457" y="2163497"/>
                  </a:lnTo>
                  <a:lnTo>
                    <a:pt x="448284" y="2166601"/>
                  </a:lnTo>
                  <a:lnTo>
                    <a:pt x="448284" y="2170948"/>
                  </a:lnTo>
                  <a:lnTo>
                    <a:pt x="446111" y="2176225"/>
                  </a:lnTo>
                  <a:lnTo>
                    <a:pt x="448284" y="2181503"/>
                  </a:lnTo>
                  <a:lnTo>
                    <a:pt x="450457" y="2181503"/>
                  </a:lnTo>
                  <a:lnTo>
                    <a:pt x="452630" y="2185849"/>
                  </a:lnTo>
                  <a:lnTo>
                    <a:pt x="455734" y="2186780"/>
                  </a:lnTo>
                  <a:lnTo>
                    <a:pt x="459770" y="2191127"/>
                  </a:lnTo>
                  <a:lnTo>
                    <a:pt x="459770" y="2193300"/>
                  </a:lnTo>
                  <a:lnTo>
                    <a:pt x="455734" y="2206028"/>
                  </a:lnTo>
                  <a:lnTo>
                    <a:pt x="465048" y="2224034"/>
                  </a:lnTo>
                  <a:lnTo>
                    <a:pt x="479639" y="2242971"/>
                  </a:lnTo>
                  <a:lnTo>
                    <a:pt x="494230" y="2260046"/>
                  </a:lnTo>
                  <a:lnTo>
                    <a:pt x="504785" y="2278051"/>
                  </a:lnTo>
                  <a:lnTo>
                    <a:pt x="506958" y="2290780"/>
                  </a:lnTo>
                  <a:lnTo>
                    <a:pt x="506958" y="2303508"/>
                  </a:lnTo>
                  <a:lnTo>
                    <a:pt x="506958" y="2314994"/>
                  </a:lnTo>
                  <a:lnTo>
                    <a:pt x="509131" y="2324618"/>
                  </a:lnTo>
                  <a:lnTo>
                    <a:pt x="512236" y="2327723"/>
                  </a:lnTo>
                  <a:lnTo>
                    <a:pt x="516271" y="2333000"/>
                  </a:lnTo>
                  <a:lnTo>
                    <a:pt x="519376" y="2335173"/>
                  </a:lnTo>
                  <a:lnTo>
                    <a:pt x="523411" y="2339520"/>
                  </a:lnTo>
                  <a:lnTo>
                    <a:pt x="528689" y="2342624"/>
                  </a:lnTo>
                  <a:lnTo>
                    <a:pt x="553835" y="2337347"/>
                  </a:lnTo>
                  <a:lnTo>
                    <a:pt x="582086" y="2332069"/>
                  </a:lnTo>
                  <a:lnTo>
                    <a:pt x="609095" y="2324618"/>
                  </a:lnTo>
                  <a:lnTo>
                    <a:pt x="636103" y="2317168"/>
                  </a:lnTo>
                  <a:lnTo>
                    <a:pt x="657834" y="2303508"/>
                  </a:lnTo>
                  <a:lnTo>
                    <a:pt x="675530" y="2287675"/>
                  </a:lnTo>
                  <a:lnTo>
                    <a:pt x="684843" y="2270601"/>
                  </a:lnTo>
                  <a:lnTo>
                    <a:pt x="691984" y="2253526"/>
                  </a:lnTo>
                  <a:lnTo>
                    <a:pt x="715888" y="2233347"/>
                  </a:lnTo>
                  <a:lnTo>
                    <a:pt x="718992" y="2218446"/>
                  </a:lnTo>
                  <a:lnTo>
                    <a:pt x="721165" y="2203544"/>
                  </a:lnTo>
                  <a:lnTo>
                    <a:pt x="723339" y="2188643"/>
                  </a:lnTo>
                  <a:lnTo>
                    <a:pt x="728616" y="2175915"/>
                  </a:lnTo>
                  <a:lnTo>
                    <a:pt x="748485" y="2171568"/>
                  </a:lnTo>
                  <a:lnTo>
                    <a:pt x="752520" y="2168464"/>
                  </a:lnTo>
                  <a:lnTo>
                    <a:pt x="753452" y="2164118"/>
                  </a:lnTo>
                  <a:lnTo>
                    <a:pt x="757488" y="2161013"/>
                  </a:lnTo>
                  <a:lnTo>
                    <a:pt x="759661" y="2158840"/>
                  </a:lnTo>
                  <a:lnTo>
                    <a:pt x="762765" y="2155736"/>
                  </a:lnTo>
                  <a:lnTo>
                    <a:pt x="768043" y="2151390"/>
                  </a:lnTo>
                  <a:lnTo>
                    <a:pt x="764938" y="2131211"/>
                  </a:lnTo>
                  <a:lnTo>
                    <a:pt x="757798" y="2114136"/>
                  </a:lnTo>
                  <a:lnTo>
                    <a:pt x="748485" y="2103581"/>
                  </a:lnTo>
                  <a:lnTo>
                    <a:pt x="757798" y="2084644"/>
                  </a:lnTo>
                  <a:lnTo>
                    <a:pt x="772389" y="2071915"/>
                  </a:lnTo>
                  <a:lnTo>
                    <a:pt x="790084" y="2062291"/>
                  </a:lnTo>
                  <a:lnTo>
                    <a:pt x="808711" y="2053909"/>
                  </a:lnTo>
                  <a:lnTo>
                    <a:pt x="824234" y="2042423"/>
                  </a:lnTo>
                  <a:lnTo>
                    <a:pt x="835720" y="2019140"/>
                  </a:lnTo>
                  <a:lnTo>
                    <a:pt x="837893" y="1996787"/>
                  </a:lnTo>
                  <a:lnTo>
                    <a:pt x="831684" y="1974435"/>
                  </a:lnTo>
                  <a:lnTo>
                    <a:pt x="824544" y="1952083"/>
                  </a:lnTo>
                  <a:lnTo>
                    <a:pt x="817404" y="1931904"/>
                  </a:lnTo>
                  <a:lnTo>
                    <a:pt x="810263" y="1909552"/>
                  </a:lnTo>
                  <a:lnTo>
                    <a:pt x="807159" y="1887200"/>
                  </a:lnTo>
                  <a:lnTo>
                    <a:pt x="812437" y="1862985"/>
                  </a:lnTo>
                  <a:lnTo>
                    <a:pt x="827027" y="1837529"/>
                  </a:lnTo>
                  <a:lnTo>
                    <a:pt x="845654" y="1815177"/>
                  </a:lnTo>
                  <a:lnTo>
                    <a:pt x="867385" y="1794066"/>
                  </a:lnTo>
                  <a:lnTo>
                    <a:pt x="890358" y="1776060"/>
                  </a:lnTo>
                  <a:lnTo>
                    <a:pt x="912090" y="1757123"/>
                  </a:lnTo>
                  <a:lnTo>
                    <a:pt x="931958" y="1736944"/>
                  </a:lnTo>
                  <a:lnTo>
                    <a:pt x="945618" y="1718938"/>
                  </a:lnTo>
                  <a:lnTo>
                    <a:pt x="958036" y="1696586"/>
                  </a:lnTo>
                  <a:lnTo>
                    <a:pt x="968591" y="1674234"/>
                  </a:lnTo>
                  <a:lnTo>
                    <a:pt x="975731" y="1655297"/>
                  </a:lnTo>
                  <a:lnTo>
                    <a:pt x="979767" y="1642569"/>
                  </a:lnTo>
                  <a:lnTo>
                    <a:pt x="979767" y="1631393"/>
                  </a:lnTo>
                  <a:lnTo>
                    <a:pt x="985044" y="1621769"/>
                  </a:lnTo>
                  <a:lnTo>
                    <a:pt x="985044" y="1618665"/>
                  </a:lnTo>
                  <a:lnTo>
                    <a:pt x="963313" y="1621769"/>
                  </a:lnTo>
                  <a:lnTo>
                    <a:pt x="939409" y="1627046"/>
                  </a:lnTo>
                  <a:lnTo>
                    <a:pt x="914263" y="1633255"/>
                  </a:lnTo>
                  <a:lnTo>
                    <a:pt x="895636" y="1641637"/>
                  </a:lnTo>
                  <a:lnTo>
                    <a:pt x="880114" y="1640706"/>
                  </a:lnTo>
                  <a:lnTo>
                    <a:pt x="874836" y="1634497"/>
                  </a:lnTo>
                  <a:lnTo>
                    <a:pt x="872663" y="1629220"/>
                  </a:lnTo>
                  <a:lnTo>
                    <a:pt x="872663" y="1623942"/>
                  </a:lnTo>
                  <a:lnTo>
                    <a:pt x="872663" y="1616491"/>
                  </a:lnTo>
                  <a:lnTo>
                    <a:pt x="868627" y="1611214"/>
                  </a:lnTo>
                  <a:lnTo>
                    <a:pt x="854036" y="1599727"/>
                  </a:lnTo>
                  <a:lnTo>
                    <a:pt x="836341" y="1589172"/>
                  </a:lnTo>
                  <a:lnTo>
                    <a:pt x="819577" y="1577686"/>
                  </a:lnTo>
                  <a:lnTo>
                    <a:pt x="809022" y="1564957"/>
                  </a:lnTo>
                  <a:lnTo>
                    <a:pt x="804986" y="1553471"/>
                  </a:lnTo>
                  <a:lnTo>
                    <a:pt x="802813" y="1545089"/>
                  </a:lnTo>
                  <a:lnTo>
                    <a:pt x="799708" y="1533602"/>
                  </a:lnTo>
                  <a:lnTo>
                    <a:pt x="797535" y="1530498"/>
                  </a:lnTo>
                  <a:lnTo>
                    <a:pt x="792258" y="1526152"/>
                  </a:lnTo>
                  <a:lnTo>
                    <a:pt x="786980" y="1523047"/>
                  </a:lnTo>
                  <a:lnTo>
                    <a:pt x="782944" y="1517770"/>
                  </a:lnTo>
                  <a:lnTo>
                    <a:pt x="779840" y="1513423"/>
                  </a:lnTo>
                  <a:lnTo>
                    <a:pt x="779840" y="1476480"/>
                  </a:lnTo>
                  <a:lnTo>
                    <a:pt x="777667" y="1471203"/>
                  </a:lnTo>
                  <a:lnTo>
                    <a:pt x="772389" y="1466856"/>
                  </a:lnTo>
                  <a:lnTo>
                    <a:pt x="768353" y="1463752"/>
                  </a:lnTo>
                  <a:lnTo>
                    <a:pt x="763076" y="1459406"/>
                  </a:lnTo>
                  <a:lnTo>
                    <a:pt x="759971" y="1456301"/>
                  </a:lnTo>
                  <a:lnTo>
                    <a:pt x="750658" y="1436122"/>
                  </a:lnTo>
                  <a:lnTo>
                    <a:pt x="743518" y="1415943"/>
                  </a:lnTo>
                  <a:lnTo>
                    <a:pt x="736377" y="1393591"/>
                  </a:lnTo>
                  <a:lnTo>
                    <a:pt x="724891" y="1374654"/>
                  </a:lnTo>
                  <a:lnTo>
                    <a:pt x="712473" y="1357580"/>
                  </a:lnTo>
                  <a:lnTo>
                    <a:pt x="712473" y="1350129"/>
                  </a:lnTo>
                  <a:lnTo>
                    <a:pt x="716509" y="1350129"/>
                  </a:lnTo>
                  <a:lnTo>
                    <a:pt x="719613" y="1357580"/>
                  </a:lnTo>
                  <a:lnTo>
                    <a:pt x="723649" y="1363788"/>
                  </a:lnTo>
                  <a:lnTo>
                    <a:pt x="726753" y="1366893"/>
                  </a:lnTo>
                  <a:lnTo>
                    <a:pt x="730789" y="1369066"/>
                  </a:lnTo>
                  <a:lnTo>
                    <a:pt x="733894" y="1371239"/>
                  </a:lnTo>
                  <a:lnTo>
                    <a:pt x="737930" y="1372170"/>
                  </a:lnTo>
                  <a:lnTo>
                    <a:pt x="738861" y="1376517"/>
                  </a:lnTo>
                  <a:lnTo>
                    <a:pt x="745070" y="1378690"/>
                  </a:lnTo>
                  <a:lnTo>
                    <a:pt x="755625" y="1386141"/>
                  </a:lnTo>
                  <a:lnTo>
                    <a:pt x="762765" y="1396696"/>
                  </a:lnTo>
                  <a:lnTo>
                    <a:pt x="768043" y="1409424"/>
                  </a:lnTo>
                  <a:lnTo>
                    <a:pt x="774252" y="1423084"/>
                  </a:lnTo>
                  <a:lnTo>
                    <a:pt x="779529" y="1435812"/>
                  </a:lnTo>
                  <a:lnTo>
                    <a:pt x="799398" y="1448540"/>
                  </a:lnTo>
                  <a:lnTo>
                    <a:pt x="804675" y="1459095"/>
                  </a:lnTo>
                  <a:lnTo>
                    <a:pt x="806848" y="1472755"/>
                  </a:lnTo>
                  <a:lnTo>
                    <a:pt x="809022" y="1485483"/>
                  </a:lnTo>
                  <a:lnTo>
                    <a:pt x="812126" y="1496038"/>
                  </a:lnTo>
                  <a:lnTo>
                    <a:pt x="824544" y="1510940"/>
                  </a:lnTo>
                  <a:lnTo>
                    <a:pt x="838204" y="1525841"/>
                  </a:lnTo>
                  <a:lnTo>
                    <a:pt x="850621" y="1542916"/>
                  </a:lnTo>
                  <a:lnTo>
                    <a:pt x="859935" y="1560922"/>
                  </a:lnTo>
                  <a:lnTo>
                    <a:pt x="860866" y="1572408"/>
                  </a:lnTo>
                  <a:lnTo>
                    <a:pt x="860866" y="1582963"/>
                  </a:lnTo>
                  <a:lnTo>
                    <a:pt x="863039" y="1594450"/>
                  </a:lnTo>
                  <a:lnTo>
                    <a:pt x="868317" y="1605005"/>
                  </a:lnTo>
                  <a:lnTo>
                    <a:pt x="870490" y="1609351"/>
                  </a:lnTo>
                  <a:lnTo>
                    <a:pt x="872663" y="1611524"/>
                  </a:lnTo>
                  <a:lnTo>
                    <a:pt x="874836" y="1612456"/>
                  </a:lnTo>
                  <a:lnTo>
                    <a:pt x="875767" y="1612456"/>
                  </a:lnTo>
                  <a:lnTo>
                    <a:pt x="879803" y="1614629"/>
                  </a:lnTo>
                  <a:lnTo>
                    <a:pt x="889117" y="1614629"/>
                  </a:lnTo>
                  <a:lnTo>
                    <a:pt x="901534" y="1611524"/>
                  </a:lnTo>
                  <a:lnTo>
                    <a:pt x="913952" y="1604074"/>
                  </a:lnTo>
                  <a:lnTo>
                    <a:pt x="928543" y="1597865"/>
                  </a:lnTo>
                  <a:lnTo>
                    <a:pt x="946239" y="1592587"/>
                  </a:lnTo>
                  <a:lnTo>
                    <a:pt x="963003" y="1589483"/>
                  </a:lnTo>
                  <a:lnTo>
                    <a:pt x="979767" y="1582032"/>
                  </a:lnTo>
                  <a:lnTo>
                    <a:pt x="992185" y="1572408"/>
                  </a:lnTo>
                  <a:lnTo>
                    <a:pt x="1002740" y="1560922"/>
                  </a:lnTo>
                  <a:lnTo>
                    <a:pt x="1016399" y="1553471"/>
                  </a:lnTo>
                  <a:lnTo>
                    <a:pt x="1039372" y="1553471"/>
                  </a:lnTo>
                  <a:lnTo>
                    <a:pt x="1039372" y="1544468"/>
                  </a:lnTo>
                  <a:lnTo>
                    <a:pt x="1057999" y="1531740"/>
                  </a:lnTo>
                  <a:lnTo>
                    <a:pt x="1075694" y="1520253"/>
                  </a:lnTo>
                  <a:lnTo>
                    <a:pt x="1075694" y="1500074"/>
                  </a:lnTo>
                  <a:lnTo>
                    <a:pt x="1089354" y="1494797"/>
                  </a:lnTo>
                  <a:lnTo>
                    <a:pt x="1095563" y="1487346"/>
                  </a:lnTo>
                  <a:lnTo>
                    <a:pt x="1101772" y="1477722"/>
                  </a:lnTo>
                  <a:lnTo>
                    <a:pt x="1108912" y="1468098"/>
                  </a:lnTo>
                  <a:lnTo>
                    <a:pt x="1087181" y="1450092"/>
                  </a:lnTo>
                  <a:lnTo>
                    <a:pt x="1060172" y="1435191"/>
                  </a:lnTo>
                  <a:lnTo>
                    <a:pt x="1057999" y="1420290"/>
                  </a:lnTo>
                  <a:lnTo>
                    <a:pt x="1055826" y="1401352"/>
                  </a:lnTo>
                  <a:lnTo>
                    <a:pt x="1035958" y="1416254"/>
                  </a:lnTo>
                  <a:lnTo>
                    <a:pt x="1019193" y="1435191"/>
                  </a:lnTo>
                  <a:lnTo>
                    <a:pt x="1008638" y="1435191"/>
                  </a:lnTo>
                  <a:lnTo>
                    <a:pt x="999325" y="1437364"/>
                  </a:lnTo>
                  <a:lnTo>
                    <a:pt x="992185" y="1438295"/>
                  </a:lnTo>
                  <a:lnTo>
                    <a:pt x="990011" y="1433018"/>
                  </a:lnTo>
                  <a:lnTo>
                    <a:pt x="989080" y="1427740"/>
                  </a:lnTo>
                  <a:lnTo>
                    <a:pt x="989080" y="1422463"/>
                  </a:lnTo>
                  <a:lnTo>
                    <a:pt x="986907" y="1416254"/>
                  </a:lnTo>
                  <a:lnTo>
                    <a:pt x="984734" y="1410976"/>
                  </a:lnTo>
                  <a:lnTo>
                    <a:pt x="979456" y="1408803"/>
                  </a:lnTo>
                  <a:lnTo>
                    <a:pt x="977283" y="1408803"/>
                  </a:lnTo>
                  <a:lnTo>
                    <a:pt x="975110" y="1408803"/>
                  </a:lnTo>
                  <a:lnTo>
                    <a:pt x="975110" y="1410976"/>
                  </a:lnTo>
                  <a:lnTo>
                    <a:pt x="974179" y="1413149"/>
                  </a:lnTo>
                  <a:lnTo>
                    <a:pt x="972006" y="1418427"/>
                  </a:lnTo>
                  <a:lnTo>
                    <a:pt x="964865" y="1407872"/>
                  </a:lnTo>
                  <a:lnTo>
                    <a:pt x="957725" y="1392970"/>
                  </a:lnTo>
                  <a:lnTo>
                    <a:pt x="948412" y="1375896"/>
                  </a:lnTo>
                  <a:lnTo>
                    <a:pt x="943134" y="1358821"/>
                  </a:lnTo>
                  <a:lnTo>
                    <a:pt x="939098" y="1343920"/>
                  </a:lnTo>
                  <a:lnTo>
                    <a:pt x="946239" y="1343920"/>
                  </a:lnTo>
                  <a:lnTo>
                    <a:pt x="950274" y="1343920"/>
                  </a:lnTo>
                  <a:lnTo>
                    <a:pt x="952448" y="1343920"/>
                  </a:lnTo>
                  <a:lnTo>
                    <a:pt x="953379" y="1343920"/>
                  </a:lnTo>
                  <a:lnTo>
                    <a:pt x="955552" y="1343920"/>
                  </a:lnTo>
                  <a:lnTo>
                    <a:pt x="967039" y="1353544"/>
                  </a:lnTo>
                  <a:lnTo>
                    <a:pt x="972316" y="1363167"/>
                  </a:lnTo>
                  <a:lnTo>
                    <a:pt x="975421" y="1373723"/>
                  </a:lnTo>
                  <a:lnTo>
                    <a:pt x="984734" y="1381173"/>
                  </a:lnTo>
                  <a:lnTo>
                    <a:pt x="997152" y="1388624"/>
                  </a:lnTo>
                  <a:lnTo>
                    <a:pt x="1008638" y="1393902"/>
                  </a:lnTo>
                  <a:lnTo>
                    <a:pt x="1019193" y="1401352"/>
                  </a:lnTo>
                  <a:lnTo>
                    <a:pt x="1031611" y="1401352"/>
                  </a:lnTo>
                  <a:lnTo>
                    <a:pt x="1040925" y="1400421"/>
                  </a:lnTo>
                  <a:lnTo>
                    <a:pt x="1048065" y="1398248"/>
                  </a:lnTo>
                  <a:lnTo>
                    <a:pt x="1059551" y="1393902"/>
                  </a:lnTo>
                  <a:lnTo>
                    <a:pt x="1066692" y="1407561"/>
                  </a:lnTo>
                  <a:lnTo>
                    <a:pt x="1071969" y="1418116"/>
                  </a:lnTo>
                  <a:lnTo>
                    <a:pt x="1102082" y="1420290"/>
                  </a:lnTo>
                  <a:lnTo>
                    <a:pt x="1133438" y="1422463"/>
                  </a:lnTo>
                  <a:lnTo>
                    <a:pt x="1164793" y="1422463"/>
                  </a:lnTo>
                  <a:lnTo>
                    <a:pt x="1194906" y="1418116"/>
                  </a:lnTo>
                  <a:lnTo>
                    <a:pt x="1206392" y="1429603"/>
                  </a:lnTo>
                  <a:lnTo>
                    <a:pt x="1218810" y="1437985"/>
                  </a:lnTo>
                  <a:lnTo>
                    <a:pt x="1231228" y="1447609"/>
                  </a:lnTo>
                  <a:lnTo>
                    <a:pt x="1238368" y="1458164"/>
                  </a:lnTo>
                  <a:lnTo>
                    <a:pt x="1235264" y="1471824"/>
                  </a:lnTo>
                  <a:lnTo>
                    <a:pt x="1238368" y="1474928"/>
                  </a:lnTo>
                  <a:lnTo>
                    <a:pt x="1242404" y="1479274"/>
                  </a:lnTo>
                  <a:lnTo>
                    <a:pt x="1247681" y="1482379"/>
                  </a:lnTo>
                  <a:lnTo>
                    <a:pt x="1251717" y="1486725"/>
                  </a:lnTo>
                  <a:lnTo>
                    <a:pt x="1262273" y="1487656"/>
                  </a:lnTo>
                  <a:lnTo>
                    <a:pt x="1271586" y="1487656"/>
                  </a:lnTo>
                  <a:lnTo>
                    <a:pt x="1284004" y="1486725"/>
                  </a:lnTo>
                  <a:lnTo>
                    <a:pt x="1288039" y="1524910"/>
                  </a:lnTo>
                  <a:lnTo>
                    <a:pt x="1296422" y="1556575"/>
                  </a:lnTo>
                  <a:lnTo>
                    <a:pt x="1308840" y="1586068"/>
                  </a:lnTo>
                  <a:lnTo>
                    <a:pt x="1327466" y="1613697"/>
                  </a:lnTo>
                  <a:lnTo>
                    <a:pt x="1327466" y="1615870"/>
                  </a:lnTo>
                  <a:lnTo>
                    <a:pt x="1325293" y="1618044"/>
                  </a:lnTo>
                  <a:lnTo>
                    <a:pt x="1323120" y="1621148"/>
                  </a:lnTo>
                  <a:lnTo>
                    <a:pt x="1322188" y="1625494"/>
                  </a:lnTo>
                  <a:lnTo>
                    <a:pt x="1323120" y="1628599"/>
                  </a:lnTo>
                  <a:lnTo>
                    <a:pt x="1329329" y="1645673"/>
                  </a:lnTo>
                  <a:lnTo>
                    <a:pt x="1339884" y="1665852"/>
                  </a:lnTo>
                  <a:lnTo>
                    <a:pt x="1351370" y="1678581"/>
                  </a:lnTo>
                  <a:lnTo>
                    <a:pt x="1352302" y="1680754"/>
                  </a:lnTo>
                  <a:lnTo>
                    <a:pt x="1354475" y="1680754"/>
                  </a:lnTo>
                  <a:lnTo>
                    <a:pt x="1356648" y="1682927"/>
                  </a:lnTo>
                  <a:lnTo>
                    <a:pt x="1358821" y="1682927"/>
                  </a:lnTo>
                  <a:lnTo>
                    <a:pt x="1378690" y="1658712"/>
                  </a:lnTo>
                  <a:lnTo>
                    <a:pt x="1391108" y="1633255"/>
                  </a:lnTo>
                  <a:lnTo>
                    <a:pt x="1400421" y="1601590"/>
                  </a:lnTo>
                  <a:lnTo>
                    <a:pt x="1403525" y="1564647"/>
                  </a:lnTo>
                  <a:lnTo>
                    <a:pt x="1415943" y="1557196"/>
                  </a:lnTo>
                  <a:lnTo>
                    <a:pt x="1425257" y="1547572"/>
                  </a:lnTo>
                  <a:lnTo>
                    <a:pt x="1434570" y="1540122"/>
                  </a:lnTo>
                  <a:lnTo>
                    <a:pt x="1451334" y="1540122"/>
                  </a:lnTo>
                  <a:lnTo>
                    <a:pt x="1463752" y="1507214"/>
                  </a:lnTo>
                  <a:lnTo>
                    <a:pt x="1470892" y="1501937"/>
                  </a:lnTo>
                  <a:lnTo>
                    <a:pt x="1478032" y="1499764"/>
                  </a:lnTo>
                  <a:lnTo>
                    <a:pt x="1485172" y="1499764"/>
                  </a:lnTo>
                  <a:lnTo>
                    <a:pt x="1488277" y="1497591"/>
                  </a:lnTo>
                  <a:lnTo>
                    <a:pt x="1493555" y="1490140"/>
                  </a:lnTo>
                  <a:lnTo>
                    <a:pt x="1497590" y="1475239"/>
                  </a:lnTo>
                  <a:lnTo>
                    <a:pt x="1512181" y="1475239"/>
                  </a:lnTo>
                  <a:lnTo>
                    <a:pt x="1526772" y="1477412"/>
                  </a:lnTo>
                  <a:lnTo>
                    <a:pt x="1543536" y="1475239"/>
                  </a:lnTo>
                  <a:lnTo>
                    <a:pt x="1544468" y="1473065"/>
                  </a:lnTo>
                  <a:lnTo>
                    <a:pt x="1546641" y="1472134"/>
                  </a:lnTo>
                  <a:lnTo>
                    <a:pt x="1548814" y="1467788"/>
                  </a:lnTo>
                  <a:lnTo>
                    <a:pt x="1550987" y="1465615"/>
                  </a:lnTo>
                  <a:lnTo>
                    <a:pt x="1554092" y="1462510"/>
                  </a:lnTo>
                  <a:lnTo>
                    <a:pt x="1565578" y="1480516"/>
                  </a:lnTo>
                  <a:lnTo>
                    <a:pt x="1573960" y="1495418"/>
                  </a:lnTo>
                  <a:lnTo>
                    <a:pt x="1585447" y="1509077"/>
                  </a:lnTo>
                  <a:lnTo>
                    <a:pt x="1592587" y="1523979"/>
                  </a:lnTo>
                  <a:lnTo>
                    <a:pt x="1597864" y="1541984"/>
                  </a:lnTo>
                  <a:lnTo>
                    <a:pt x="1597864" y="1564337"/>
                  </a:lnTo>
                  <a:lnTo>
                    <a:pt x="1600037" y="1566509"/>
                  </a:lnTo>
                  <a:lnTo>
                    <a:pt x="1600969" y="1566509"/>
                  </a:lnTo>
                  <a:lnTo>
                    <a:pt x="1600969" y="1567441"/>
                  </a:lnTo>
                  <a:lnTo>
                    <a:pt x="1603142" y="1567441"/>
                  </a:lnTo>
                  <a:lnTo>
                    <a:pt x="1610282" y="1567441"/>
                  </a:lnTo>
                  <a:lnTo>
                    <a:pt x="1617422" y="1566509"/>
                  </a:lnTo>
                  <a:lnTo>
                    <a:pt x="1621458" y="1564337"/>
                  </a:lnTo>
                  <a:lnTo>
                    <a:pt x="1626736" y="1559990"/>
                  </a:lnTo>
                  <a:lnTo>
                    <a:pt x="1629840" y="1556886"/>
                  </a:lnTo>
                  <a:lnTo>
                    <a:pt x="1641327" y="1569614"/>
                  </a:lnTo>
                  <a:lnTo>
                    <a:pt x="1648467" y="1586688"/>
                  </a:lnTo>
                  <a:lnTo>
                    <a:pt x="1650640" y="1606867"/>
                  </a:lnTo>
                  <a:lnTo>
                    <a:pt x="1650640" y="1629220"/>
                  </a:lnTo>
                  <a:lnTo>
                    <a:pt x="1650640" y="1649399"/>
                  </a:lnTo>
                  <a:lnTo>
                    <a:pt x="1650640" y="1668336"/>
                  </a:lnTo>
                  <a:lnTo>
                    <a:pt x="1653745" y="1683237"/>
                  </a:lnTo>
                  <a:lnTo>
                    <a:pt x="1653745" y="1686342"/>
                  </a:lnTo>
                  <a:lnTo>
                    <a:pt x="1663058" y="1683237"/>
                  </a:lnTo>
                  <a:lnTo>
                    <a:pt x="1663058" y="1686342"/>
                  </a:lnTo>
                  <a:lnTo>
                    <a:pt x="1672371" y="1699070"/>
                  </a:lnTo>
                  <a:lnTo>
                    <a:pt x="1677649" y="1713971"/>
                  </a:lnTo>
                  <a:lnTo>
                    <a:pt x="1682927" y="1728873"/>
                  </a:lnTo>
                  <a:lnTo>
                    <a:pt x="1686962" y="1745947"/>
                  </a:lnTo>
                  <a:lnTo>
                    <a:pt x="1693171" y="1760849"/>
                  </a:lnTo>
                  <a:lnTo>
                    <a:pt x="1702485" y="1768299"/>
                  </a:lnTo>
                  <a:lnTo>
                    <a:pt x="1704658" y="1770472"/>
                  </a:lnTo>
                  <a:lnTo>
                    <a:pt x="1715213" y="1775750"/>
                  </a:lnTo>
                  <a:lnTo>
                    <a:pt x="1726699" y="1785374"/>
                  </a:lnTo>
                  <a:lnTo>
                    <a:pt x="1737255" y="1785374"/>
                  </a:lnTo>
                  <a:lnTo>
                    <a:pt x="1736323" y="1758986"/>
                  </a:lnTo>
                  <a:lnTo>
                    <a:pt x="1729183" y="1733529"/>
                  </a:lnTo>
                  <a:lnTo>
                    <a:pt x="1717696" y="1711177"/>
                  </a:lnTo>
                  <a:lnTo>
                    <a:pt x="1703106" y="1696276"/>
                  </a:lnTo>
                  <a:lnTo>
                    <a:pt x="1700001" y="1694103"/>
                  </a:lnTo>
                  <a:lnTo>
                    <a:pt x="1695965" y="1694103"/>
                  </a:lnTo>
                  <a:lnTo>
                    <a:pt x="1692861" y="1694103"/>
                  </a:lnTo>
                  <a:lnTo>
                    <a:pt x="1688825" y="1694103"/>
                  </a:lnTo>
                  <a:lnTo>
                    <a:pt x="1687894" y="1691930"/>
                  </a:lnTo>
                  <a:lnTo>
                    <a:pt x="1681685" y="1681374"/>
                  </a:lnTo>
                  <a:lnTo>
                    <a:pt x="1680753" y="1671751"/>
                  </a:lnTo>
                  <a:lnTo>
                    <a:pt x="1676718" y="1664300"/>
                  </a:lnTo>
                  <a:lnTo>
                    <a:pt x="1667404" y="1659022"/>
                  </a:lnTo>
                  <a:lnTo>
                    <a:pt x="1676718" y="1634808"/>
                  </a:lnTo>
                  <a:lnTo>
                    <a:pt x="1683858" y="1605315"/>
                  </a:lnTo>
                  <a:lnTo>
                    <a:pt x="1700622" y="1618975"/>
                  </a:lnTo>
                  <a:lnTo>
                    <a:pt x="1716144" y="1631703"/>
                  </a:lnTo>
                  <a:lnTo>
                    <a:pt x="1730735" y="1644431"/>
                  </a:lnTo>
                  <a:lnTo>
                    <a:pt x="1742222" y="1659333"/>
                  </a:lnTo>
                  <a:lnTo>
                    <a:pt x="1747499" y="1679512"/>
                  </a:lnTo>
                  <a:lnTo>
                    <a:pt x="1754640" y="1679512"/>
                  </a:lnTo>
                  <a:lnTo>
                    <a:pt x="1815176" y="1629841"/>
                  </a:lnTo>
                  <a:lnTo>
                    <a:pt x="1813003" y="1600348"/>
                  </a:lnTo>
                  <a:lnTo>
                    <a:pt x="1807726" y="1576133"/>
                  </a:lnTo>
                  <a:lnTo>
                    <a:pt x="1796239" y="1558128"/>
                  </a:lnTo>
                  <a:lnTo>
                    <a:pt x="1783822" y="1541053"/>
                  </a:lnTo>
                  <a:lnTo>
                    <a:pt x="1767057" y="1525220"/>
                  </a:lnTo>
                  <a:lnTo>
                    <a:pt x="1769230" y="1510319"/>
                  </a:lnTo>
                  <a:lnTo>
                    <a:pt x="1774508" y="1500695"/>
                  </a:lnTo>
                  <a:lnTo>
                    <a:pt x="1780717" y="1495418"/>
                  </a:lnTo>
                  <a:lnTo>
                    <a:pt x="1787857" y="1489209"/>
                  </a:lnTo>
                  <a:lnTo>
                    <a:pt x="1794066" y="1480827"/>
                  </a:lnTo>
                  <a:lnTo>
                    <a:pt x="1800275" y="1480827"/>
                  </a:lnTo>
                  <a:lnTo>
                    <a:pt x="1805553" y="1481758"/>
                  </a:lnTo>
                  <a:lnTo>
                    <a:pt x="1807726" y="1481758"/>
                  </a:lnTo>
                  <a:lnTo>
                    <a:pt x="1810830" y="1483931"/>
                  </a:lnTo>
                  <a:lnTo>
                    <a:pt x="1813003" y="1488277"/>
                  </a:lnTo>
                  <a:lnTo>
                    <a:pt x="1816108" y="1493555"/>
                  </a:lnTo>
                  <a:lnTo>
                    <a:pt x="1818281" y="1496659"/>
                  </a:lnTo>
                  <a:lnTo>
                    <a:pt x="1816108" y="1501006"/>
                  </a:lnTo>
                  <a:lnTo>
                    <a:pt x="1815176" y="1504110"/>
                  </a:lnTo>
                  <a:lnTo>
                    <a:pt x="1811141" y="1506283"/>
                  </a:lnTo>
                  <a:lnTo>
                    <a:pt x="1808036" y="1506283"/>
                  </a:lnTo>
                  <a:lnTo>
                    <a:pt x="1804000" y="1508456"/>
                  </a:lnTo>
                  <a:lnTo>
                    <a:pt x="1804000" y="1518080"/>
                  </a:lnTo>
                  <a:lnTo>
                    <a:pt x="1804000" y="1523358"/>
                  </a:lnTo>
                  <a:lnTo>
                    <a:pt x="1806173" y="1528635"/>
                  </a:lnTo>
                  <a:lnTo>
                    <a:pt x="1808346" y="1533913"/>
                  </a:lnTo>
                  <a:lnTo>
                    <a:pt x="1811451" y="1532981"/>
                  </a:lnTo>
                  <a:lnTo>
                    <a:pt x="1813624" y="1532981"/>
                  </a:lnTo>
                  <a:lnTo>
                    <a:pt x="1815797" y="1532981"/>
                  </a:lnTo>
                  <a:lnTo>
                    <a:pt x="1816729" y="1530808"/>
                  </a:lnTo>
                  <a:lnTo>
                    <a:pt x="1818902" y="1530808"/>
                  </a:lnTo>
                  <a:lnTo>
                    <a:pt x="1826042" y="1526462"/>
                  </a:lnTo>
                  <a:lnTo>
                    <a:pt x="1830078" y="1523358"/>
                  </a:lnTo>
                  <a:lnTo>
                    <a:pt x="1831009" y="1521184"/>
                  </a:lnTo>
                  <a:lnTo>
                    <a:pt x="1835045" y="1518080"/>
                  </a:lnTo>
                  <a:lnTo>
                    <a:pt x="1838150" y="1513734"/>
                  </a:lnTo>
                  <a:lnTo>
                    <a:pt x="1837218" y="1508456"/>
                  </a:lnTo>
                  <a:lnTo>
                    <a:pt x="1837218" y="1503179"/>
                  </a:lnTo>
                  <a:lnTo>
                    <a:pt x="1835045" y="1501006"/>
                  </a:lnTo>
                  <a:lnTo>
                    <a:pt x="1835045" y="1498832"/>
                  </a:lnTo>
                  <a:lnTo>
                    <a:pt x="1835045" y="1495728"/>
                  </a:lnTo>
                  <a:lnTo>
                    <a:pt x="1835045" y="1491382"/>
                  </a:lnTo>
                  <a:lnTo>
                    <a:pt x="1835045" y="1483931"/>
                  </a:lnTo>
                  <a:lnTo>
                    <a:pt x="1862054" y="1478653"/>
                  </a:lnTo>
                  <a:lnTo>
                    <a:pt x="1891236" y="1469030"/>
                  </a:lnTo>
                  <a:lnTo>
                    <a:pt x="1916382" y="1458474"/>
                  </a:lnTo>
                  <a:lnTo>
                    <a:pt x="1940286" y="1443573"/>
                  </a:lnTo>
                  <a:lnTo>
                    <a:pt x="1958913" y="1423394"/>
                  </a:lnTo>
                  <a:lnTo>
                    <a:pt x="1967295" y="1408493"/>
                  </a:lnTo>
                  <a:lnTo>
                    <a:pt x="1974435" y="1394833"/>
                  </a:lnTo>
                  <a:lnTo>
                    <a:pt x="1981575" y="1379932"/>
                  </a:lnTo>
                  <a:lnTo>
                    <a:pt x="1993993" y="1371550"/>
                  </a:lnTo>
                  <a:lnTo>
                    <a:pt x="1993993" y="1351992"/>
                  </a:lnTo>
                  <a:lnTo>
                    <a:pt x="1993062" y="1329639"/>
                  </a:lnTo>
                  <a:lnTo>
                    <a:pt x="1989026" y="1309460"/>
                  </a:lnTo>
                  <a:lnTo>
                    <a:pt x="1981886" y="1289281"/>
                  </a:lnTo>
                  <a:lnTo>
                    <a:pt x="1973504" y="1274380"/>
                  </a:lnTo>
                  <a:lnTo>
                    <a:pt x="1958913" y="1264756"/>
                  </a:lnTo>
                  <a:lnTo>
                    <a:pt x="1964190" y="1252028"/>
                  </a:lnTo>
                  <a:lnTo>
                    <a:pt x="1969468" y="1244577"/>
                  </a:lnTo>
                  <a:lnTo>
                    <a:pt x="1976608" y="1237127"/>
                  </a:lnTo>
                  <a:lnTo>
                    <a:pt x="1983748" y="1227503"/>
                  </a:lnTo>
                  <a:lnTo>
                    <a:pt x="2003617" y="1227503"/>
                  </a:lnTo>
                  <a:lnTo>
                    <a:pt x="2003617" y="1214774"/>
                  </a:lnTo>
                  <a:lnTo>
                    <a:pt x="1998339" y="1214774"/>
                  </a:lnTo>
                  <a:lnTo>
                    <a:pt x="1987784" y="1209497"/>
                  </a:lnTo>
                  <a:lnTo>
                    <a:pt x="1978471" y="1209497"/>
                  </a:lnTo>
                  <a:lnTo>
                    <a:pt x="1969157" y="1212601"/>
                  </a:lnTo>
                  <a:lnTo>
                    <a:pt x="1958602" y="1218810"/>
                  </a:lnTo>
                  <a:lnTo>
                    <a:pt x="1954567" y="1212601"/>
                  </a:lnTo>
                  <a:lnTo>
                    <a:pt x="1951462" y="1209497"/>
                  </a:lnTo>
                  <a:lnTo>
                    <a:pt x="1947426" y="1205151"/>
                  </a:lnTo>
                  <a:lnTo>
                    <a:pt x="1942149" y="1202046"/>
                  </a:lnTo>
                  <a:lnTo>
                    <a:pt x="1935008" y="1197700"/>
                  </a:lnTo>
                  <a:lnTo>
                    <a:pt x="1942149" y="1184972"/>
                  </a:lnTo>
                  <a:lnTo>
                    <a:pt x="1954567" y="1174416"/>
                  </a:lnTo>
                  <a:lnTo>
                    <a:pt x="1966985" y="1164793"/>
                  </a:lnTo>
                  <a:lnTo>
                    <a:pt x="1978471" y="1153306"/>
                  </a:lnTo>
                  <a:lnTo>
                    <a:pt x="1983748" y="1155479"/>
                  </a:lnTo>
                  <a:lnTo>
                    <a:pt x="1987784" y="1155479"/>
                  </a:lnTo>
                  <a:lnTo>
                    <a:pt x="1990889" y="1157652"/>
                  </a:lnTo>
                  <a:lnTo>
                    <a:pt x="1993993" y="1157652"/>
                  </a:lnTo>
                  <a:lnTo>
                    <a:pt x="1990889" y="1165103"/>
                  </a:lnTo>
                  <a:lnTo>
                    <a:pt x="1988716" y="1168208"/>
                  </a:lnTo>
                  <a:lnTo>
                    <a:pt x="1987784" y="1174416"/>
                  </a:lnTo>
                  <a:lnTo>
                    <a:pt x="1985611" y="1177521"/>
                  </a:lnTo>
                  <a:lnTo>
                    <a:pt x="1983438" y="1182799"/>
                  </a:lnTo>
                  <a:lnTo>
                    <a:pt x="1983438" y="1187145"/>
                  </a:lnTo>
                  <a:lnTo>
                    <a:pt x="1995856" y="1181867"/>
                  </a:lnTo>
                  <a:lnTo>
                    <a:pt x="2010447" y="1175658"/>
                  </a:lnTo>
                  <a:lnTo>
                    <a:pt x="2022865" y="1172554"/>
                  </a:lnTo>
                  <a:lnTo>
                    <a:pt x="2034351" y="1174727"/>
                  </a:lnTo>
                  <a:lnTo>
                    <a:pt x="2043664" y="1174727"/>
                  </a:lnTo>
                  <a:lnTo>
                    <a:pt x="2039629" y="1182178"/>
                  </a:lnTo>
                  <a:lnTo>
                    <a:pt x="2037456" y="1187455"/>
                  </a:lnTo>
                  <a:lnTo>
                    <a:pt x="2034351" y="1192733"/>
                  </a:lnTo>
                  <a:lnTo>
                    <a:pt x="2030315" y="1198010"/>
                  </a:lnTo>
                  <a:lnTo>
                    <a:pt x="2034351" y="1204219"/>
                  </a:lnTo>
                  <a:lnTo>
                    <a:pt x="2037456" y="1205151"/>
                  </a:lnTo>
                  <a:lnTo>
                    <a:pt x="2039629" y="1207324"/>
                  </a:lnTo>
                  <a:lnTo>
                    <a:pt x="2041802" y="1207324"/>
                  </a:lnTo>
                  <a:lnTo>
                    <a:pt x="2044906" y="1207324"/>
                  </a:lnTo>
                  <a:lnTo>
                    <a:pt x="2048942" y="1207324"/>
                  </a:lnTo>
                  <a:lnTo>
                    <a:pt x="2054220" y="1207324"/>
                  </a:lnTo>
                  <a:lnTo>
                    <a:pt x="2054220" y="1218810"/>
                  </a:lnTo>
                  <a:lnTo>
                    <a:pt x="2052046" y="1233712"/>
                  </a:lnTo>
                  <a:lnTo>
                    <a:pt x="2052046" y="1246440"/>
                  </a:lnTo>
                  <a:lnTo>
                    <a:pt x="2054220" y="1254822"/>
                  </a:lnTo>
                  <a:lnTo>
                    <a:pt x="2054220" y="1264446"/>
                  </a:lnTo>
                  <a:lnTo>
                    <a:pt x="2078124" y="1261341"/>
                  </a:lnTo>
                  <a:lnTo>
                    <a:pt x="2092715" y="1255132"/>
                  </a:lnTo>
                  <a:lnTo>
                    <a:pt x="2099855" y="1247682"/>
                  </a:lnTo>
                  <a:lnTo>
                    <a:pt x="2102960" y="1239300"/>
                  </a:lnTo>
                  <a:lnTo>
                    <a:pt x="2100787" y="1226571"/>
                  </a:lnTo>
                  <a:lnTo>
                    <a:pt x="2097682" y="1215085"/>
                  </a:lnTo>
                  <a:lnTo>
                    <a:pt x="2090542" y="1202357"/>
                  </a:lnTo>
                  <a:lnTo>
                    <a:pt x="2085264" y="1189628"/>
                  </a:lnTo>
                  <a:lnTo>
                    <a:pt x="2078124" y="1178142"/>
                  </a:lnTo>
                  <a:lnTo>
                    <a:pt x="2074088" y="1167587"/>
                  </a:lnTo>
                  <a:lnTo>
                    <a:pt x="2078124" y="1165414"/>
                  </a:lnTo>
                  <a:lnTo>
                    <a:pt x="2081228" y="1165414"/>
                  </a:lnTo>
                  <a:lnTo>
                    <a:pt x="2083402" y="1165414"/>
                  </a:lnTo>
                  <a:lnTo>
                    <a:pt x="2085575" y="1163241"/>
                  </a:lnTo>
                  <a:lnTo>
                    <a:pt x="2087748" y="1163241"/>
                  </a:lnTo>
                  <a:lnTo>
                    <a:pt x="2098303" y="1155790"/>
                  </a:lnTo>
                  <a:lnTo>
                    <a:pt x="2105443" y="1145235"/>
                  </a:lnTo>
                  <a:lnTo>
                    <a:pt x="2110721" y="1133748"/>
                  </a:lnTo>
                  <a:lnTo>
                    <a:pt x="2117861" y="1123193"/>
                  </a:lnTo>
                  <a:lnTo>
                    <a:pt x="2127175" y="1113569"/>
                  </a:lnTo>
                  <a:lnTo>
                    <a:pt x="2137730" y="1111396"/>
                  </a:lnTo>
                  <a:lnTo>
                    <a:pt x="2149216" y="1111396"/>
                  </a:lnTo>
                  <a:lnTo>
                    <a:pt x="2161634" y="1113569"/>
                  </a:lnTo>
                  <a:lnTo>
                    <a:pt x="2174052" y="1110465"/>
                  </a:lnTo>
                  <a:lnTo>
                    <a:pt x="2178088" y="1106118"/>
                  </a:lnTo>
                  <a:lnTo>
                    <a:pt x="2185228" y="1096495"/>
                  </a:lnTo>
                  <a:lnTo>
                    <a:pt x="2195783" y="1083766"/>
                  </a:lnTo>
                  <a:lnTo>
                    <a:pt x="2208201" y="1071038"/>
                  </a:lnTo>
                  <a:lnTo>
                    <a:pt x="2219687" y="1056137"/>
                  </a:lnTo>
                  <a:lnTo>
                    <a:pt x="2230242" y="1043408"/>
                  </a:lnTo>
                  <a:lnTo>
                    <a:pt x="2239556" y="1031922"/>
                  </a:lnTo>
                  <a:lnTo>
                    <a:pt x="2243592" y="1028817"/>
                  </a:lnTo>
                  <a:lnTo>
                    <a:pt x="2250732" y="1011743"/>
                  </a:lnTo>
                  <a:lnTo>
                    <a:pt x="2256010" y="999015"/>
                  </a:lnTo>
                  <a:lnTo>
                    <a:pt x="2263150" y="986286"/>
                  </a:lnTo>
                  <a:lnTo>
                    <a:pt x="2273705" y="974800"/>
                  </a:lnTo>
                  <a:lnTo>
                    <a:pt x="2270600" y="962072"/>
                  </a:lnTo>
                  <a:lnTo>
                    <a:pt x="2266565" y="952448"/>
                  </a:lnTo>
                  <a:lnTo>
                    <a:pt x="2263460" y="942824"/>
                  </a:lnTo>
                  <a:lnTo>
                    <a:pt x="2263460" y="932269"/>
                  </a:lnTo>
                  <a:lnTo>
                    <a:pt x="2265633" y="922645"/>
                  </a:lnTo>
                  <a:lnTo>
                    <a:pt x="2270911" y="917367"/>
                  </a:lnTo>
                  <a:lnTo>
                    <a:pt x="2273084" y="912090"/>
                  </a:lnTo>
                  <a:lnTo>
                    <a:pt x="2270911" y="902466"/>
                  </a:lnTo>
                  <a:lnTo>
                    <a:pt x="2266875" y="887565"/>
                  </a:lnTo>
                  <a:lnTo>
                    <a:pt x="2263771" y="877941"/>
                  </a:lnTo>
                  <a:lnTo>
                    <a:pt x="2258493" y="870490"/>
                  </a:lnTo>
                  <a:lnTo>
                    <a:pt x="2251353" y="862108"/>
                  </a:lnTo>
                  <a:lnTo>
                    <a:pt x="2242039" y="862108"/>
                  </a:lnTo>
                  <a:lnTo>
                    <a:pt x="2236762" y="862108"/>
                  </a:lnTo>
                  <a:lnTo>
                    <a:pt x="2230553" y="863039"/>
                  </a:lnTo>
                  <a:lnTo>
                    <a:pt x="2227448" y="865213"/>
                  </a:lnTo>
                  <a:lnTo>
                    <a:pt x="2223413" y="869559"/>
                  </a:lnTo>
                  <a:lnTo>
                    <a:pt x="2216272" y="867386"/>
                  </a:lnTo>
                  <a:lnTo>
                    <a:pt x="2213168" y="865213"/>
                  </a:lnTo>
                  <a:lnTo>
                    <a:pt x="2209132" y="862108"/>
                  </a:lnTo>
                  <a:lnTo>
                    <a:pt x="2208201" y="857762"/>
                  </a:lnTo>
                  <a:lnTo>
                    <a:pt x="2206028" y="854657"/>
                  </a:lnTo>
                  <a:lnTo>
                    <a:pt x="2203854" y="848448"/>
                  </a:lnTo>
                  <a:lnTo>
                    <a:pt x="2188332" y="848448"/>
                  </a:lnTo>
                  <a:lnTo>
                    <a:pt x="2188332" y="837893"/>
                  </a:lnTo>
                  <a:lnTo>
                    <a:pt x="2200750" y="828269"/>
                  </a:lnTo>
                  <a:lnTo>
                    <a:pt x="2206028" y="820819"/>
                  </a:lnTo>
                  <a:lnTo>
                    <a:pt x="2211305" y="812437"/>
                  </a:lnTo>
                  <a:lnTo>
                    <a:pt x="2218446" y="804986"/>
                  </a:lnTo>
                  <a:lnTo>
                    <a:pt x="2247627" y="795362"/>
                  </a:lnTo>
                  <a:lnTo>
                    <a:pt x="2256941" y="785738"/>
                  </a:lnTo>
                  <a:lnTo>
                    <a:pt x="2264081" y="773010"/>
                  </a:lnTo>
                  <a:lnTo>
                    <a:pt x="2271221" y="760282"/>
                  </a:lnTo>
                  <a:lnTo>
                    <a:pt x="2278361" y="746622"/>
                  </a:lnTo>
                  <a:lnTo>
                    <a:pt x="2290779" y="736067"/>
                  </a:lnTo>
                  <a:lnTo>
                    <a:pt x="2305370" y="726443"/>
                  </a:lnTo>
                  <a:lnTo>
                    <a:pt x="2317788" y="713715"/>
                  </a:lnTo>
                  <a:lnTo>
                    <a:pt x="2354110" y="718993"/>
                  </a:lnTo>
                  <a:lnTo>
                    <a:pt x="2363424" y="730479"/>
                  </a:lnTo>
                  <a:lnTo>
                    <a:pt x="2375841" y="732652"/>
                  </a:lnTo>
                  <a:lnTo>
                    <a:pt x="2390432" y="726443"/>
                  </a:lnTo>
                  <a:lnTo>
                    <a:pt x="2407196" y="723339"/>
                  </a:lnTo>
                  <a:lnTo>
                    <a:pt x="2407196" y="743518"/>
                  </a:lnTo>
                  <a:lnTo>
                    <a:pt x="2422719" y="743518"/>
                  </a:lnTo>
                  <a:lnTo>
                    <a:pt x="2439483" y="741345"/>
                  </a:lnTo>
                  <a:lnTo>
                    <a:pt x="2451901" y="739171"/>
                  </a:lnTo>
                  <a:lnTo>
                    <a:pt x="2463387" y="733894"/>
                  </a:lnTo>
                  <a:lnTo>
                    <a:pt x="2463387" y="730789"/>
                  </a:lnTo>
                  <a:lnTo>
                    <a:pt x="2461214" y="726443"/>
                  </a:lnTo>
                  <a:lnTo>
                    <a:pt x="2459041" y="721166"/>
                  </a:lnTo>
                  <a:lnTo>
                    <a:pt x="2458110" y="718061"/>
                  </a:lnTo>
                  <a:lnTo>
                    <a:pt x="2458110" y="713715"/>
                  </a:lnTo>
                  <a:lnTo>
                    <a:pt x="2458110" y="710610"/>
                  </a:lnTo>
                  <a:lnTo>
                    <a:pt x="2463387" y="700987"/>
                  </a:lnTo>
                  <a:lnTo>
                    <a:pt x="2473942" y="688258"/>
                  </a:lnTo>
                  <a:lnTo>
                    <a:pt x="2485429" y="674599"/>
                  </a:lnTo>
                  <a:lnTo>
                    <a:pt x="2497847" y="664044"/>
                  </a:lnTo>
                  <a:lnTo>
                    <a:pt x="2507160" y="658766"/>
                  </a:lnTo>
                  <a:lnTo>
                    <a:pt x="2510265" y="656593"/>
                  </a:lnTo>
                  <a:lnTo>
                    <a:pt x="2515542" y="658766"/>
                  </a:lnTo>
                  <a:lnTo>
                    <a:pt x="2519578" y="659697"/>
                  </a:lnTo>
                  <a:lnTo>
                    <a:pt x="2524855" y="661871"/>
                  </a:lnTo>
                  <a:lnTo>
                    <a:pt x="2530133" y="666217"/>
                  </a:lnTo>
                  <a:lnTo>
                    <a:pt x="2530133" y="669321"/>
                  </a:lnTo>
                  <a:lnTo>
                    <a:pt x="2529202" y="673667"/>
                  </a:lnTo>
                  <a:lnTo>
                    <a:pt x="2529202" y="674599"/>
                  </a:lnTo>
                  <a:lnTo>
                    <a:pt x="2529202" y="676772"/>
                  </a:lnTo>
                  <a:lnTo>
                    <a:pt x="2527028" y="678945"/>
                  </a:lnTo>
                  <a:lnTo>
                    <a:pt x="2527028" y="684223"/>
                  </a:lnTo>
                  <a:lnTo>
                    <a:pt x="2529202" y="688569"/>
                  </a:lnTo>
                  <a:lnTo>
                    <a:pt x="2529202" y="689500"/>
                  </a:lnTo>
                  <a:lnTo>
                    <a:pt x="2530133" y="695709"/>
                  </a:lnTo>
                  <a:lnTo>
                    <a:pt x="2546897" y="688258"/>
                  </a:lnTo>
                  <a:lnTo>
                    <a:pt x="2559315" y="678635"/>
                  </a:lnTo>
                  <a:lnTo>
                    <a:pt x="2568628" y="665906"/>
                  </a:lnTo>
                  <a:lnTo>
                    <a:pt x="2577942" y="651005"/>
                  </a:lnTo>
                  <a:lnTo>
                    <a:pt x="2587255" y="637345"/>
                  </a:lnTo>
                  <a:lnTo>
                    <a:pt x="2588186" y="636414"/>
                  </a:lnTo>
                  <a:lnTo>
                    <a:pt x="2590359" y="634241"/>
                  </a:lnTo>
                  <a:lnTo>
                    <a:pt x="2593464" y="632068"/>
                  </a:lnTo>
                  <a:lnTo>
                    <a:pt x="2595637" y="634241"/>
                  </a:lnTo>
                  <a:lnTo>
                    <a:pt x="2595637" y="636414"/>
                  </a:lnTo>
                  <a:lnTo>
                    <a:pt x="2597810" y="636414"/>
                  </a:lnTo>
                  <a:lnTo>
                    <a:pt x="2597810" y="637345"/>
                  </a:lnTo>
                  <a:lnTo>
                    <a:pt x="2592533" y="651005"/>
                  </a:lnTo>
                  <a:lnTo>
                    <a:pt x="2588497" y="665906"/>
                  </a:lnTo>
                  <a:lnTo>
                    <a:pt x="2583219" y="678635"/>
                  </a:lnTo>
                  <a:lnTo>
                    <a:pt x="2570802" y="688258"/>
                  </a:lnTo>
                  <a:lnTo>
                    <a:pt x="2558384" y="696640"/>
                  </a:lnTo>
                  <a:lnTo>
                    <a:pt x="2546897" y="706264"/>
                  </a:lnTo>
                  <a:lnTo>
                    <a:pt x="2532306" y="728616"/>
                  </a:lnTo>
                  <a:lnTo>
                    <a:pt x="2517715" y="750968"/>
                  </a:lnTo>
                  <a:lnTo>
                    <a:pt x="2510575" y="758419"/>
                  </a:lnTo>
                  <a:lnTo>
                    <a:pt x="2500020" y="761524"/>
                  </a:lnTo>
                  <a:lnTo>
                    <a:pt x="2490706" y="765870"/>
                  </a:lnTo>
                  <a:lnTo>
                    <a:pt x="2483566" y="771147"/>
                  </a:lnTo>
                  <a:lnTo>
                    <a:pt x="2476426" y="786049"/>
                  </a:lnTo>
                  <a:lnTo>
                    <a:pt x="2478599" y="798777"/>
                  </a:lnTo>
                  <a:lnTo>
                    <a:pt x="2483877" y="808401"/>
                  </a:lnTo>
                  <a:lnTo>
                    <a:pt x="2480772" y="815852"/>
                  </a:lnTo>
                  <a:lnTo>
                    <a:pt x="2478599" y="821129"/>
                  </a:lnTo>
                  <a:lnTo>
                    <a:pt x="2473322" y="825475"/>
                  </a:lnTo>
                  <a:lnTo>
                    <a:pt x="2469286" y="828580"/>
                  </a:lnTo>
                  <a:lnTo>
                    <a:pt x="2464008" y="832926"/>
                  </a:lnTo>
                  <a:lnTo>
                    <a:pt x="2461835" y="865833"/>
                  </a:lnTo>
                  <a:lnTo>
                    <a:pt x="2464008" y="893463"/>
                  </a:lnTo>
                  <a:lnTo>
                    <a:pt x="2473322" y="917678"/>
                  </a:lnTo>
                  <a:lnTo>
                    <a:pt x="2487912" y="937857"/>
                  </a:lnTo>
                  <a:lnTo>
                    <a:pt x="2487912" y="943134"/>
                  </a:lnTo>
                  <a:lnTo>
                    <a:pt x="2494121" y="943134"/>
                  </a:lnTo>
                  <a:lnTo>
                    <a:pt x="2498157" y="922955"/>
                  </a:lnTo>
                  <a:lnTo>
                    <a:pt x="2510575" y="922955"/>
                  </a:lnTo>
                  <a:lnTo>
                    <a:pt x="2515852" y="904950"/>
                  </a:lnTo>
                  <a:lnTo>
                    <a:pt x="2522993" y="890048"/>
                  </a:lnTo>
                  <a:lnTo>
                    <a:pt x="2527028" y="890048"/>
                  </a:lnTo>
                  <a:lnTo>
                    <a:pt x="2529202" y="890048"/>
                  </a:lnTo>
                  <a:lnTo>
                    <a:pt x="2530133" y="890048"/>
                  </a:lnTo>
                  <a:lnTo>
                    <a:pt x="2534169" y="890048"/>
                  </a:lnTo>
                  <a:lnTo>
                    <a:pt x="2537273" y="890048"/>
                  </a:lnTo>
                  <a:lnTo>
                    <a:pt x="2539446" y="875147"/>
                  </a:lnTo>
                  <a:lnTo>
                    <a:pt x="2541620" y="867696"/>
                  </a:lnTo>
                  <a:lnTo>
                    <a:pt x="2546897" y="860245"/>
                  </a:lnTo>
                  <a:lnTo>
                    <a:pt x="2554037" y="848759"/>
                  </a:lnTo>
                  <a:lnTo>
                    <a:pt x="2566455" y="848759"/>
                  </a:lnTo>
                  <a:lnTo>
                    <a:pt x="2566455" y="840377"/>
                  </a:lnTo>
                  <a:lnTo>
                    <a:pt x="2566455" y="832926"/>
                  </a:lnTo>
                  <a:lnTo>
                    <a:pt x="2568628" y="827649"/>
                  </a:lnTo>
                  <a:lnTo>
                    <a:pt x="2570802" y="821440"/>
                  </a:lnTo>
                  <a:lnTo>
                    <a:pt x="2572975" y="820508"/>
                  </a:lnTo>
                  <a:lnTo>
                    <a:pt x="2573906" y="818335"/>
                  </a:lnTo>
                  <a:lnTo>
                    <a:pt x="2576079" y="818335"/>
                  </a:lnTo>
                  <a:lnTo>
                    <a:pt x="2578252" y="818335"/>
                  </a:lnTo>
                  <a:lnTo>
                    <a:pt x="2583530" y="818335"/>
                  </a:lnTo>
                  <a:lnTo>
                    <a:pt x="2580425" y="794120"/>
                  </a:lnTo>
                  <a:lnTo>
                    <a:pt x="2580425" y="766491"/>
                  </a:lnTo>
                  <a:lnTo>
                    <a:pt x="2581356" y="742276"/>
                  </a:lnTo>
                  <a:lnTo>
                    <a:pt x="2590670" y="719924"/>
                  </a:lnTo>
                  <a:lnTo>
                    <a:pt x="2595948" y="718993"/>
                  </a:lnTo>
                  <a:lnTo>
                    <a:pt x="2607434" y="716819"/>
                  </a:lnTo>
                  <a:lnTo>
                    <a:pt x="2619852" y="716819"/>
                  </a:lnTo>
                  <a:lnTo>
                    <a:pt x="2629165" y="716819"/>
                  </a:lnTo>
                  <a:lnTo>
                    <a:pt x="2634443" y="714646"/>
                  </a:lnTo>
                  <a:lnTo>
                    <a:pt x="2634443" y="707196"/>
                  </a:lnTo>
                  <a:lnTo>
                    <a:pt x="2639720" y="704091"/>
                  </a:lnTo>
                  <a:lnTo>
                    <a:pt x="2646861" y="699745"/>
                  </a:lnTo>
                  <a:lnTo>
                    <a:pt x="2656174" y="697572"/>
                  </a:lnTo>
                  <a:lnTo>
                    <a:pt x="2663314" y="696640"/>
                  </a:lnTo>
                  <a:lnTo>
                    <a:pt x="2666419" y="701918"/>
                  </a:lnTo>
                  <a:lnTo>
                    <a:pt x="2672628" y="707196"/>
                  </a:lnTo>
                  <a:lnTo>
                    <a:pt x="2677905" y="711542"/>
                  </a:lnTo>
                  <a:lnTo>
                    <a:pt x="2685045" y="709369"/>
                  </a:lnTo>
                  <a:lnTo>
                    <a:pt x="2692186" y="705022"/>
                  </a:lnTo>
                  <a:lnTo>
                    <a:pt x="2702741" y="701918"/>
                  </a:lnTo>
                  <a:lnTo>
                    <a:pt x="2717332" y="699745"/>
                  </a:lnTo>
                  <a:lnTo>
                    <a:pt x="2724472" y="689190"/>
                  </a:lnTo>
                  <a:lnTo>
                    <a:pt x="2728508" y="677703"/>
                  </a:lnTo>
                  <a:lnTo>
                    <a:pt x="2729439" y="662802"/>
                  </a:lnTo>
                  <a:lnTo>
                    <a:pt x="2744030" y="657524"/>
                  </a:lnTo>
                  <a:lnTo>
                    <a:pt x="2757690" y="652247"/>
                  </a:lnTo>
                  <a:lnTo>
                    <a:pt x="2768245" y="644796"/>
                  </a:lnTo>
                  <a:lnTo>
                    <a:pt x="2773522" y="629895"/>
                  </a:lnTo>
                  <a:lnTo>
                    <a:pt x="2782836" y="632068"/>
                  </a:lnTo>
                  <a:lnTo>
                    <a:pt x="2789976" y="632999"/>
                  </a:lnTo>
                  <a:lnTo>
                    <a:pt x="2795254" y="637345"/>
                  </a:lnTo>
                  <a:lnTo>
                    <a:pt x="2802394" y="642623"/>
                  </a:lnTo>
                  <a:lnTo>
                    <a:pt x="2807671" y="640450"/>
                  </a:lnTo>
                  <a:lnTo>
                    <a:pt x="2811707" y="640450"/>
                  </a:lnTo>
                  <a:lnTo>
                    <a:pt x="2813880" y="638277"/>
                  </a:lnTo>
                  <a:lnTo>
                    <a:pt x="2816985" y="638277"/>
                  </a:lnTo>
                  <a:lnTo>
                    <a:pt x="2811707" y="612820"/>
                  </a:lnTo>
                  <a:lnTo>
                    <a:pt x="2800221" y="590468"/>
                  </a:lnTo>
                  <a:lnTo>
                    <a:pt x="2789666" y="577740"/>
                  </a:lnTo>
                  <a:lnTo>
                    <a:pt x="2792770" y="572462"/>
                  </a:lnTo>
                  <a:lnTo>
                    <a:pt x="2794943" y="570289"/>
                  </a:lnTo>
                  <a:lnTo>
                    <a:pt x="2797116" y="568116"/>
                  </a:lnTo>
                  <a:lnTo>
                    <a:pt x="2799290" y="568116"/>
                  </a:lnTo>
                  <a:lnTo>
                    <a:pt x="2800221" y="568116"/>
                  </a:lnTo>
                  <a:lnTo>
                    <a:pt x="2802394" y="570289"/>
                  </a:lnTo>
                  <a:lnTo>
                    <a:pt x="2804567" y="570289"/>
                  </a:lnTo>
                  <a:lnTo>
                    <a:pt x="2806740" y="570289"/>
                  </a:lnTo>
                  <a:lnTo>
                    <a:pt x="2809845" y="570289"/>
                  </a:lnTo>
                  <a:lnTo>
                    <a:pt x="2813880" y="568116"/>
                  </a:lnTo>
                  <a:lnTo>
                    <a:pt x="2822263" y="560665"/>
                  </a:lnTo>
                  <a:lnTo>
                    <a:pt x="2826298" y="547937"/>
                  </a:lnTo>
                  <a:lnTo>
                    <a:pt x="2829403" y="533036"/>
                  </a:lnTo>
                  <a:lnTo>
                    <a:pt x="2829403" y="520307"/>
                  </a:lnTo>
                  <a:lnTo>
                    <a:pt x="2833439" y="525585"/>
                  </a:lnTo>
                  <a:lnTo>
                    <a:pt x="2838716" y="533036"/>
                  </a:lnTo>
                  <a:lnTo>
                    <a:pt x="2842752" y="540486"/>
                  </a:lnTo>
                  <a:lnTo>
                    <a:pt x="2845856" y="538313"/>
                  </a:lnTo>
                  <a:lnTo>
                    <a:pt x="2848029" y="538313"/>
                  </a:lnTo>
                  <a:lnTo>
                    <a:pt x="2850203" y="538313"/>
                  </a:lnTo>
                  <a:lnTo>
                    <a:pt x="2851134" y="536140"/>
                  </a:lnTo>
                  <a:lnTo>
                    <a:pt x="2853307" y="536140"/>
                  </a:lnTo>
                  <a:lnTo>
                    <a:pt x="2860447" y="536140"/>
                  </a:lnTo>
                  <a:lnTo>
                    <a:pt x="2864483" y="538313"/>
                  </a:lnTo>
                  <a:lnTo>
                    <a:pt x="2865414" y="540486"/>
                  </a:lnTo>
                  <a:lnTo>
                    <a:pt x="2869450" y="542659"/>
                  </a:lnTo>
                  <a:lnTo>
                    <a:pt x="2872555" y="543591"/>
                  </a:lnTo>
                  <a:lnTo>
                    <a:pt x="2872555" y="557250"/>
                  </a:lnTo>
                  <a:lnTo>
                    <a:pt x="2887146" y="560355"/>
                  </a:lnTo>
                  <a:lnTo>
                    <a:pt x="2898632" y="565632"/>
                  </a:lnTo>
                  <a:lnTo>
                    <a:pt x="2905772" y="577119"/>
                  </a:lnTo>
                  <a:lnTo>
                    <a:pt x="2912913" y="577119"/>
                  </a:lnTo>
                  <a:lnTo>
                    <a:pt x="2916017" y="577119"/>
                  </a:lnTo>
                  <a:lnTo>
                    <a:pt x="2920053" y="577119"/>
                  </a:lnTo>
                  <a:lnTo>
                    <a:pt x="2923158" y="574946"/>
                  </a:lnTo>
                  <a:lnTo>
                    <a:pt x="2925330" y="572773"/>
                  </a:lnTo>
                  <a:lnTo>
                    <a:pt x="2928435" y="567495"/>
                  </a:lnTo>
                  <a:lnTo>
                    <a:pt x="2930608" y="564390"/>
                  </a:lnTo>
                  <a:lnTo>
                    <a:pt x="2930608" y="562217"/>
                  </a:lnTo>
                  <a:lnTo>
                    <a:pt x="2928435" y="557871"/>
                  </a:lnTo>
                  <a:lnTo>
                    <a:pt x="2927503" y="556940"/>
                  </a:lnTo>
                  <a:lnTo>
                    <a:pt x="2925330" y="554767"/>
                  </a:lnTo>
                  <a:lnTo>
                    <a:pt x="2921295" y="552594"/>
                  </a:lnTo>
                  <a:lnTo>
                    <a:pt x="2923468" y="547316"/>
                  </a:lnTo>
                  <a:lnTo>
                    <a:pt x="2925641" y="542038"/>
                  </a:lnTo>
                  <a:lnTo>
                    <a:pt x="2927814" y="539865"/>
                  </a:lnTo>
                  <a:lnTo>
                    <a:pt x="2930919" y="535519"/>
                  </a:lnTo>
                  <a:lnTo>
                    <a:pt x="2933092" y="532415"/>
                  </a:lnTo>
                  <a:lnTo>
                    <a:pt x="2969414" y="532415"/>
                  </a:lnTo>
                  <a:lnTo>
                    <a:pt x="2965999" y="516271"/>
                  </a:lnTo>
                  <a:close/>
                  <a:moveTo>
                    <a:pt x="758729" y="1039993"/>
                  </a:moveTo>
                  <a:lnTo>
                    <a:pt x="776425" y="1034716"/>
                  </a:lnTo>
                  <a:lnTo>
                    <a:pt x="791016" y="1027265"/>
                  </a:lnTo>
                  <a:lnTo>
                    <a:pt x="791016" y="1030370"/>
                  </a:lnTo>
                  <a:lnTo>
                    <a:pt x="791016" y="1034716"/>
                  </a:lnTo>
                  <a:lnTo>
                    <a:pt x="791016" y="1039993"/>
                  </a:lnTo>
                  <a:lnTo>
                    <a:pt x="788843" y="1045271"/>
                  </a:lnTo>
                  <a:lnTo>
                    <a:pt x="785738" y="1050549"/>
                  </a:lnTo>
                  <a:lnTo>
                    <a:pt x="785738" y="1057999"/>
                  </a:lnTo>
                  <a:lnTo>
                    <a:pt x="774252" y="1057999"/>
                  </a:lnTo>
                  <a:lnTo>
                    <a:pt x="765870" y="1057068"/>
                  </a:lnTo>
                  <a:lnTo>
                    <a:pt x="758729" y="1054895"/>
                  </a:lnTo>
                  <a:lnTo>
                    <a:pt x="758729" y="1039993"/>
                  </a:lnTo>
                  <a:close/>
                  <a:moveTo>
                    <a:pt x="644175" y="1152064"/>
                  </a:moveTo>
                  <a:lnTo>
                    <a:pt x="645106" y="1151133"/>
                  </a:lnTo>
                  <a:lnTo>
                    <a:pt x="645106" y="1148960"/>
                  </a:lnTo>
                  <a:lnTo>
                    <a:pt x="647279" y="1148960"/>
                  </a:lnTo>
                  <a:lnTo>
                    <a:pt x="649453" y="1146787"/>
                  </a:lnTo>
                  <a:lnTo>
                    <a:pt x="651626" y="1144614"/>
                  </a:lnTo>
                  <a:lnTo>
                    <a:pt x="666217" y="1144614"/>
                  </a:lnTo>
                  <a:lnTo>
                    <a:pt x="662181" y="1148960"/>
                  </a:lnTo>
                  <a:lnTo>
                    <a:pt x="659076" y="1151133"/>
                  </a:lnTo>
                  <a:lnTo>
                    <a:pt x="655041" y="1152064"/>
                  </a:lnTo>
                  <a:lnTo>
                    <a:pt x="651936" y="1154238"/>
                  </a:lnTo>
                  <a:lnTo>
                    <a:pt x="645727" y="1156411"/>
                  </a:lnTo>
                  <a:lnTo>
                    <a:pt x="642623" y="1156411"/>
                  </a:lnTo>
                  <a:lnTo>
                    <a:pt x="644175" y="1152064"/>
                  </a:lnTo>
                  <a:close/>
                  <a:moveTo>
                    <a:pt x="765870" y="1265377"/>
                  </a:moveTo>
                  <a:lnTo>
                    <a:pt x="759661" y="1282452"/>
                  </a:lnTo>
                  <a:lnTo>
                    <a:pt x="752520" y="1300457"/>
                  </a:lnTo>
                  <a:lnTo>
                    <a:pt x="751589" y="1315359"/>
                  </a:lnTo>
                  <a:lnTo>
                    <a:pt x="737930" y="1319705"/>
                  </a:lnTo>
                  <a:lnTo>
                    <a:pt x="725512" y="1320636"/>
                  </a:lnTo>
                  <a:lnTo>
                    <a:pt x="714957" y="1315359"/>
                  </a:lnTo>
                  <a:lnTo>
                    <a:pt x="701297" y="1312254"/>
                  </a:lnTo>
                  <a:lnTo>
                    <a:pt x="696019" y="1312254"/>
                  </a:lnTo>
                  <a:lnTo>
                    <a:pt x="692915" y="1312254"/>
                  </a:lnTo>
                  <a:lnTo>
                    <a:pt x="688879" y="1313186"/>
                  </a:lnTo>
                  <a:lnTo>
                    <a:pt x="685775" y="1317532"/>
                  </a:lnTo>
                  <a:lnTo>
                    <a:pt x="683602" y="1319705"/>
                  </a:lnTo>
                  <a:lnTo>
                    <a:pt x="681428" y="1322810"/>
                  </a:lnTo>
                  <a:lnTo>
                    <a:pt x="678324" y="1324983"/>
                  </a:lnTo>
                  <a:lnTo>
                    <a:pt x="673046" y="1322810"/>
                  </a:lnTo>
                  <a:lnTo>
                    <a:pt x="661560" y="1320636"/>
                  </a:lnTo>
                  <a:lnTo>
                    <a:pt x="646969" y="1319705"/>
                  </a:lnTo>
                  <a:lnTo>
                    <a:pt x="632378" y="1315359"/>
                  </a:lnTo>
                  <a:lnTo>
                    <a:pt x="617787" y="1313186"/>
                  </a:lnTo>
                  <a:lnTo>
                    <a:pt x="610647" y="1312254"/>
                  </a:lnTo>
                  <a:lnTo>
                    <a:pt x="596056" y="1306046"/>
                  </a:lnTo>
                  <a:lnTo>
                    <a:pt x="581465" y="1298595"/>
                  </a:lnTo>
                  <a:lnTo>
                    <a:pt x="566874" y="1295490"/>
                  </a:lnTo>
                  <a:lnTo>
                    <a:pt x="551352" y="1298595"/>
                  </a:lnTo>
                  <a:lnTo>
                    <a:pt x="539865" y="1306046"/>
                  </a:lnTo>
                  <a:lnTo>
                    <a:pt x="536761" y="1315669"/>
                  </a:lnTo>
                  <a:lnTo>
                    <a:pt x="532725" y="1325293"/>
                  </a:lnTo>
                  <a:lnTo>
                    <a:pt x="530552" y="1335848"/>
                  </a:lnTo>
                  <a:lnTo>
                    <a:pt x="523411" y="1334917"/>
                  </a:lnTo>
                  <a:lnTo>
                    <a:pt x="510994" y="1330571"/>
                  </a:lnTo>
                  <a:lnTo>
                    <a:pt x="496403" y="1327466"/>
                  </a:lnTo>
                  <a:lnTo>
                    <a:pt x="485848" y="1323120"/>
                  </a:lnTo>
                  <a:lnTo>
                    <a:pt x="478707" y="1320016"/>
                  </a:lnTo>
                  <a:lnTo>
                    <a:pt x="474671" y="1305114"/>
                  </a:lnTo>
                  <a:lnTo>
                    <a:pt x="460081" y="1297664"/>
                  </a:lnTo>
                  <a:lnTo>
                    <a:pt x="445490" y="1295490"/>
                  </a:lnTo>
                  <a:lnTo>
                    <a:pt x="430899" y="1295490"/>
                  </a:lnTo>
                  <a:lnTo>
                    <a:pt x="418481" y="1291144"/>
                  </a:lnTo>
                  <a:lnTo>
                    <a:pt x="415376" y="1288040"/>
                  </a:lnTo>
                  <a:lnTo>
                    <a:pt x="413203" y="1285867"/>
                  </a:lnTo>
                  <a:lnTo>
                    <a:pt x="409167" y="1282762"/>
                  </a:lnTo>
                  <a:lnTo>
                    <a:pt x="408236" y="1278416"/>
                  </a:lnTo>
                  <a:lnTo>
                    <a:pt x="402027" y="1275311"/>
                  </a:lnTo>
                  <a:lnTo>
                    <a:pt x="406063" y="1256374"/>
                  </a:lnTo>
                  <a:lnTo>
                    <a:pt x="409167" y="1238368"/>
                  </a:lnTo>
                  <a:lnTo>
                    <a:pt x="415376" y="1221294"/>
                  </a:lnTo>
                  <a:lnTo>
                    <a:pt x="410720" y="1221294"/>
                  </a:lnTo>
                  <a:lnTo>
                    <a:pt x="401406" y="1219121"/>
                  </a:lnTo>
                  <a:lnTo>
                    <a:pt x="381538" y="1218189"/>
                  </a:lnTo>
                  <a:lnTo>
                    <a:pt x="358565" y="1218189"/>
                  </a:lnTo>
                  <a:lnTo>
                    <a:pt x="330314" y="1218189"/>
                  </a:lnTo>
                  <a:lnTo>
                    <a:pt x="305168" y="1219121"/>
                  </a:lnTo>
                  <a:lnTo>
                    <a:pt x="281264" y="1223467"/>
                  </a:lnTo>
                  <a:lnTo>
                    <a:pt x="265742" y="1226571"/>
                  </a:lnTo>
                  <a:lnTo>
                    <a:pt x="254255" y="1234022"/>
                  </a:lnTo>
                  <a:lnTo>
                    <a:pt x="239664" y="1243646"/>
                  </a:lnTo>
                  <a:lnTo>
                    <a:pt x="225073" y="1251097"/>
                  </a:lnTo>
                  <a:lnTo>
                    <a:pt x="174160" y="1243646"/>
                  </a:lnTo>
                  <a:lnTo>
                    <a:pt x="174160" y="1234022"/>
                  </a:lnTo>
                  <a:lnTo>
                    <a:pt x="180369" y="1233091"/>
                  </a:lnTo>
                  <a:lnTo>
                    <a:pt x="183473" y="1230918"/>
                  </a:lnTo>
                  <a:lnTo>
                    <a:pt x="187509" y="1228744"/>
                  </a:lnTo>
                  <a:lnTo>
                    <a:pt x="190614" y="1226571"/>
                  </a:lnTo>
                  <a:lnTo>
                    <a:pt x="192787" y="1226571"/>
                  </a:lnTo>
                  <a:lnTo>
                    <a:pt x="195891" y="1228744"/>
                  </a:lnTo>
                  <a:lnTo>
                    <a:pt x="199927" y="1230918"/>
                  </a:lnTo>
                  <a:lnTo>
                    <a:pt x="205205" y="1233091"/>
                  </a:lnTo>
                  <a:lnTo>
                    <a:pt x="208309" y="1233091"/>
                  </a:lnTo>
                  <a:lnTo>
                    <a:pt x="214518" y="1230918"/>
                  </a:lnTo>
                  <a:lnTo>
                    <a:pt x="219796" y="1225640"/>
                  </a:lnTo>
                  <a:lnTo>
                    <a:pt x="222900" y="1219431"/>
                  </a:lnTo>
                  <a:lnTo>
                    <a:pt x="226936" y="1216327"/>
                  </a:lnTo>
                  <a:lnTo>
                    <a:pt x="232213" y="1211980"/>
                  </a:lnTo>
                  <a:lnTo>
                    <a:pt x="244631" y="1211049"/>
                  </a:lnTo>
                  <a:lnTo>
                    <a:pt x="244631" y="1204840"/>
                  </a:lnTo>
                  <a:lnTo>
                    <a:pt x="244631" y="1202978"/>
                  </a:lnTo>
                  <a:lnTo>
                    <a:pt x="244631" y="1200804"/>
                  </a:lnTo>
                  <a:lnTo>
                    <a:pt x="244631" y="1196458"/>
                  </a:lnTo>
                  <a:lnTo>
                    <a:pt x="248667" y="1195527"/>
                  </a:lnTo>
                  <a:lnTo>
                    <a:pt x="250840" y="1193354"/>
                  </a:lnTo>
                  <a:lnTo>
                    <a:pt x="251771" y="1191181"/>
                  </a:lnTo>
                  <a:lnTo>
                    <a:pt x="253945" y="1191181"/>
                  </a:lnTo>
                  <a:lnTo>
                    <a:pt x="256118" y="1189007"/>
                  </a:lnTo>
                  <a:lnTo>
                    <a:pt x="261395" y="1189007"/>
                  </a:lnTo>
                  <a:lnTo>
                    <a:pt x="259222" y="1185903"/>
                  </a:lnTo>
                  <a:lnTo>
                    <a:pt x="256118" y="1181557"/>
                  </a:lnTo>
                  <a:lnTo>
                    <a:pt x="253945" y="1180625"/>
                  </a:lnTo>
                  <a:lnTo>
                    <a:pt x="251771" y="1178452"/>
                  </a:lnTo>
                  <a:lnTo>
                    <a:pt x="251771" y="1174106"/>
                  </a:lnTo>
                  <a:lnTo>
                    <a:pt x="253945" y="1173175"/>
                  </a:lnTo>
                  <a:lnTo>
                    <a:pt x="257980" y="1159515"/>
                  </a:lnTo>
                  <a:lnTo>
                    <a:pt x="263258" y="1148960"/>
                  </a:lnTo>
                  <a:lnTo>
                    <a:pt x="270398" y="1139336"/>
                  </a:lnTo>
                  <a:lnTo>
                    <a:pt x="290267" y="1139336"/>
                  </a:lnTo>
                  <a:lnTo>
                    <a:pt x="295544" y="1130954"/>
                  </a:lnTo>
                  <a:lnTo>
                    <a:pt x="297717" y="1119468"/>
                  </a:lnTo>
                  <a:lnTo>
                    <a:pt x="300822" y="1108912"/>
                  </a:lnTo>
                  <a:lnTo>
                    <a:pt x="310135" y="1101462"/>
                  </a:lnTo>
                  <a:lnTo>
                    <a:pt x="314171" y="1099289"/>
                  </a:lnTo>
                  <a:lnTo>
                    <a:pt x="315102" y="1099289"/>
                  </a:lnTo>
                  <a:lnTo>
                    <a:pt x="319138" y="1099289"/>
                  </a:lnTo>
                  <a:lnTo>
                    <a:pt x="321311" y="1101462"/>
                  </a:lnTo>
                  <a:lnTo>
                    <a:pt x="322243" y="1104566"/>
                  </a:lnTo>
                  <a:lnTo>
                    <a:pt x="324416" y="1108912"/>
                  </a:lnTo>
                  <a:lnTo>
                    <a:pt x="344284" y="1104566"/>
                  </a:lnTo>
                  <a:lnTo>
                    <a:pt x="361048" y="1094942"/>
                  </a:lnTo>
                  <a:lnTo>
                    <a:pt x="373466" y="1084387"/>
                  </a:lnTo>
                  <a:lnTo>
                    <a:pt x="388057" y="1089665"/>
                  </a:lnTo>
                  <a:lnTo>
                    <a:pt x="399544" y="1101151"/>
                  </a:lnTo>
                  <a:lnTo>
                    <a:pt x="406684" y="1113880"/>
                  </a:lnTo>
                  <a:lnTo>
                    <a:pt x="415066" y="1124435"/>
                  </a:lnTo>
                  <a:lnTo>
                    <a:pt x="424379" y="1135921"/>
                  </a:lnTo>
                  <a:lnTo>
                    <a:pt x="453561" y="1156100"/>
                  </a:lnTo>
                  <a:lnTo>
                    <a:pt x="480570" y="1176279"/>
                  </a:lnTo>
                  <a:lnTo>
                    <a:pt x="480570" y="1180625"/>
                  </a:lnTo>
                  <a:lnTo>
                    <a:pt x="480570" y="1183730"/>
                  </a:lnTo>
                  <a:lnTo>
                    <a:pt x="479639" y="1185903"/>
                  </a:lnTo>
                  <a:lnTo>
                    <a:pt x="479639" y="1188076"/>
                  </a:lnTo>
                  <a:lnTo>
                    <a:pt x="477466" y="1189007"/>
                  </a:lnTo>
                  <a:lnTo>
                    <a:pt x="470325" y="1196458"/>
                  </a:lnTo>
                  <a:lnTo>
                    <a:pt x="458839" y="1200804"/>
                  </a:lnTo>
                  <a:lnTo>
                    <a:pt x="444248" y="1202978"/>
                  </a:lnTo>
                  <a:lnTo>
                    <a:pt x="429657" y="1200804"/>
                  </a:lnTo>
                  <a:lnTo>
                    <a:pt x="435866" y="1213533"/>
                  </a:lnTo>
                  <a:lnTo>
                    <a:pt x="444248" y="1218810"/>
                  </a:lnTo>
                  <a:lnTo>
                    <a:pt x="455734" y="1223157"/>
                  </a:lnTo>
                  <a:lnTo>
                    <a:pt x="465048" y="1230607"/>
                  </a:lnTo>
                  <a:lnTo>
                    <a:pt x="473430" y="1230607"/>
                  </a:lnTo>
                  <a:lnTo>
                    <a:pt x="473430" y="1206082"/>
                  </a:lnTo>
                  <a:lnTo>
                    <a:pt x="484916" y="1206082"/>
                  </a:lnTo>
                  <a:lnTo>
                    <a:pt x="488021" y="1198631"/>
                  </a:lnTo>
                  <a:lnTo>
                    <a:pt x="492057" y="1193354"/>
                  </a:lnTo>
                  <a:lnTo>
                    <a:pt x="495161" y="1189007"/>
                  </a:lnTo>
                  <a:lnTo>
                    <a:pt x="500439" y="1185903"/>
                  </a:lnTo>
                  <a:lnTo>
                    <a:pt x="499507" y="1180625"/>
                  </a:lnTo>
                  <a:lnTo>
                    <a:pt x="497334" y="1176279"/>
                  </a:lnTo>
                  <a:lnTo>
                    <a:pt x="497334" y="1174106"/>
                  </a:lnTo>
                  <a:lnTo>
                    <a:pt x="495161" y="1171002"/>
                  </a:lnTo>
                  <a:lnTo>
                    <a:pt x="494230" y="1166655"/>
                  </a:lnTo>
                  <a:lnTo>
                    <a:pt x="494230" y="1161378"/>
                  </a:lnTo>
                  <a:lnTo>
                    <a:pt x="499507" y="1161378"/>
                  </a:lnTo>
                  <a:lnTo>
                    <a:pt x="504785" y="1163551"/>
                  </a:lnTo>
                  <a:lnTo>
                    <a:pt x="507889" y="1165724"/>
                  </a:lnTo>
                  <a:lnTo>
                    <a:pt x="510062" y="1165724"/>
                  </a:lnTo>
                  <a:lnTo>
                    <a:pt x="514098" y="1165724"/>
                  </a:lnTo>
                  <a:lnTo>
                    <a:pt x="517203" y="1165724"/>
                  </a:lnTo>
                  <a:lnTo>
                    <a:pt x="521238" y="1165724"/>
                  </a:lnTo>
                  <a:lnTo>
                    <a:pt x="521238" y="1161378"/>
                  </a:lnTo>
                  <a:lnTo>
                    <a:pt x="509752" y="1151754"/>
                  </a:lnTo>
                  <a:lnTo>
                    <a:pt x="499197" y="1144303"/>
                  </a:lnTo>
                  <a:lnTo>
                    <a:pt x="484606" y="1139026"/>
                  </a:lnTo>
                  <a:lnTo>
                    <a:pt x="484606" y="1128471"/>
                  </a:lnTo>
                  <a:lnTo>
                    <a:pt x="470015" y="1128471"/>
                  </a:lnTo>
                  <a:lnTo>
                    <a:pt x="457597" y="1109533"/>
                  </a:lnTo>
                  <a:lnTo>
                    <a:pt x="443937" y="1093701"/>
                  </a:lnTo>
                  <a:lnTo>
                    <a:pt x="429346" y="1078799"/>
                  </a:lnTo>
                  <a:lnTo>
                    <a:pt x="429346" y="1072590"/>
                  </a:lnTo>
                  <a:lnTo>
                    <a:pt x="429346" y="1069486"/>
                  </a:lnTo>
                  <a:lnTo>
                    <a:pt x="429346" y="1065140"/>
                  </a:lnTo>
                  <a:lnTo>
                    <a:pt x="429346" y="1064208"/>
                  </a:lnTo>
                  <a:lnTo>
                    <a:pt x="433382" y="1062035"/>
                  </a:lnTo>
                  <a:lnTo>
                    <a:pt x="436487" y="1057689"/>
                  </a:lnTo>
                  <a:lnTo>
                    <a:pt x="438660" y="1057689"/>
                  </a:lnTo>
                  <a:lnTo>
                    <a:pt x="438660" y="1056758"/>
                  </a:lnTo>
                  <a:lnTo>
                    <a:pt x="440833" y="1056758"/>
                  </a:lnTo>
                  <a:lnTo>
                    <a:pt x="443006" y="1056758"/>
                  </a:lnTo>
                  <a:lnTo>
                    <a:pt x="443937" y="1054584"/>
                  </a:lnTo>
                  <a:lnTo>
                    <a:pt x="446111" y="1057689"/>
                  </a:lnTo>
                  <a:lnTo>
                    <a:pt x="448284" y="1062035"/>
                  </a:lnTo>
                  <a:lnTo>
                    <a:pt x="448284" y="1065140"/>
                  </a:lnTo>
                  <a:lnTo>
                    <a:pt x="450457" y="1071349"/>
                  </a:lnTo>
                  <a:lnTo>
                    <a:pt x="465048" y="1067002"/>
                  </a:lnTo>
                  <a:lnTo>
                    <a:pt x="472188" y="1087181"/>
                  </a:lnTo>
                  <a:lnTo>
                    <a:pt x="479328" y="1098668"/>
                  </a:lnTo>
                  <a:lnTo>
                    <a:pt x="487710" y="1103945"/>
                  </a:lnTo>
                  <a:lnTo>
                    <a:pt x="497024" y="1106118"/>
                  </a:lnTo>
                  <a:lnTo>
                    <a:pt x="507579" y="1111396"/>
                  </a:lnTo>
                  <a:lnTo>
                    <a:pt x="521238" y="1121020"/>
                  </a:lnTo>
                  <a:lnTo>
                    <a:pt x="526516" y="1126297"/>
                  </a:lnTo>
                  <a:lnTo>
                    <a:pt x="526516" y="1133748"/>
                  </a:lnTo>
                  <a:lnTo>
                    <a:pt x="524343" y="1141199"/>
                  </a:lnTo>
                  <a:lnTo>
                    <a:pt x="522170" y="1150823"/>
                  </a:lnTo>
                  <a:lnTo>
                    <a:pt x="524343" y="1161378"/>
                  </a:lnTo>
                  <a:lnTo>
                    <a:pt x="528379" y="1165724"/>
                  </a:lnTo>
                  <a:lnTo>
                    <a:pt x="531483" y="1166655"/>
                  </a:lnTo>
                  <a:lnTo>
                    <a:pt x="536761" y="1171002"/>
                  </a:lnTo>
                  <a:lnTo>
                    <a:pt x="540797" y="1174106"/>
                  </a:lnTo>
                  <a:lnTo>
                    <a:pt x="543901" y="1176279"/>
                  </a:lnTo>
                  <a:lnTo>
                    <a:pt x="560665" y="1225951"/>
                  </a:lnTo>
                  <a:lnTo>
                    <a:pt x="564701" y="1225951"/>
                  </a:lnTo>
                  <a:lnTo>
                    <a:pt x="565632" y="1228124"/>
                  </a:lnTo>
                  <a:lnTo>
                    <a:pt x="567805" y="1228124"/>
                  </a:lnTo>
                  <a:lnTo>
                    <a:pt x="569978" y="1230297"/>
                  </a:lnTo>
                  <a:lnTo>
                    <a:pt x="575256" y="1228124"/>
                  </a:lnTo>
                  <a:lnTo>
                    <a:pt x="580534" y="1225951"/>
                  </a:lnTo>
                  <a:lnTo>
                    <a:pt x="582707" y="1225019"/>
                  </a:lnTo>
                  <a:lnTo>
                    <a:pt x="584880" y="1220673"/>
                  </a:lnTo>
                  <a:lnTo>
                    <a:pt x="584880" y="1218500"/>
                  </a:lnTo>
                  <a:lnTo>
                    <a:pt x="587053" y="1215395"/>
                  </a:lnTo>
                  <a:lnTo>
                    <a:pt x="587984" y="1211049"/>
                  </a:lnTo>
                  <a:lnTo>
                    <a:pt x="592020" y="1210118"/>
                  </a:lnTo>
                  <a:lnTo>
                    <a:pt x="597298" y="1205772"/>
                  </a:lnTo>
                  <a:lnTo>
                    <a:pt x="594193" y="1188697"/>
                  </a:lnTo>
                  <a:lnTo>
                    <a:pt x="587053" y="1172864"/>
                  </a:lnTo>
                  <a:lnTo>
                    <a:pt x="577740" y="1161378"/>
                  </a:lnTo>
                  <a:lnTo>
                    <a:pt x="577740" y="1156411"/>
                  </a:lnTo>
                  <a:lnTo>
                    <a:pt x="580844" y="1158584"/>
                  </a:lnTo>
                  <a:lnTo>
                    <a:pt x="580844" y="1159515"/>
                  </a:lnTo>
                  <a:lnTo>
                    <a:pt x="583017" y="1161688"/>
                  </a:lnTo>
                  <a:lnTo>
                    <a:pt x="585190" y="1166035"/>
                  </a:lnTo>
                  <a:lnTo>
                    <a:pt x="592331" y="1163861"/>
                  </a:lnTo>
                  <a:lnTo>
                    <a:pt x="595435" y="1163861"/>
                  </a:lnTo>
                  <a:lnTo>
                    <a:pt x="597608" y="1163861"/>
                  </a:lnTo>
                  <a:lnTo>
                    <a:pt x="599781" y="1161688"/>
                  </a:lnTo>
                  <a:lnTo>
                    <a:pt x="599781" y="1159515"/>
                  </a:lnTo>
                  <a:lnTo>
                    <a:pt x="599781" y="1158584"/>
                  </a:lnTo>
                  <a:lnTo>
                    <a:pt x="597608" y="1154238"/>
                  </a:lnTo>
                  <a:lnTo>
                    <a:pt x="597608" y="1148960"/>
                  </a:lnTo>
                  <a:lnTo>
                    <a:pt x="600713" y="1148960"/>
                  </a:lnTo>
                  <a:lnTo>
                    <a:pt x="600713" y="1144614"/>
                  </a:lnTo>
                  <a:lnTo>
                    <a:pt x="604748" y="1144614"/>
                  </a:lnTo>
                  <a:lnTo>
                    <a:pt x="607853" y="1144614"/>
                  </a:lnTo>
                  <a:lnTo>
                    <a:pt x="610026" y="1146787"/>
                  </a:lnTo>
                  <a:lnTo>
                    <a:pt x="612199" y="1146787"/>
                  </a:lnTo>
                  <a:lnTo>
                    <a:pt x="614372" y="1148960"/>
                  </a:lnTo>
                  <a:lnTo>
                    <a:pt x="619650" y="1151133"/>
                  </a:lnTo>
                  <a:lnTo>
                    <a:pt x="622754" y="1152064"/>
                  </a:lnTo>
                  <a:lnTo>
                    <a:pt x="624927" y="1154238"/>
                  </a:lnTo>
                  <a:lnTo>
                    <a:pt x="627100" y="1156411"/>
                  </a:lnTo>
                  <a:lnTo>
                    <a:pt x="630205" y="1158584"/>
                  </a:lnTo>
                  <a:lnTo>
                    <a:pt x="634241" y="1161688"/>
                  </a:lnTo>
                  <a:lnTo>
                    <a:pt x="632068" y="1166966"/>
                  </a:lnTo>
                  <a:lnTo>
                    <a:pt x="629894" y="1171312"/>
                  </a:lnTo>
                  <a:lnTo>
                    <a:pt x="629894" y="1174416"/>
                  </a:lnTo>
                  <a:lnTo>
                    <a:pt x="629894" y="1178763"/>
                  </a:lnTo>
                  <a:lnTo>
                    <a:pt x="629894" y="1181867"/>
                  </a:lnTo>
                  <a:lnTo>
                    <a:pt x="629894" y="1186213"/>
                  </a:lnTo>
                  <a:lnTo>
                    <a:pt x="629894" y="1189318"/>
                  </a:lnTo>
                  <a:lnTo>
                    <a:pt x="636103" y="1206392"/>
                  </a:lnTo>
                  <a:lnTo>
                    <a:pt x="648521" y="1223467"/>
                  </a:lnTo>
                  <a:lnTo>
                    <a:pt x="665285" y="1234022"/>
                  </a:lnTo>
                  <a:lnTo>
                    <a:pt x="680808" y="1238368"/>
                  </a:lnTo>
                  <a:lnTo>
                    <a:pt x="684843" y="1236195"/>
                  </a:lnTo>
                  <a:lnTo>
                    <a:pt x="687948" y="1233091"/>
                  </a:lnTo>
                  <a:lnTo>
                    <a:pt x="690121" y="1228744"/>
                  </a:lnTo>
                  <a:lnTo>
                    <a:pt x="695399" y="1226571"/>
                  </a:lnTo>
                  <a:lnTo>
                    <a:pt x="699434" y="1225640"/>
                  </a:lnTo>
                  <a:lnTo>
                    <a:pt x="704712" y="1226571"/>
                  </a:lnTo>
                  <a:lnTo>
                    <a:pt x="714025" y="1230918"/>
                  </a:lnTo>
                  <a:lnTo>
                    <a:pt x="721165" y="1234022"/>
                  </a:lnTo>
                  <a:lnTo>
                    <a:pt x="728306" y="1236195"/>
                  </a:lnTo>
                  <a:lnTo>
                    <a:pt x="735446" y="1234022"/>
                  </a:lnTo>
                  <a:lnTo>
                    <a:pt x="743828" y="1226571"/>
                  </a:lnTo>
                  <a:lnTo>
                    <a:pt x="750968" y="1226571"/>
                  </a:lnTo>
                  <a:lnTo>
                    <a:pt x="755004" y="1226571"/>
                  </a:lnTo>
                  <a:lnTo>
                    <a:pt x="758109" y="1226571"/>
                  </a:lnTo>
                  <a:lnTo>
                    <a:pt x="760282" y="1228744"/>
                  </a:lnTo>
                  <a:lnTo>
                    <a:pt x="762455" y="1230918"/>
                  </a:lnTo>
                  <a:lnTo>
                    <a:pt x="762455" y="1234022"/>
                  </a:lnTo>
                  <a:lnTo>
                    <a:pt x="764628" y="1238368"/>
                  </a:lnTo>
                  <a:lnTo>
                    <a:pt x="767732" y="1251097"/>
                  </a:lnTo>
                  <a:lnTo>
                    <a:pt x="765870" y="1265377"/>
                  </a:lnTo>
                  <a:close/>
                  <a:moveTo>
                    <a:pt x="845033" y="1136232"/>
                  </a:moveTo>
                  <a:lnTo>
                    <a:pt x="825165" y="1141509"/>
                  </a:lnTo>
                  <a:lnTo>
                    <a:pt x="803434" y="1143682"/>
                  </a:lnTo>
                  <a:lnTo>
                    <a:pt x="781702" y="1139336"/>
                  </a:lnTo>
                  <a:lnTo>
                    <a:pt x="773320" y="1136232"/>
                  </a:lnTo>
                  <a:lnTo>
                    <a:pt x="766180" y="1130954"/>
                  </a:lnTo>
                  <a:lnTo>
                    <a:pt x="756867" y="1124745"/>
                  </a:lnTo>
                  <a:lnTo>
                    <a:pt x="742276" y="1124745"/>
                  </a:lnTo>
                  <a:lnTo>
                    <a:pt x="727685" y="1126918"/>
                  </a:lnTo>
                  <a:lnTo>
                    <a:pt x="713094" y="1134369"/>
                  </a:lnTo>
                  <a:lnTo>
                    <a:pt x="700676" y="1139647"/>
                  </a:lnTo>
                  <a:lnTo>
                    <a:pt x="686085" y="1141820"/>
                  </a:lnTo>
                  <a:lnTo>
                    <a:pt x="671494" y="1136542"/>
                  </a:lnTo>
                  <a:lnTo>
                    <a:pt x="666217" y="1134369"/>
                  </a:lnTo>
                  <a:lnTo>
                    <a:pt x="662181" y="1132196"/>
                  </a:lnTo>
                  <a:lnTo>
                    <a:pt x="659076" y="1131265"/>
                  </a:lnTo>
                  <a:lnTo>
                    <a:pt x="656903" y="1126918"/>
                  </a:lnTo>
                  <a:lnTo>
                    <a:pt x="656903" y="1123814"/>
                  </a:lnTo>
                  <a:lnTo>
                    <a:pt x="654730" y="1116363"/>
                  </a:lnTo>
                  <a:lnTo>
                    <a:pt x="654730" y="1110154"/>
                  </a:lnTo>
                  <a:lnTo>
                    <a:pt x="658766" y="1099599"/>
                  </a:lnTo>
                  <a:lnTo>
                    <a:pt x="665906" y="1086871"/>
                  </a:lnTo>
                  <a:lnTo>
                    <a:pt x="674288" y="1071969"/>
                  </a:lnTo>
                  <a:lnTo>
                    <a:pt x="683602" y="1057068"/>
                  </a:lnTo>
                  <a:lnTo>
                    <a:pt x="690742" y="1043408"/>
                  </a:lnTo>
                  <a:lnTo>
                    <a:pt x="694778" y="1035026"/>
                  </a:lnTo>
                  <a:lnTo>
                    <a:pt x="703160" y="1037199"/>
                  </a:lnTo>
                  <a:lnTo>
                    <a:pt x="710300" y="1040304"/>
                  </a:lnTo>
                  <a:lnTo>
                    <a:pt x="715578" y="1042477"/>
                  </a:lnTo>
                  <a:lnTo>
                    <a:pt x="721786" y="1047755"/>
                  </a:lnTo>
                  <a:lnTo>
                    <a:pt x="724891" y="1049928"/>
                  </a:lnTo>
                  <a:lnTo>
                    <a:pt x="727064" y="1049928"/>
                  </a:lnTo>
                  <a:lnTo>
                    <a:pt x="729237" y="1049928"/>
                  </a:lnTo>
                  <a:lnTo>
                    <a:pt x="730168" y="1050859"/>
                  </a:lnTo>
                  <a:lnTo>
                    <a:pt x="717751" y="1055205"/>
                  </a:lnTo>
                  <a:lnTo>
                    <a:pt x="721786" y="1064829"/>
                  </a:lnTo>
                  <a:lnTo>
                    <a:pt x="728927" y="1072280"/>
                  </a:lnTo>
                  <a:lnTo>
                    <a:pt x="734204" y="1079731"/>
                  </a:lnTo>
                  <a:lnTo>
                    <a:pt x="743518" y="1080662"/>
                  </a:lnTo>
                  <a:lnTo>
                    <a:pt x="755935" y="1075384"/>
                  </a:lnTo>
                  <a:lnTo>
                    <a:pt x="765249" y="1067934"/>
                  </a:lnTo>
                  <a:lnTo>
                    <a:pt x="780771" y="1073211"/>
                  </a:lnTo>
                  <a:lnTo>
                    <a:pt x="800640" y="1084698"/>
                  </a:lnTo>
                  <a:lnTo>
                    <a:pt x="821439" y="1097426"/>
                  </a:lnTo>
                  <a:lnTo>
                    <a:pt x="836030" y="1110154"/>
                  </a:lnTo>
                  <a:lnTo>
                    <a:pt x="844413" y="1125056"/>
                  </a:lnTo>
                  <a:lnTo>
                    <a:pt x="850621" y="1125056"/>
                  </a:lnTo>
                  <a:lnTo>
                    <a:pt x="845033" y="1136232"/>
                  </a:lnTo>
                  <a:close/>
                  <a:moveTo>
                    <a:pt x="1025402" y="1146787"/>
                  </a:moveTo>
                  <a:lnTo>
                    <a:pt x="1022298" y="1146787"/>
                  </a:lnTo>
                  <a:lnTo>
                    <a:pt x="1018262" y="1146787"/>
                  </a:lnTo>
                  <a:lnTo>
                    <a:pt x="1015157" y="1146787"/>
                  </a:lnTo>
                  <a:lnTo>
                    <a:pt x="1011122" y="1144614"/>
                  </a:lnTo>
                  <a:lnTo>
                    <a:pt x="1008949" y="1161688"/>
                  </a:lnTo>
                  <a:lnTo>
                    <a:pt x="1011122" y="1173175"/>
                  </a:lnTo>
                  <a:lnTo>
                    <a:pt x="1016399" y="1183730"/>
                  </a:lnTo>
                  <a:lnTo>
                    <a:pt x="1020435" y="1196458"/>
                  </a:lnTo>
                  <a:lnTo>
                    <a:pt x="1022608" y="1217569"/>
                  </a:lnTo>
                  <a:lnTo>
                    <a:pt x="995600" y="1218500"/>
                  </a:lnTo>
                  <a:lnTo>
                    <a:pt x="976973" y="1215395"/>
                  </a:lnTo>
                  <a:lnTo>
                    <a:pt x="966418" y="1205772"/>
                  </a:lnTo>
                  <a:lnTo>
                    <a:pt x="962382" y="1188697"/>
                  </a:lnTo>
                  <a:lnTo>
                    <a:pt x="962382" y="1165414"/>
                  </a:lnTo>
                  <a:lnTo>
                    <a:pt x="974800" y="1165414"/>
                  </a:lnTo>
                  <a:lnTo>
                    <a:pt x="967660" y="1151754"/>
                  </a:lnTo>
                  <a:lnTo>
                    <a:pt x="955242" y="1138094"/>
                  </a:lnTo>
                  <a:lnTo>
                    <a:pt x="944686" y="1121020"/>
                  </a:lnTo>
                  <a:lnTo>
                    <a:pt x="933200" y="1103945"/>
                  </a:lnTo>
                  <a:lnTo>
                    <a:pt x="927922" y="1086871"/>
                  </a:lnTo>
                  <a:lnTo>
                    <a:pt x="931027" y="1071038"/>
                  </a:lnTo>
                  <a:lnTo>
                    <a:pt x="938167" y="1059552"/>
                  </a:lnTo>
                  <a:lnTo>
                    <a:pt x="949653" y="1049928"/>
                  </a:lnTo>
                  <a:lnTo>
                    <a:pt x="962071" y="1044650"/>
                  </a:lnTo>
                  <a:lnTo>
                    <a:pt x="974489" y="1039373"/>
                  </a:lnTo>
                  <a:lnTo>
                    <a:pt x="985976" y="1029749"/>
                  </a:lnTo>
                  <a:lnTo>
                    <a:pt x="995289" y="1029749"/>
                  </a:lnTo>
                  <a:lnTo>
                    <a:pt x="1000567" y="1031922"/>
                  </a:lnTo>
                  <a:lnTo>
                    <a:pt x="1005844" y="1031922"/>
                  </a:lnTo>
                  <a:lnTo>
                    <a:pt x="1011122" y="1034095"/>
                  </a:lnTo>
                  <a:lnTo>
                    <a:pt x="1008017" y="1049928"/>
                  </a:lnTo>
                  <a:lnTo>
                    <a:pt x="1000877" y="1063587"/>
                  </a:lnTo>
                  <a:lnTo>
                    <a:pt x="986286" y="1068865"/>
                  </a:lnTo>
                  <a:lnTo>
                    <a:pt x="966418" y="1071038"/>
                  </a:lnTo>
                  <a:lnTo>
                    <a:pt x="973558" y="1086871"/>
                  </a:lnTo>
                  <a:lnTo>
                    <a:pt x="985976" y="1101772"/>
                  </a:lnTo>
                  <a:lnTo>
                    <a:pt x="1001498" y="1111396"/>
                  </a:lnTo>
                  <a:lnTo>
                    <a:pt x="1000567" y="1115742"/>
                  </a:lnTo>
                  <a:lnTo>
                    <a:pt x="998394" y="1116674"/>
                  </a:lnTo>
                  <a:lnTo>
                    <a:pt x="996220" y="1116674"/>
                  </a:lnTo>
                  <a:lnTo>
                    <a:pt x="995289" y="1121020"/>
                  </a:lnTo>
                  <a:lnTo>
                    <a:pt x="1000567" y="1130644"/>
                  </a:lnTo>
                  <a:lnTo>
                    <a:pt x="1005844" y="1139026"/>
                  </a:lnTo>
                  <a:lnTo>
                    <a:pt x="1008017" y="1143372"/>
                  </a:lnTo>
                  <a:lnTo>
                    <a:pt x="1008949" y="1144303"/>
                  </a:lnTo>
                  <a:lnTo>
                    <a:pt x="1011122" y="1143372"/>
                  </a:lnTo>
                  <a:lnTo>
                    <a:pt x="1011122" y="1141199"/>
                  </a:lnTo>
                  <a:lnTo>
                    <a:pt x="1013295" y="1138094"/>
                  </a:lnTo>
                  <a:lnTo>
                    <a:pt x="1013295" y="1133748"/>
                  </a:lnTo>
                  <a:lnTo>
                    <a:pt x="1015468" y="1131575"/>
                  </a:lnTo>
                  <a:lnTo>
                    <a:pt x="1018573" y="1133748"/>
                  </a:lnTo>
                  <a:lnTo>
                    <a:pt x="1022608" y="1138094"/>
                  </a:lnTo>
                  <a:lnTo>
                    <a:pt x="1023540" y="1139026"/>
                  </a:lnTo>
                  <a:lnTo>
                    <a:pt x="1027575" y="1141199"/>
                  </a:lnTo>
                  <a:lnTo>
                    <a:pt x="1030680" y="1144303"/>
                  </a:lnTo>
                  <a:lnTo>
                    <a:pt x="1025402" y="1146787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8404360E-8955-474D-AD1F-DCB96F5BA649}"/>
                </a:ext>
              </a:extLst>
            </p:cNvPr>
            <p:cNvSpPr/>
            <p:nvPr/>
          </p:nvSpPr>
          <p:spPr>
            <a:xfrm>
              <a:off x="3690211" y="4196454"/>
              <a:ext cx="74507" cy="99343"/>
            </a:xfrm>
            <a:custGeom>
              <a:avLst/>
              <a:gdLst>
                <a:gd name="connsiteX0" fmla="*/ 60226 w 74506"/>
                <a:gd name="connsiteY0" fmla="*/ 0 h 99342"/>
                <a:gd name="connsiteX1" fmla="*/ 43462 w 74506"/>
                <a:gd name="connsiteY1" fmla="*/ 0 h 99342"/>
                <a:gd name="connsiteX2" fmla="*/ 23904 w 74506"/>
                <a:gd name="connsiteY2" fmla="*/ 2173 h 99342"/>
                <a:gd name="connsiteX3" fmla="*/ 4036 w 74506"/>
                <a:gd name="connsiteY3" fmla="*/ 4346 h 99342"/>
                <a:gd name="connsiteX4" fmla="*/ 4967 w 74506"/>
                <a:gd name="connsiteY4" fmla="*/ 11797 h 99342"/>
                <a:gd name="connsiteX5" fmla="*/ 7140 w 74506"/>
                <a:gd name="connsiteY5" fmla="*/ 14901 h 99342"/>
                <a:gd name="connsiteX6" fmla="*/ 11176 w 74506"/>
                <a:gd name="connsiteY6" fmla="*/ 19248 h 99342"/>
                <a:gd name="connsiteX7" fmla="*/ 14281 w 74506"/>
                <a:gd name="connsiteY7" fmla="*/ 20179 h 99342"/>
                <a:gd name="connsiteX8" fmla="*/ 18627 w 74506"/>
                <a:gd name="connsiteY8" fmla="*/ 22352 h 99342"/>
                <a:gd name="connsiteX9" fmla="*/ 23904 w 74506"/>
                <a:gd name="connsiteY9" fmla="*/ 24525 h 99342"/>
                <a:gd name="connsiteX10" fmla="*/ 18627 w 74506"/>
                <a:gd name="connsiteY10" fmla="*/ 31976 h 99342"/>
                <a:gd name="connsiteX11" fmla="*/ 11176 w 74506"/>
                <a:gd name="connsiteY11" fmla="*/ 37253 h 99342"/>
                <a:gd name="connsiteX12" fmla="*/ 4036 w 74506"/>
                <a:gd name="connsiteY12" fmla="*/ 40358 h 99342"/>
                <a:gd name="connsiteX13" fmla="*/ 0 w 74506"/>
                <a:gd name="connsiteY13" fmla="*/ 74197 h 99342"/>
                <a:gd name="connsiteX14" fmla="*/ 23904 w 74506"/>
                <a:gd name="connsiteY14" fmla="*/ 77301 h 99342"/>
                <a:gd name="connsiteX15" fmla="*/ 23904 w 74506"/>
                <a:gd name="connsiteY15" fmla="*/ 89098 h 99342"/>
                <a:gd name="connsiteX16" fmla="*/ 31045 w 74506"/>
                <a:gd name="connsiteY16" fmla="*/ 92202 h 99342"/>
                <a:gd name="connsiteX17" fmla="*/ 38495 w 74506"/>
                <a:gd name="connsiteY17" fmla="*/ 98411 h 99342"/>
                <a:gd name="connsiteX18" fmla="*/ 43462 w 74506"/>
                <a:gd name="connsiteY18" fmla="*/ 101826 h 99342"/>
                <a:gd name="connsiteX19" fmla="*/ 48740 w 74506"/>
                <a:gd name="connsiteY19" fmla="*/ 99653 h 99342"/>
                <a:gd name="connsiteX20" fmla="*/ 50913 w 74506"/>
                <a:gd name="connsiteY20" fmla="*/ 96549 h 99342"/>
                <a:gd name="connsiteX21" fmla="*/ 53086 w 74506"/>
                <a:gd name="connsiteY21" fmla="*/ 94376 h 99342"/>
                <a:gd name="connsiteX22" fmla="*/ 53086 w 74506"/>
                <a:gd name="connsiteY22" fmla="*/ 92202 h 99342"/>
                <a:gd name="connsiteX23" fmla="*/ 53086 w 74506"/>
                <a:gd name="connsiteY23" fmla="*/ 89098 h 99342"/>
                <a:gd name="connsiteX24" fmla="*/ 53086 w 74506"/>
                <a:gd name="connsiteY24" fmla="*/ 84752 h 99342"/>
                <a:gd name="connsiteX25" fmla="*/ 56191 w 74506"/>
                <a:gd name="connsiteY25" fmla="*/ 81647 h 99342"/>
                <a:gd name="connsiteX26" fmla="*/ 67677 w 74506"/>
                <a:gd name="connsiteY26" fmla="*/ 84752 h 99342"/>
                <a:gd name="connsiteX27" fmla="*/ 72644 w 74506"/>
                <a:gd name="connsiteY27" fmla="*/ 77301 h 99342"/>
                <a:gd name="connsiteX28" fmla="*/ 76991 w 74506"/>
                <a:gd name="connsiteY28" fmla="*/ 77301 h 99342"/>
                <a:gd name="connsiteX29" fmla="*/ 69540 w 74506"/>
                <a:gd name="connsiteY29" fmla="*/ 37253 h 99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74506" h="99342">
                  <a:moveTo>
                    <a:pt x="60226" y="0"/>
                  </a:moveTo>
                  <a:lnTo>
                    <a:pt x="43462" y="0"/>
                  </a:lnTo>
                  <a:lnTo>
                    <a:pt x="23904" y="2173"/>
                  </a:lnTo>
                  <a:lnTo>
                    <a:pt x="4036" y="4346"/>
                  </a:lnTo>
                  <a:lnTo>
                    <a:pt x="4967" y="11797"/>
                  </a:lnTo>
                  <a:lnTo>
                    <a:pt x="7140" y="14901"/>
                  </a:lnTo>
                  <a:lnTo>
                    <a:pt x="11176" y="19248"/>
                  </a:lnTo>
                  <a:lnTo>
                    <a:pt x="14281" y="20179"/>
                  </a:lnTo>
                  <a:lnTo>
                    <a:pt x="18627" y="22352"/>
                  </a:lnTo>
                  <a:lnTo>
                    <a:pt x="23904" y="24525"/>
                  </a:lnTo>
                  <a:lnTo>
                    <a:pt x="18627" y="31976"/>
                  </a:lnTo>
                  <a:lnTo>
                    <a:pt x="11176" y="37253"/>
                  </a:lnTo>
                  <a:lnTo>
                    <a:pt x="4036" y="40358"/>
                  </a:lnTo>
                  <a:lnTo>
                    <a:pt x="0" y="74197"/>
                  </a:lnTo>
                  <a:lnTo>
                    <a:pt x="23904" y="77301"/>
                  </a:lnTo>
                  <a:lnTo>
                    <a:pt x="23904" y="89098"/>
                  </a:lnTo>
                  <a:lnTo>
                    <a:pt x="31045" y="92202"/>
                  </a:lnTo>
                  <a:lnTo>
                    <a:pt x="38495" y="98411"/>
                  </a:lnTo>
                  <a:lnTo>
                    <a:pt x="43462" y="101826"/>
                  </a:lnTo>
                  <a:lnTo>
                    <a:pt x="48740" y="99653"/>
                  </a:lnTo>
                  <a:lnTo>
                    <a:pt x="50913" y="96549"/>
                  </a:lnTo>
                  <a:lnTo>
                    <a:pt x="53086" y="94376"/>
                  </a:lnTo>
                  <a:lnTo>
                    <a:pt x="53086" y="92202"/>
                  </a:lnTo>
                  <a:lnTo>
                    <a:pt x="53086" y="89098"/>
                  </a:lnTo>
                  <a:lnTo>
                    <a:pt x="53086" y="84752"/>
                  </a:lnTo>
                  <a:lnTo>
                    <a:pt x="56191" y="81647"/>
                  </a:lnTo>
                  <a:lnTo>
                    <a:pt x="67677" y="84752"/>
                  </a:lnTo>
                  <a:lnTo>
                    <a:pt x="72644" y="77301"/>
                  </a:lnTo>
                  <a:lnTo>
                    <a:pt x="76991" y="77301"/>
                  </a:lnTo>
                  <a:lnTo>
                    <a:pt x="69540" y="37253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E02F5C76-8E90-4D95-88E6-964BAE54B0FA}"/>
                </a:ext>
              </a:extLst>
            </p:cNvPr>
            <p:cNvSpPr/>
            <p:nvPr/>
          </p:nvSpPr>
          <p:spPr>
            <a:xfrm>
              <a:off x="3753542" y="4135296"/>
              <a:ext cx="40358" cy="34149"/>
            </a:xfrm>
            <a:custGeom>
              <a:avLst/>
              <a:gdLst>
                <a:gd name="connsiteX0" fmla="*/ 22042 w 40357"/>
                <a:gd name="connsiteY0" fmla="*/ 36012 h 34149"/>
                <a:gd name="connsiteX1" fmla="*/ 27009 w 40357"/>
                <a:gd name="connsiteY1" fmla="*/ 31665 h 34149"/>
                <a:gd name="connsiteX2" fmla="*/ 31355 w 40357"/>
                <a:gd name="connsiteY2" fmla="*/ 29492 h 34149"/>
                <a:gd name="connsiteX3" fmla="*/ 34460 w 40357"/>
                <a:gd name="connsiteY3" fmla="*/ 28561 h 34149"/>
                <a:gd name="connsiteX4" fmla="*/ 40668 w 40357"/>
                <a:gd name="connsiteY4" fmla="*/ 24215 h 34149"/>
                <a:gd name="connsiteX5" fmla="*/ 36633 w 40357"/>
                <a:gd name="connsiteY5" fmla="*/ 0 h 34149"/>
                <a:gd name="connsiteX6" fmla="*/ 23904 w 40357"/>
                <a:gd name="connsiteY6" fmla="*/ 2173 h 34149"/>
                <a:gd name="connsiteX7" fmla="*/ 16764 w 40357"/>
                <a:gd name="connsiteY7" fmla="*/ 6209 h 34149"/>
                <a:gd name="connsiteX8" fmla="*/ 9313 w 40357"/>
                <a:gd name="connsiteY8" fmla="*/ 11486 h 34149"/>
                <a:gd name="connsiteX9" fmla="*/ 0 w 40357"/>
                <a:gd name="connsiteY9" fmla="*/ 16764 h 34149"/>
                <a:gd name="connsiteX10" fmla="*/ 0 w 40357"/>
                <a:gd name="connsiteY10" fmla="*/ 24215 h 34149"/>
                <a:gd name="connsiteX11" fmla="*/ 2173 w 40357"/>
                <a:gd name="connsiteY11" fmla="*/ 26388 h 34149"/>
                <a:gd name="connsiteX12" fmla="*/ 2173 w 40357"/>
                <a:gd name="connsiteY12" fmla="*/ 28561 h 34149"/>
                <a:gd name="connsiteX13" fmla="*/ 4346 w 40357"/>
                <a:gd name="connsiteY13" fmla="*/ 28561 h 34149"/>
                <a:gd name="connsiteX14" fmla="*/ 4346 w 40357"/>
                <a:gd name="connsiteY14" fmla="*/ 29492 h 34149"/>
                <a:gd name="connsiteX15" fmla="*/ 4346 w 40357"/>
                <a:gd name="connsiteY15" fmla="*/ 33839 h 34149"/>
                <a:gd name="connsiteX16" fmla="*/ 9313 w 40357"/>
                <a:gd name="connsiteY16" fmla="*/ 33839 h 34149"/>
                <a:gd name="connsiteX17" fmla="*/ 11487 w 40357"/>
                <a:gd name="connsiteY17" fmla="*/ 33839 h 34149"/>
                <a:gd name="connsiteX18" fmla="*/ 13660 w 40357"/>
                <a:gd name="connsiteY18" fmla="*/ 36012 h 34149"/>
                <a:gd name="connsiteX19" fmla="*/ 14591 w 40357"/>
                <a:gd name="connsiteY19" fmla="*/ 36012 h 34149"/>
                <a:gd name="connsiteX20" fmla="*/ 16764 w 40357"/>
                <a:gd name="connsiteY20" fmla="*/ 36943 h 3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0357" h="34149">
                  <a:moveTo>
                    <a:pt x="22042" y="36012"/>
                  </a:moveTo>
                  <a:lnTo>
                    <a:pt x="27009" y="31665"/>
                  </a:lnTo>
                  <a:lnTo>
                    <a:pt x="31355" y="29492"/>
                  </a:lnTo>
                  <a:lnTo>
                    <a:pt x="34460" y="28561"/>
                  </a:lnTo>
                  <a:lnTo>
                    <a:pt x="40668" y="24215"/>
                  </a:lnTo>
                  <a:lnTo>
                    <a:pt x="36633" y="0"/>
                  </a:lnTo>
                  <a:lnTo>
                    <a:pt x="23904" y="2173"/>
                  </a:lnTo>
                  <a:lnTo>
                    <a:pt x="16764" y="6209"/>
                  </a:lnTo>
                  <a:lnTo>
                    <a:pt x="9313" y="11486"/>
                  </a:lnTo>
                  <a:lnTo>
                    <a:pt x="0" y="16764"/>
                  </a:lnTo>
                  <a:lnTo>
                    <a:pt x="0" y="24215"/>
                  </a:lnTo>
                  <a:lnTo>
                    <a:pt x="2173" y="26388"/>
                  </a:lnTo>
                  <a:lnTo>
                    <a:pt x="2173" y="28561"/>
                  </a:lnTo>
                  <a:lnTo>
                    <a:pt x="4346" y="28561"/>
                  </a:lnTo>
                  <a:lnTo>
                    <a:pt x="4346" y="29492"/>
                  </a:lnTo>
                  <a:lnTo>
                    <a:pt x="4346" y="33839"/>
                  </a:lnTo>
                  <a:lnTo>
                    <a:pt x="9313" y="33839"/>
                  </a:lnTo>
                  <a:lnTo>
                    <a:pt x="11487" y="33839"/>
                  </a:lnTo>
                  <a:lnTo>
                    <a:pt x="13660" y="36012"/>
                  </a:lnTo>
                  <a:lnTo>
                    <a:pt x="14591" y="36012"/>
                  </a:lnTo>
                  <a:lnTo>
                    <a:pt x="16764" y="36943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84AB0986-AFEC-4AEE-AE1D-1F1DBF4D24EB}"/>
                </a:ext>
              </a:extLst>
            </p:cNvPr>
            <p:cNvSpPr/>
            <p:nvPr/>
          </p:nvSpPr>
          <p:spPr>
            <a:xfrm>
              <a:off x="3770306" y="4179690"/>
              <a:ext cx="55880" cy="96238"/>
            </a:xfrm>
            <a:custGeom>
              <a:avLst/>
              <a:gdLst>
                <a:gd name="connsiteX0" fmla="*/ 54018 w 55880"/>
                <a:gd name="connsiteY0" fmla="*/ 13660 h 96238"/>
                <a:gd name="connsiteX1" fmla="*/ 53086 w 55880"/>
                <a:gd name="connsiteY1" fmla="*/ 9624 h 96238"/>
                <a:gd name="connsiteX2" fmla="*/ 43773 w 55880"/>
                <a:gd name="connsiteY2" fmla="*/ 6209 h 96238"/>
                <a:gd name="connsiteX3" fmla="*/ 31045 w 55880"/>
                <a:gd name="connsiteY3" fmla="*/ 4346 h 96238"/>
                <a:gd name="connsiteX4" fmla="*/ 16454 w 55880"/>
                <a:gd name="connsiteY4" fmla="*/ 2173 h 96238"/>
                <a:gd name="connsiteX5" fmla="*/ 3104 w 55880"/>
                <a:gd name="connsiteY5" fmla="*/ 0 h 96238"/>
                <a:gd name="connsiteX6" fmla="*/ 0 w 55880"/>
                <a:gd name="connsiteY6" fmla="*/ 16764 h 96238"/>
                <a:gd name="connsiteX7" fmla="*/ 2173 w 55880"/>
                <a:gd name="connsiteY7" fmla="*/ 31665 h 96238"/>
                <a:gd name="connsiteX8" fmla="*/ 3104 w 55880"/>
                <a:gd name="connsiteY8" fmla="*/ 48740 h 96238"/>
                <a:gd name="connsiteX9" fmla="*/ 7140 w 55880"/>
                <a:gd name="connsiteY9" fmla="*/ 63331 h 96238"/>
                <a:gd name="connsiteX10" fmla="*/ 7140 w 55880"/>
                <a:gd name="connsiteY10" fmla="*/ 76059 h 96238"/>
                <a:gd name="connsiteX11" fmla="*/ 3104 w 55880"/>
                <a:gd name="connsiteY11" fmla="*/ 86614 h 96238"/>
                <a:gd name="connsiteX12" fmla="*/ 7140 w 55880"/>
                <a:gd name="connsiteY12" fmla="*/ 98411 h 96238"/>
                <a:gd name="connsiteX13" fmla="*/ 14591 w 55880"/>
                <a:gd name="connsiteY13" fmla="*/ 98411 h 96238"/>
                <a:gd name="connsiteX14" fmla="*/ 19869 w 55880"/>
                <a:gd name="connsiteY14" fmla="*/ 98411 h 96238"/>
                <a:gd name="connsiteX15" fmla="*/ 23904 w 55880"/>
                <a:gd name="connsiteY15" fmla="*/ 96238 h 96238"/>
                <a:gd name="connsiteX16" fmla="*/ 27009 w 55880"/>
                <a:gd name="connsiteY16" fmla="*/ 94065 h 96238"/>
                <a:gd name="connsiteX17" fmla="*/ 31045 w 55880"/>
                <a:gd name="connsiteY17" fmla="*/ 88788 h 96238"/>
                <a:gd name="connsiteX18" fmla="*/ 32286 w 55880"/>
                <a:gd name="connsiteY18" fmla="*/ 81337 h 96238"/>
                <a:gd name="connsiteX19" fmla="*/ 34460 w 55880"/>
                <a:gd name="connsiteY19" fmla="*/ 70782 h 96238"/>
                <a:gd name="connsiteX20" fmla="*/ 32286 w 55880"/>
                <a:gd name="connsiteY20" fmla="*/ 61468 h 96238"/>
                <a:gd name="connsiteX21" fmla="*/ 34460 w 55880"/>
                <a:gd name="connsiteY21" fmla="*/ 57122 h 96238"/>
                <a:gd name="connsiteX22" fmla="*/ 38495 w 55880"/>
                <a:gd name="connsiteY22" fmla="*/ 56191 h 96238"/>
                <a:gd name="connsiteX23" fmla="*/ 39427 w 55880"/>
                <a:gd name="connsiteY23" fmla="*/ 54018 h 96238"/>
                <a:gd name="connsiteX24" fmla="*/ 43773 w 55880"/>
                <a:gd name="connsiteY24" fmla="*/ 51844 h 96238"/>
                <a:gd name="connsiteX25" fmla="*/ 46877 w 55880"/>
                <a:gd name="connsiteY25" fmla="*/ 49671 h 96238"/>
                <a:gd name="connsiteX26" fmla="*/ 50913 w 55880"/>
                <a:gd name="connsiteY26" fmla="*/ 46567 h 96238"/>
                <a:gd name="connsiteX27" fmla="*/ 53086 w 55880"/>
                <a:gd name="connsiteY27" fmla="*/ 41289 h 96238"/>
                <a:gd name="connsiteX28" fmla="*/ 54018 w 55880"/>
                <a:gd name="connsiteY28" fmla="*/ 36943 h 96238"/>
                <a:gd name="connsiteX29" fmla="*/ 56191 w 55880"/>
                <a:gd name="connsiteY29" fmla="*/ 33839 h 96238"/>
                <a:gd name="connsiteX30" fmla="*/ 56191 w 55880"/>
                <a:gd name="connsiteY30" fmla="*/ 26388 h 96238"/>
                <a:gd name="connsiteX31" fmla="*/ 54018 w 55880"/>
                <a:gd name="connsiteY31" fmla="*/ 18937 h 96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5880" h="96238">
                  <a:moveTo>
                    <a:pt x="54018" y="13660"/>
                  </a:moveTo>
                  <a:lnTo>
                    <a:pt x="53086" y="9624"/>
                  </a:lnTo>
                  <a:lnTo>
                    <a:pt x="43773" y="6209"/>
                  </a:lnTo>
                  <a:lnTo>
                    <a:pt x="31045" y="4346"/>
                  </a:lnTo>
                  <a:lnTo>
                    <a:pt x="16454" y="2173"/>
                  </a:lnTo>
                  <a:lnTo>
                    <a:pt x="3104" y="0"/>
                  </a:lnTo>
                  <a:lnTo>
                    <a:pt x="0" y="16764"/>
                  </a:lnTo>
                  <a:lnTo>
                    <a:pt x="2173" y="31665"/>
                  </a:lnTo>
                  <a:lnTo>
                    <a:pt x="3104" y="48740"/>
                  </a:lnTo>
                  <a:lnTo>
                    <a:pt x="7140" y="63331"/>
                  </a:lnTo>
                  <a:lnTo>
                    <a:pt x="7140" y="76059"/>
                  </a:lnTo>
                  <a:lnTo>
                    <a:pt x="3104" y="86614"/>
                  </a:lnTo>
                  <a:lnTo>
                    <a:pt x="7140" y="98411"/>
                  </a:lnTo>
                  <a:lnTo>
                    <a:pt x="14591" y="98411"/>
                  </a:lnTo>
                  <a:lnTo>
                    <a:pt x="19869" y="98411"/>
                  </a:lnTo>
                  <a:lnTo>
                    <a:pt x="23904" y="96238"/>
                  </a:lnTo>
                  <a:lnTo>
                    <a:pt x="27009" y="94065"/>
                  </a:lnTo>
                  <a:lnTo>
                    <a:pt x="31045" y="88788"/>
                  </a:lnTo>
                  <a:lnTo>
                    <a:pt x="32286" y="81337"/>
                  </a:lnTo>
                  <a:lnTo>
                    <a:pt x="34460" y="70782"/>
                  </a:lnTo>
                  <a:lnTo>
                    <a:pt x="32286" y="61468"/>
                  </a:lnTo>
                  <a:lnTo>
                    <a:pt x="34460" y="57122"/>
                  </a:lnTo>
                  <a:lnTo>
                    <a:pt x="38495" y="56191"/>
                  </a:lnTo>
                  <a:lnTo>
                    <a:pt x="39427" y="54018"/>
                  </a:lnTo>
                  <a:lnTo>
                    <a:pt x="43773" y="51844"/>
                  </a:lnTo>
                  <a:lnTo>
                    <a:pt x="46877" y="49671"/>
                  </a:lnTo>
                  <a:lnTo>
                    <a:pt x="50913" y="46567"/>
                  </a:lnTo>
                  <a:lnTo>
                    <a:pt x="53086" y="41289"/>
                  </a:lnTo>
                  <a:lnTo>
                    <a:pt x="54018" y="36943"/>
                  </a:lnTo>
                  <a:lnTo>
                    <a:pt x="56191" y="33839"/>
                  </a:lnTo>
                  <a:lnTo>
                    <a:pt x="56191" y="26388"/>
                  </a:lnTo>
                  <a:lnTo>
                    <a:pt x="54018" y="18937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540F634D-2E97-45BD-8E8C-EDC8B3B8E941}"/>
                </a:ext>
              </a:extLst>
            </p:cNvPr>
            <p:cNvSpPr/>
            <p:nvPr/>
          </p:nvSpPr>
          <p:spPr>
            <a:xfrm>
              <a:off x="3630606" y="4070724"/>
              <a:ext cx="21731" cy="27940"/>
            </a:xfrm>
            <a:custGeom>
              <a:avLst/>
              <a:gdLst>
                <a:gd name="connsiteX0" fmla="*/ 22973 w 21731"/>
                <a:gd name="connsiteY0" fmla="*/ 28561 h 27940"/>
                <a:gd name="connsiteX1" fmla="*/ 22042 w 21731"/>
                <a:gd name="connsiteY1" fmla="*/ 21110 h 27940"/>
                <a:gd name="connsiteX2" fmla="*/ 17695 w 21731"/>
                <a:gd name="connsiteY2" fmla="*/ 13660 h 27940"/>
                <a:gd name="connsiteX3" fmla="*/ 14591 w 21731"/>
                <a:gd name="connsiteY3" fmla="*/ 7451 h 27940"/>
                <a:gd name="connsiteX4" fmla="*/ 7451 w 21731"/>
                <a:gd name="connsiteY4" fmla="*/ 4346 h 27940"/>
                <a:gd name="connsiteX5" fmla="*/ 0 w 21731"/>
                <a:gd name="connsiteY5" fmla="*/ 0 h 27940"/>
                <a:gd name="connsiteX6" fmla="*/ 1242 w 21731"/>
                <a:gd name="connsiteY6" fmla="*/ 7451 h 27940"/>
                <a:gd name="connsiteX7" fmla="*/ 3104 w 21731"/>
                <a:gd name="connsiteY7" fmla="*/ 13660 h 27940"/>
                <a:gd name="connsiteX8" fmla="*/ 5278 w 21731"/>
                <a:gd name="connsiteY8" fmla="*/ 16764 h 27940"/>
                <a:gd name="connsiteX9" fmla="*/ 7451 w 21731"/>
                <a:gd name="connsiteY9" fmla="*/ 21110 h 27940"/>
                <a:gd name="connsiteX10" fmla="*/ 12728 w 21731"/>
                <a:gd name="connsiteY10" fmla="*/ 24215 h 27940"/>
                <a:gd name="connsiteX11" fmla="*/ 12728 w 21731"/>
                <a:gd name="connsiteY11" fmla="*/ 28561 h 27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731" h="27940">
                  <a:moveTo>
                    <a:pt x="22973" y="28561"/>
                  </a:moveTo>
                  <a:lnTo>
                    <a:pt x="22042" y="21110"/>
                  </a:lnTo>
                  <a:lnTo>
                    <a:pt x="17695" y="13660"/>
                  </a:lnTo>
                  <a:lnTo>
                    <a:pt x="14591" y="7451"/>
                  </a:lnTo>
                  <a:lnTo>
                    <a:pt x="7451" y="4346"/>
                  </a:lnTo>
                  <a:lnTo>
                    <a:pt x="0" y="0"/>
                  </a:lnTo>
                  <a:lnTo>
                    <a:pt x="1242" y="7451"/>
                  </a:lnTo>
                  <a:lnTo>
                    <a:pt x="3104" y="13660"/>
                  </a:lnTo>
                  <a:lnTo>
                    <a:pt x="5278" y="16764"/>
                  </a:lnTo>
                  <a:lnTo>
                    <a:pt x="7451" y="21110"/>
                  </a:lnTo>
                  <a:lnTo>
                    <a:pt x="12728" y="24215"/>
                  </a:lnTo>
                  <a:lnTo>
                    <a:pt x="12728" y="28561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7CBC733F-D6BA-4342-94FF-F2CDBA387D76}"/>
                </a:ext>
              </a:extLst>
            </p:cNvPr>
            <p:cNvSpPr/>
            <p:nvPr/>
          </p:nvSpPr>
          <p:spPr>
            <a:xfrm>
              <a:off x="3646438" y="4107667"/>
              <a:ext cx="86925" cy="68298"/>
            </a:xfrm>
            <a:custGeom>
              <a:avLst/>
              <a:gdLst>
                <a:gd name="connsiteX0" fmla="*/ 50913 w 86924"/>
                <a:gd name="connsiteY0" fmla="*/ 44394 h 68298"/>
                <a:gd name="connsiteX1" fmla="*/ 54949 w 86924"/>
                <a:gd name="connsiteY1" fmla="*/ 48740 h 68298"/>
                <a:gd name="connsiteX2" fmla="*/ 54949 w 86924"/>
                <a:gd name="connsiteY2" fmla="*/ 51844 h 68298"/>
                <a:gd name="connsiteX3" fmla="*/ 54949 w 86924"/>
                <a:gd name="connsiteY3" fmla="*/ 57122 h 68298"/>
                <a:gd name="connsiteX4" fmla="*/ 56191 w 86924"/>
                <a:gd name="connsiteY4" fmla="*/ 61468 h 68298"/>
                <a:gd name="connsiteX5" fmla="*/ 60226 w 86924"/>
                <a:gd name="connsiteY5" fmla="*/ 64573 h 68298"/>
                <a:gd name="connsiteX6" fmla="*/ 62400 w 86924"/>
                <a:gd name="connsiteY6" fmla="*/ 66746 h 68298"/>
                <a:gd name="connsiteX7" fmla="*/ 63331 w 86924"/>
                <a:gd name="connsiteY7" fmla="*/ 66746 h 68298"/>
                <a:gd name="connsiteX8" fmla="*/ 63331 w 86924"/>
                <a:gd name="connsiteY8" fmla="*/ 68919 h 68298"/>
                <a:gd name="connsiteX9" fmla="*/ 67677 w 86924"/>
                <a:gd name="connsiteY9" fmla="*/ 68919 h 68298"/>
                <a:gd name="connsiteX10" fmla="*/ 70782 w 86924"/>
                <a:gd name="connsiteY10" fmla="*/ 64573 h 68298"/>
                <a:gd name="connsiteX11" fmla="*/ 74817 w 86924"/>
                <a:gd name="connsiteY11" fmla="*/ 63641 h 68298"/>
                <a:gd name="connsiteX12" fmla="*/ 80095 w 86924"/>
                <a:gd name="connsiteY12" fmla="*/ 61468 h 68298"/>
                <a:gd name="connsiteX13" fmla="*/ 82268 w 86924"/>
                <a:gd name="connsiteY13" fmla="*/ 48740 h 68298"/>
                <a:gd name="connsiteX14" fmla="*/ 84131 w 86924"/>
                <a:gd name="connsiteY14" fmla="*/ 31665 h 68298"/>
                <a:gd name="connsiteX15" fmla="*/ 87235 w 86924"/>
                <a:gd name="connsiteY15" fmla="*/ 20179 h 68298"/>
                <a:gd name="connsiteX16" fmla="*/ 87235 w 86924"/>
                <a:gd name="connsiteY16" fmla="*/ 14901 h 68298"/>
                <a:gd name="connsiteX17" fmla="*/ 87235 w 86924"/>
                <a:gd name="connsiteY17" fmla="*/ 9624 h 68298"/>
                <a:gd name="connsiteX18" fmla="*/ 85373 w 86924"/>
                <a:gd name="connsiteY18" fmla="*/ 7451 h 68298"/>
                <a:gd name="connsiteX19" fmla="*/ 84131 w 86924"/>
                <a:gd name="connsiteY19" fmla="*/ 4346 h 68298"/>
                <a:gd name="connsiteX20" fmla="*/ 82268 w 86924"/>
                <a:gd name="connsiteY20" fmla="*/ 2173 h 68298"/>
                <a:gd name="connsiteX21" fmla="*/ 80095 w 86924"/>
                <a:gd name="connsiteY21" fmla="*/ 2173 h 68298"/>
                <a:gd name="connsiteX22" fmla="*/ 77922 w 86924"/>
                <a:gd name="connsiteY22" fmla="*/ 0 h 68298"/>
                <a:gd name="connsiteX23" fmla="*/ 76991 w 86924"/>
                <a:gd name="connsiteY23" fmla="*/ 0 h 68298"/>
                <a:gd name="connsiteX24" fmla="*/ 70782 w 86924"/>
                <a:gd name="connsiteY24" fmla="*/ 0 h 68298"/>
                <a:gd name="connsiteX25" fmla="*/ 70782 w 86924"/>
                <a:gd name="connsiteY25" fmla="*/ 11797 h 68298"/>
                <a:gd name="connsiteX26" fmla="*/ 58053 w 86924"/>
                <a:gd name="connsiteY26" fmla="*/ 11797 h 68298"/>
                <a:gd name="connsiteX27" fmla="*/ 43773 w 86924"/>
                <a:gd name="connsiteY27" fmla="*/ 13970 h 68298"/>
                <a:gd name="connsiteX28" fmla="*/ 31045 w 86924"/>
                <a:gd name="connsiteY28" fmla="*/ 14901 h 68298"/>
                <a:gd name="connsiteX29" fmla="*/ 20800 w 86924"/>
                <a:gd name="connsiteY29" fmla="*/ 11797 h 68298"/>
                <a:gd name="connsiteX30" fmla="*/ 14591 w 86924"/>
                <a:gd name="connsiteY30" fmla="*/ 13970 h 68298"/>
                <a:gd name="connsiteX31" fmla="*/ 11487 w 86924"/>
                <a:gd name="connsiteY31" fmla="*/ 13970 h 68298"/>
                <a:gd name="connsiteX32" fmla="*/ 9313 w 86924"/>
                <a:gd name="connsiteY32" fmla="*/ 13970 h 68298"/>
                <a:gd name="connsiteX33" fmla="*/ 7140 w 86924"/>
                <a:gd name="connsiteY33" fmla="*/ 13970 h 68298"/>
                <a:gd name="connsiteX34" fmla="*/ 7140 w 86924"/>
                <a:gd name="connsiteY34" fmla="*/ 14901 h 68298"/>
                <a:gd name="connsiteX35" fmla="*/ 6209 w 86924"/>
                <a:gd name="connsiteY35" fmla="*/ 17075 h 68298"/>
                <a:gd name="connsiteX36" fmla="*/ 4036 w 86924"/>
                <a:gd name="connsiteY36" fmla="*/ 20179 h 68298"/>
                <a:gd name="connsiteX37" fmla="*/ 0 w 86924"/>
                <a:gd name="connsiteY37" fmla="*/ 20179 h 68298"/>
                <a:gd name="connsiteX38" fmla="*/ 7140 w 86924"/>
                <a:gd name="connsiteY38" fmla="*/ 31665 h 68298"/>
                <a:gd name="connsiteX39" fmla="*/ 16454 w 86924"/>
                <a:gd name="connsiteY39" fmla="*/ 36943 h 68298"/>
                <a:gd name="connsiteX40" fmla="*/ 26077 w 86924"/>
                <a:gd name="connsiteY40" fmla="*/ 39116 h 68298"/>
                <a:gd name="connsiteX41" fmla="*/ 34149 w 86924"/>
                <a:gd name="connsiteY41" fmla="*/ 36943 h 68298"/>
                <a:gd name="connsiteX42" fmla="*/ 43773 w 86924"/>
                <a:gd name="connsiteY42" fmla="*/ 39116 h 68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86924" h="68298">
                  <a:moveTo>
                    <a:pt x="50913" y="44394"/>
                  </a:moveTo>
                  <a:lnTo>
                    <a:pt x="54949" y="48740"/>
                  </a:lnTo>
                  <a:lnTo>
                    <a:pt x="54949" y="51844"/>
                  </a:lnTo>
                  <a:lnTo>
                    <a:pt x="54949" y="57122"/>
                  </a:lnTo>
                  <a:lnTo>
                    <a:pt x="56191" y="61468"/>
                  </a:lnTo>
                  <a:lnTo>
                    <a:pt x="60226" y="64573"/>
                  </a:lnTo>
                  <a:lnTo>
                    <a:pt x="62400" y="66746"/>
                  </a:lnTo>
                  <a:lnTo>
                    <a:pt x="63331" y="66746"/>
                  </a:lnTo>
                  <a:lnTo>
                    <a:pt x="63331" y="68919"/>
                  </a:lnTo>
                  <a:lnTo>
                    <a:pt x="67677" y="68919"/>
                  </a:lnTo>
                  <a:lnTo>
                    <a:pt x="70782" y="64573"/>
                  </a:lnTo>
                  <a:lnTo>
                    <a:pt x="74817" y="63641"/>
                  </a:lnTo>
                  <a:lnTo>
                    <a:pt x="80095" y="61468"/>
                  </a:lnTo>
                  <a:lnTo>
                    <a:pt x="82268" y="48740"/>
                  </a:lnTo>
                  <a:lnTo>
                    <a:pt x="84131" y="31665"/>
                  </a:lnTo>
                  <a:lnTo>
                    <a:pt x="87235" y="20179"/>
                  </a:lnTo>
                  <a:lnTo>
                    <a:pt x="87235" y="14901"/>
                  </a:lnTo>
                  <a:lnTo>
                    <a:pt x="87235" y="9624"/>
                  </a:lnTo>
                  <a:lnTo>
                    <a:pt x="85373" y="7451"/>
                  </a:lnTo>
                  <a:lnTo>
                    <a:pt x="84131" y="4346"/>
                  </a:lnTo>
                  <a:lnTo>
                    <a:pt x="82268" y="2173"/>
                  </a:lnTo>
                  <a:lnTo>
                    <a:pt x="80095" y="2173"/>
                  </a:lnTo>
                  <a:lnTo>
                    <a:pt x="77922" y="0"/>
                  </a:lnTo>
                  <a:lnTo>
                    <a:pt x="76991" y="0"/>
                  </a:lnTo>
                  <a:lnTo>
                    <a:pt x="70782" y="0"/>
                  </a:lnTo>
                  <a:lnTo>
                    <a:pt x="70782" y="11797"/>
                  </a:lnTo>
                  <a:lnTo>
                    <a:pt x="58053" y="11797"/>
                  </a:lnTo>
                  <a:lnTo>
                    <a:pt x="43773" y="13970"/>
                  </a:lnTo>
                  <a:lnTo>
                    <a:pt x="31045" y="14901"/>
                  </a:lnTo>
                  <a:lnTo>
                    <a:pt x="20800" y="11797"/>
                  </a:lnTo>
                  <a:lnTo>
                    <a:pt x="14591" y="13970"/>
                  </a:lnTo>
                  <a:lnTo>
                    <a:pt x="11487" y="13970"/>
                  </a:lnTo>
                  <a:lnTo>
                    <a:pt x="9313" y="13970"/>
                  </a:lnTo>
                  <a:lnTo>
                    <a:pt x="7140" y="13970"/>
                  </a:lnTo>
                  <a:lnTo>
                    <a:pt x="7140" y="14901"/>
                  </a:lnTo>
                  <a:lnTo>
                    <a:pt x="6209" y="17075"/>
                  </a:lnTo>
                  <a:lnTo>
                    <a:pt x="4036" y="20179"/>
                  </a:lnTo>
                  <a:lnTo>
                    <a:pt x="0" y="20179"/>
                  </a:lnTo>
                  <a:lnTo>
                    <a:pt x="7140" y="31665"/>
                  </a:lnTo>
                  <a:lnTo>
                    <a:pt x="16454" y="36943"/>
                  </a:lnTo>
                  <a:lnTo>
                    <a:pt x="26077" y="39116"/>
                  </a:lnTo>
                  <a:lnTo>
                    <a:pt x="34149" y="36943"/>
                  </a:lnTo>
                  <a:lnTo>
                    <a:pt x="43773" y="39116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0FA9BACD-C9C0-4026-8BA7-F0F9A271713F}"/>
                </a:ext>
              </a:extLst>
            </p:cNvPr>
            <p:cNvSpPr/>
            <p:nvPr/>
          </p:nvSpPr>
          <p:spPr>
            <a:xfrm>
              <a:off x="3750438" y="4075070"/>
              <a:ext cx="235939" cy="102447"/>
            </a:xfrm>
            <a:custGeom>
              <a:avLst/>
              <a:gdLst>
                <a:gd name="connsiteX0" fmla="*/ 97790 w 235938"/>
                <a:gd name="connsiteY0" fmla="*/ 86614 h 102447"/>
                <a:gd name="connsiteX1" fmla="*/ 97790 w 235938"/>
                <a:gd name="connsiteY1" fmla="*/ 88787 h 102447"/>
                <a:gd name="connsiteX2" fmla="*/ 97790 w 235938"/>
                <a:gd name="connsiteY2" fmla="*/ 89719 h 102447"/>
                <a:gd name="connsiteX3" fmla="*/ 99964 w 235938"/>
                <a:gd name="connsiteY3" fmla="*/ 91892 h 102447"/>
                <a:gd name="connsiteX4" fmla="*/ 103068 w 235938"/>
                <a:gd name="connsiteY4" fmla="*/ 94065 h 102447"/>
                <a:gd name="connsiteX5" fmla="*/ 107414 w 235938"/>
                <a:gd name="connsiteY5" fmla="*/ 96238 h 102447"/>
                <a:gd name="connsiteX6" fmla="*/ 110519 w 235938"/>
                <a:gd name="connsiteY6" fmla="*/ 96238 h 102447"/>
                <a:gd name="connsiteX7" fmla="*/ 112381 w 235938"/>
                <a:gd name="connsiteY7" fmla="*/ 94065 h 102447"/>
                <a:gd name="connsiteX8" fmla="*/ 114554 w 235938"/>
                <a:gd name="connsiteY8" fmla="*/ 89719 h 102447"/>
                <a:gd name="connsiteX9" fmla="*/ 116728 w 235938"/>
                <a:gd name="connsiteY9" fmla="*/ 84441 h 102447"/>
                <a:gd name="connsiteX10" fmla="*/ 119832 w 235938"/>
                <a:gd name="connsiteY10" fmla="*/ 91892 h 102447"/>
                <a:gd name="connsiteX11" fmla="*/ 122937 w 235938"/>
                <a:gd name="connsiteY11" fmla="*/ 99343 h 102447"/>
                <a:gd name="connsiteX12" fmla="*/ 126972 w 235938"/>
                <a:gd name="connsiteY12" fmla="*/ 104620 h 102447"/>
                <a:gd name="connsiteX13" fmla="*/ 136596 w 235938"/>
                <a:gd name="connsiteY13" fmla="*/ 104620 h 102447"/>
                <a:gd name="connsiteX14" fmla="*/ 137527 w 235938"/>
                <a:gd name="connsiteY14" fmla="*/ 101516 h 102447"/>
                <a:gd name="connsiteX15" fmla="*/ 139701 w 235938"/>
                <a:gd name="connsiteY15" fmla="*/ 97170 h 102447"/>
                <a:gd name="connsiteX16" fmla="*/ 143736 w 235938"/>
                <a:gd name="connsiteY16" fmla="*/ 94065 h 102447"/>
                <a:gd name="connsiteX17" fmla="*/ 143736 w 235938"/>
                <a:gd name="connsiteY17" fmla="*/ 89719 h 102447"/>
                <a:gd name="connsiteX18" fmla="*/ 146841 w 235938"/>
                <a:gd name="connsiteY18" fmla="*/ 94065 h 102447"/>
                <a:gd name="connsiteX19" fmla="*/ 149014 w 235938"/>
                <a:gd name="connsiteY19" fmla="*/ 99343 h 102447"/>
                <a:gd name="connsiteX20" fmla="*/ 152118 w 235938"/>
                <a:gd name="connsiteY20" fmla="*/ 104620 h 102447"/>
                <a:gd name="connsiteX21" fmla="*/ 158327 w 235938"/>
                <a:gd name="connsiteY21" fmla="*/ 104620 h 102447"/>
                <a:gd name="connsiteX22" fmla="*/ 163605 w 235938"/>
                <a:gd name="connsiteY22" fmla="*/ 104620 h 102447"/>
                <a:gd name="connsiteX23" fmla="*/ 166709 w 235938"/>
                <a:gd name="connsiteY23" fmla="*/ 103689 h 102447"/>
                <a:gd name="connsiteX24" fmla="*/ 172918 w 235938"/>
                <a:gd name="connsiteY24" fmla="*/ 101516 h 102447"/>
                <a:gd name="connsiteX25" fmla="*/ 178196 w 235938"/>
                <a:gd name="connsiteY25" fmla="*/ 101516 h 102447"/>
                <a:gd name="connsiteX26" fmla="*/ 183163 w 235938"/>
                <a:gd name="connsiteY26" fmla="*/ 99343 h 102447"/>
                <a:gd name="connsiteX27" fmla="*/ 185336 w 235938"/>
                <a:gd name="connsiteY27" fmla="*/ 97170 h 102447"/>
                <a:gd name="connsiteX28" fmla="*/ 188441 w 235938"/>
                <a:gd name="connsiteY28" fmla="*/ 97170 h 102447"/>
                <a:gd name="connsiteX29" fmla="*/ 190614 w 235938"/>
                <a:gd name="connsiteY29" fmla="*/ 96238 h 102447"/>
                <a:gd name="connsiteX30" fmla="*/ 192787 w 235938"/>
                <a:gd name="connsiteY30" fmla="*/ 91892 h 102447"/>
                <a:gd name="connsiteX31" fmla="*/ 195891 w 235938"/>
                <a:gd name="connsiteY31" fmla="*/ 89719 h 102447"/>
                <a:gd name="connsiteX32" fmla="*/ 199927 w 235938"/>
                <a:gd name="connsiteY32" fmla="*/ 89719 h 102447"/>
                <a:gd name="connsiteX33" fmla="*/ 209240 w 235938"/>
                <a:gd name="connsiteY33" fmla="*/ 91892 h 102447"/>
                <a:gd name="connsiteX34" fmla="*/ 221969 w 235938"/>
                <a:gd name="connsiteY34" fmla="*/ 94065 h 102447"/>
                <a:gd name="connsiteX35" fmla="*/ 232213 w 235938"/>
                <a:gd name="connsiteY35" fmla="*/ 94065 h 102447"/>
                <a:gd name="connsiteX36" fmla="*/ 236560 w 235938"/>
                <a:gd name="connsiteY36" fmla="*/ 81337 h 102447"/>
                <a:gd name="connsiteX37" fmla="*/ 236560 w 235938"/>
                <a:gd name="connsiteY37" fmla="*/ 76991 h 102447"/>
                <a:gd name="connsiteX38" fmla="*/ 236560 w 235938"/>
                <a:gd name="connsiteY38" fmla="*/ 73886 h 102447"/>
                <a:gd name="connsiteX39" fmla="*/ 236560 w 235938"/>
                <a:gd name="connsiteY39" fmla="*/ 71713 h 102447"/>
                <a:gd name="connsiteX40" fmla="*/ 234387 w 235938"/>
                <a:gd name="connsiteY40" fmla="*/ 67677 h 102447"/>
                <a:gd name="connsiteX41" fmla="*/ 232213 w 235938"/>
                <a:gd name="connsiteY41" fmla="*/ 62400 h 102447"/>
                <a:gd name="connsiteX42" fmla="*/ 232213 w 235938"/>
                <a:gd name="connsiteY42" fmla="*/ 57122 h 102447"/>
                <a:gd name="connsiteX43" fmla="*/ 209240 w 235938"/>
                <a:gd name="connsiteY43" fmla="*/ 54949 h 102447"/>
                <a:gd name="connsiteX44" fmla="*/ 181300 w 235938"/>
                <a:gd name="connsiteY44" fmla="*/ 57122 h 102447"/>
                <a:gd name="connsiteX45" fmla="*/ 156154 w 235938"/>
                <a:gd name="connsiteY45" fmla="*/ 57122 h 102447"/>
                <a:gd name="connsiteX46" fmla="*/ 130077 w 235938"/>
                <a:gd name="connsiteY46" fmla="*/ 57122 h 102447"/>
                <a:gd name="connsiteX47" fmla="*/ 107414 w 235938"/>
                <a:gd name="connsiteY47" fmla="*/ 51844 h 102447"/>
                <a:gd name="connsiteX48" fmla="*/ 87546 w 235938"/>
                <a:gd name="connsiteY48" fmla="*/ 40047 h 102447"/>
                <a:gd name="connsiteX49" fmla="*/ 87546 w 235938"/>
                <a:gd name="connsiteY49" fmla="*/ 36943 h 102447"/>
                <a:gd name="connsiteX50" fmla="*/ 87546 w 235938"/>
                <a:gd name="connsiteY50" fmla="*/ 31665 h 102447"/>
                <a:gd name="connsiteX51" fmla="*/ 87546 w 235938"/>
                <a:gd name="connsiteY51" fmla="*/ 27319 h 102447"/>
                <a:gd name="connsiteX52" fmla="*/ 85373 w 235938"/>
                <a:gd name="connsiteY52" fmla="*/ 22042 h 102447"/>
                <a:gd name="connsiteX53" fmla="*/ 83199 w 235938"/>
                <a:gd name="connsiteY53" fmla="*/ 16764 h 102447"/>
                <a:gd name="connsiteX54" fmla="*/ 83199 w 235938"/>
                <a:gd name="connsiteY54" fmla="*/ 12418 h 102447"/>
                <a:gd name="connsiteX55" fmla="*/ 65504 w 235938"/>
                <a:gd name="connsiteY55" fmla="*/ 14591 h 102447"/>
                <a:gd name="connsiteX56" fmla="*/ 54328 w 235938"/>
                <a:gd name="connsiteY56" fmla="*/ 14591 h 102447"/>
                <a:gd name="connsiteX57" fmla="*/ 46877 w 235938"/>
                <a:gd name="connsiteY57" fmla="*/ 10555 h 102447"/>
                <a:gd name="connsiteX58" fmla="*/ 43773 w 235938"/>
                <a:gd name="connsiteY58" fmla="*/ 0 h 102447"/>
                <a:gd name="connsiteX59" fmla="*/ 37564 w 235938"/>
                <a:gd name="connsiteY59" fmla="*/ 0 h 102447"/>
                <a:gd name="connsiteX60" fmla="*/ 34460 w 235938"/>
                <a:gd name="connsiteY60" fmla="*/ 1863 h 102447"/>
                <a:gd name="connsiteX61" fmla="*/ 30113 w 235938"/>
                <a:gd name="connsiteY61" fmla="*/ 1863 h 102447"/>
                <a:gd name="connsiteX62" fmla="*/ 27009 w 235938"/>
                <a:gd name="connsiteY62" fmla="*/ 3104 h 102447"/>
                <a:gd name="connsiteX63" fmla="*/ 16764 w 235938"/>
                <a:gd name="connsiteY63" fmla="*/ 5278 h 102447"/>
                <a:gd name="connsiteX64" fmla="*/ 7451 w 235938"/>
                <a:gd name="connsiteY64" fmla="*/ 5278 h 102447"/>
                <a:gd name="connsiteX65" fmla="*/ 0 w 235938"/>
                <a:gd name="connsiteY65" fmla="*/ 7140 h 102447"/>
                <a:gd name="connsiteX66" fmla="*/ 0 w 235938"/>
                <a:gd name="connsiteY66" fmla="*/ 12418 h 102447"/>
                <a:gd name="connsiteX67" fmla="*/ 2173 w 235938"/>
                <a:gd name="connsiteY67" fmla="*/ 14591 h 102447"/>
                <a:gd name="connsiteX68" fmla="*/ 2173 w 235938"/>
                <a:gd name="connsiteY68" fmla="*/ 16764 h 102447"/>
                <a:gd name="connsiteX69" fmla="*/ 2173 w 235938"/>
                <a:gd name="connsiteY69" fmla="*/ 18006 h 102447"/>
                <a:gd name="connsiteX70" fmla="*/ 3104 w 235938"/>
                <a:gd name="connsiteY70" fmla="*/ 19869 h 102447"/>
                <a:gd name="connsiteX71" fmla="*/ 17695 w 235938"/>
                <a:gd name="connsiteY71" fmla="*/ 25146 h 102447"/>
                <a:gd name="connsiteX72" fmla="*/ 34460 w 235938"/>
                <a:gd name="connsiteY72" fmla="*/ 31665 h 102447"/>
                <a:gd name="connsiteX73" fmla="*/ 52155 w 235938"/>
                <a:gd name="connsiteY73" fmla="*/ 32597 h 102447"/>
                <a:gd name="connsiteX74" fmla="*/ 52155 w 235938"/>
                <a:gd name="connsiteY74" fmla="*/ 44394 h 102447"/>
                <a:gd name="connsiteX75" fmla="*/ 56191 w 235938"/>
                <a:gd name="connsiteY75" fmla="*/ 52776 h 102447"/>
                <a:gd name="connsiteX76" fmla="*/ 59295 w 235938"/>
                <a:gd name="connsiteY76" fmla="*/ 58985 h 102447"/>
                <a:gd name="connsiteX77" fmla="*/ 61468 w 235938"/>
                <a:gd name="connsiteY77" fmla="*/ 66435 h 102447"/>
                <a:gd name="connsiteX78" fmla="*/ 59295 w 235938"/>
                <a:gd name="connsiteY78" fmla="*/ 76991 h 102447"/>
                <a:gd name="connsiteX79" fmla="*/ 61468 w 235938"/>
                <a:gd name="connsiteY79" fmla="*/ 79164 h 102447"/>
                <a:gd name="connsiteX80" fmla="*/ 65504 w 235938"/>
                <a:gd name="connsiteY80" fmla="*/ 81337 h 102447"/>
                <a:gd name="connsiteX81" fmla="*/ 66746 w 235938"/>
                <a:gd name="connsiteY81" fmla="*/ 82268 h 102447"/>
                <a:gd name="connsiteX82" fmla="*/ 70782 w 235938"/>
                <a:gd name="connsiteY82" fmla="*/ 84441 h 102447"/>
                <a:gd name="connsiteX83" fmla="*/ 72955 w 235938"/>
                <a:gd name="connsiteY83" fmla="*/ 84441 h 102447"/>
                <a:gd name="connsiteX84" fmla="*/ 73886 w 235938"/>
                <a:gd name="connsiteY84" fmla="*/ 86614 h 102447"/>
                <a:gd name="connsiteX85" fmla="*/ 80095 w 235938"/>
                <a:gd name="connsiteY85" fmla="*/ 84441 h 102447"/>
                <a:gd name="connsiteX86" fmla="*/ 83199 w 235938"/>
                <a:gd name="connsiteY86" fmla="*/ 84441 h 102447"/>
                <a:gd name="connsiteX87" fmla="*/ 88477 w 235938"/>
                <a:gd name="connsiteY87" fmla="*/ 82268 h 102447"/>
                <a:gd name="connsiteX88" fmla="*/ 92823 w 235938"/>
                <a:gd name="connsiteY88" fmla="*/ 82268 h 102447"/>
                <a:gd name="connsiteX89" fmla="*/ 94686 w 235938"/>
                <a:gd name="connsiteY89" fmla="*/ 81337 h 102447"/>
                <a:gd name="connsiteX90" fmla="*/ 95928 w 235938"/>
                <a:gd name="connsiteY90" fmla="*/ 81337 h 102447"/>
                <a:gd name="connsiteX91" fmla="*/ 97790 w 235938"/>
                <a:gd name="connsiteY91" fmla="*/ 82268 h 102447"/>
                <a:gd name="connsiteX92" fmla="*/ 97790 w 235938"/>
                <a:gd name="connsiteY92" fmla="*/ 84441 h 102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235938" h="102447">
                  <a:moveTo>
                    <a:pt x="97790" y="86614"/>
                  </a:moveTo>
                  <a:lnTo>
                    <a:pt x="97790" y="88787"/>
                  </a:lnTo>
                  <a:lnTo>
                    <a:pt x="97790" y="89719"/>
                  </a:lnTo>
                  <a:lnTo>
                    <a:pt x="99964" y="91892"/>
                  </a:lnTo>
                  <a:lnTo>
                    <a:pt x="103068" y="94065"/>
                  </a:lnTo>
                  <a:lnTo>
                    <a:pt x="107414" y="96238"/>
                  </a:lnTo>
                  <a:lnTo>
                    <a:pt x="110519" y="96238"/>
                  </a:lnTo>
                  <a:lnTo>
                    <a:pt x="112381" y="94065"/>
                  </a:lnTo>
                  <a:lnTo>
                    <a:pt x="114554" y="89719"/>
                  </a:lnTo>
                  <a:lnTo>
                    <a:pt x="116728" y="84441"/>
                  </a:lnTo>
                  <a:lnTo>
                    <a:pt x="119832" y="91892"/>
                  </a:lnTo>
                  <a:lnTo>
                    <a:pt x="122937" y="99343"/>
                  </a:lnTo>
                  <a:lnTo>
                    <a:pt x="126972" y="104620"/>
                  </a:lnTo>
                  <a:lnTo>
                    <a:pt x="136596" y="104620"/>
                  </a:lnTo>
                  <a:lnTo>
                    <a:pt x="137527" y="101516"/>
                  </a:lnTo>
                  <a:lnTo>
                    <a:pt x="139701" y="97170"/>
                  </a:lnTo>
                  <a:lnTo>
                    <a:pt x="143736" y="94065"/>
                  </a:lnTo>
                  <a:lnTo>
                    <a:pt x="143736" y="89719"/>
                  </a:lnTo>
                  <a:lnTo>
                    <a:pt x="146841" y="94065"/>
                  </a:lnTo>
                  <a:lnTo>
                    <a:pt x="149014" y="99343"/>
                  </a:lnTo>
                  <a:lnTo>
                    <a:pt x="152118" y="104620"/>
                  </a:lnTo>
                  <a:lnTo>
                    <a:pt x="158327" y="104620"/>
                  </a:lnTo>
                  <a:lnTo>
                    <a:pt x="163605" y="104620"/>
                  </a:lnTo>
                  <a:lnTo>
                    <a:pt x="166709" y="103689"/>
                  </a:lnTo>
                  <a:lnTo>
                    <a:pt x="172918" y="101516"/>
                  </a:lnTo>
                  <a:lnTo>
                    <a:pt x="178196" y="101516"/>
                  </a:lnTo>
                  <a:lnTo>
                    <a:pt x="183163" y="99343"/>
                  </a:lnTo>
                  <a:lnTo>
                    <a:pt x="185336" y="97170"/>
                  </a:lnTo>
                  <a:lnTo>
                    <a:pt x="188441" y="97170"/>
                  </a:lnTo>
                  <a:lnTo>
                    <a:pt x="190614" y="96238"/>
                  </a:lnTo>
                  <a:lnTo>
                    <a:pt x="192787" y="91892"/>
                  </a:lnTo>
                  <a:lnTo>
                    <a:pt x="195891" y="89719"/>
                  </a:lnTo>
                  <a:lnTo>
                    <a:pt x="199927" y="89719"/>
                  </a:lnTo>
                  <a:lnTo>
                    <a:pt x="209240" y="91892"/>
                  </a:lnTo>
                  <a:lnTo>
                    <a:pt x="221969" y="94065"/>
                  </a:lnTo>
                  <a:lnTo>
                    <a:pt x="232213" y="94065"/>
                  </a:lnTo>
                  <a:lnTo>
                    <a:pt x="236560" y="81337"/>
                  </a:lnTo>
                  <a:lnTo>
                    <a:pt x="236560" y="76991"/>
                  </a:lnTo>
                  <a:lnTo>
                    <a:pt x="236560" y="73886"/>
                  </a:lnTo>
                  <a:lnTo>
                    <a:pt x="236560" y="71713"/>
                  </a:lnTo>
                  <a:lnTo>
                    <a:pt x="234387" y="67677"/>
                  </a:lnTo>
                  <a:lnTo>
                    <a:pt x="232213" y="62400"/>
                  </a:lnTo>
                  <a:lnTo>
                    <a:pt x="232213" y="57122"/>
                  </a:lnTo>
                  <a:lnTo>
                    <a:pt x="209240" y="54949"/>
                  </a:lnTo>
                  <a:lnTo>
                    <a:pt x="181300" y="57122"/>
                  </a:lnTo>
                  <a:lnTo>
                    <a:pt x="156154" y="57122"/>
                  </a:lnTo>
                  <a:lnTo>
                    <a:pt x="130077" y="57122"/>
                  </a:lnTo>
                  <a:lnTo>
                    <a:pt x="107414" y="51844"/>
                  </a:lnTo>
                  <a:lnTo>
                    <a:pt x="87546" y="40047"/>
                  </a:lnTo>
                  <a:lnTo>
                    <a:pt x="87546" y="36943"/>
                  </a:lnTo>
                  <a:lnTo>
                    <a:pt x="87546" y="31665"/>
                  </a:lnTo>
                  <a:lnTo>
                    <a:pt x="87546" y="27319"/>
                  </a:lnTo>
                  <a:lnTo>
                    <a:pt x="85373" y="22042"/>
                  </a:lnTo>
                  <a:lnTo>
                    <a:pt x="83199" y="16764"/>
                  </a:lnTo>
                  <a:lnTo>
                    <a:pt x="83199" y="12418"/>
                  </a:lnTo>
                  <a:lnTo>
                    <a:pt x="65504" y="14591"/>
                  </a:lnTo>
                  <a:lnTo>
                    <a:pt x="54328" y="14591"/>
                  </a:lnTo>
                  <a:lnTo>
                    <a:pt x="46877" y="10555"/>
                  </a:lnTo>
                  <a:lnTo>
                    <a:pt x="43773" y="0"/>
                  </a:lnTo>
                  <a:lnTo>
                    <a:pt x="37564" y="0"/>
                  </a:lnTo>
                  <a:lnTo>
                    <a:pt x="34460" y="1863"/>
                  </a:lnTo>
                  <a:lnTo>
                    <a:pt x="30113" y="1863"/>
                  </a:lnTo>
                  <a:lnTo>
                    <a:pt x="27009" y="3104"/>
                  </a:lnTo>
                  <a:lnTo>
                    <a:pt x="16764" y="5278"/>
                  </a:lnTo>
                  <a:lnTo>
                    <a:pt x="7451" y="5278"/>
                  </a:lnTo>
                  <a:lnTo>
                    <a:pt x="0" y="7140"/>
                  </a:lnTo>
                  <a:lnTo>
                    <a:pt x="0" y="12418"/>
                  </a:lnTo>
                  <a:lnTo>
                    <a:pt x="2173" y="14591"/>
                  </a:lnTo>
                  <a:lnTo>
                    <a:pt x="2173" y="16764"/>
                  </a:lnTo>
                  <a:lnTo>
                    <a:pt x="2173" y="18006"/>
                  </a:lnTo>
                  <a:lnTo>
                    <a:pt x="3104" y="19869"/>
                  </a:lnTo>
                  <a:lnTo>
                    <a:pt x="17695" y="25146"/>
                  </a:lnTo>
                  <a:lnTo>
                    <a:pt x="34460" y="31665"/>
                  </a:lnTo>
                  <a:lnTo>
                    <a:pt x="52155" y="32597"/>
                  </a:lnTo>
                  <a:lnTo>
                    <a:pt x="52155" y="44394"/>
                  </a:lnTo>
                  <a:lnTo>
                    <a:pt x="56191" y="52776"/>
                  </a:lnTo>
                  <a:lnTo>
                    <a:pt x="59295" y="58985"/>
                  </a:lnTo>
                  <a:lnTo>
                    <a:pt x="61468" y="66435"/>
                  </a:lnTo>
                  <a:lnTo>
                    <a:pt x="59295" y="76991"/>
                  </a:lnTo>
                  <a:lnTo>
                    <a:pt x="61468" y="79164"/>
                  </a:lnTo>
                  <a:lnTo>
                    <a:pt x="65504" y="81337"/>
                  </a:lnTo>
                  <a:lnTo>
                    <a:pt x="66746" y="82268"/>
                  </a:lnTo>
                  <a:lnTo>
                    <a:pt x="70782" y="84441"/>
                  </a:lnTo>
                  <a:lnTo>
                    <a:pt x="72955" y="84441"/>
                  </a:lnTo>
                  <a:lnTo>
                    <a:pt x="73886" y="86614"/>
                  </a:lnTo>
                  <a:lnTo>
                    <a:pt x="80095" y="84441"/>
                  </a:lnTo>
                  <a:lnTo>
                    <a:pt x="83199" y="84441"/>
                  </a:lnTo>
                  <a:lnTo>
                    <a:pt x="88477" y="82268"/>
                  </a:lnTo>
                  <a:lnTo>
                    <a:pt x="92823" y="82268"/>
                  </a:lnTo>
                  <a:lnTo>
                    <a:pt x="94686" y="81337"/>
                  </a:lnTo>
                  <a:lnTo>
                    <a:pt x="95928" y="81337"/>
                  </a:lnTo>
                  <a:lnTo>
                    <a:pt x="97790" y="82268"/>
                  </a:lnTo>
                  <a:lnTo>
                    <a:pt x="97790" y="84441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C38A84F1-6F79-4FBE-9FCB-A45E187EE736}"/>
                </a:ext>
              </a:extLst>
            </p:cNvPr>
            <p:cNvSpPr/>
            <p:nvPr/>
          </p:nvSpPr>
          <p:spPr>
            <a:xfrm>
              <a:off x="6856448" y="5409987"/>
              <a:ext cx="24836" cy="58985"/>
            </a:xfrm>
            <a:custGeom>
              <a:avLst/>
              <a:gdLst>
                <a:gd name="connsiteX0" fmla="*/ 5277 w 24835"/>
                <a:gd name="connsiteY0" fmla="*/ 50913 h 58984"/>
                <a:gd name="connsiteX1" fmla="*/ 12418 w 24835"/>
                <a:gd name="connsiteY1" fmla="*/ 60227 h 58984"/>
                <a:gd name="connsiteX2" fmla="*/ 27009 w 24835"/>
                <a:gd name="connsiteY2" fmla="*/ 23283 h 58984"/>
                <a:gd name="connsiteX3" fmla="*/ 27009 w 24835"/>
                <a:gd name="connsiteY3" fmla="*/ 15833 h 58984"/>
                <a:gd name="connsiteX4" fmla="*/ 27009 w 24835"/>
                <a:gd name="connsiteY4" fmla="*/ 10555 h 58984"/>
                <a:gd name="connsiteX5" fmla="*/ 25146 w 24835"/>
                <a:gd name="connsiteY5" fmla="*/ 7451 h 58984"/>
                <a:gd name="connsiteX6" fmla="*/ 22973 w 24835"/>
                <a:gd name="connsiteY6" fmla="*/ 3104 h 58984"/>
                <a:gd name="connsiteX7" fmla="*/ 19869 w 24835"/>
                <a:gd name="connsiteY7" fmla="*/ 0 h 58984"/>
                <a:gd name="connsiteX8" fmla="*/ 0 w 24835"/>
                <a:gd name="connsiteY8" fmla="*/ 27630 h 58984"/>
                <a:gd name="connsiteX9" fmla="*/ 2173 w 24835"/>
                <a:gd name="connsiteY9" fmla="*/ 42531 h 5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835" h="58984">
                  <a:moveTo>
                    <a:pt x="5277" y="50913"/>
                  </a:moveTo>
                  <a:lnTo>
                    <a:pt x="12418" y="60227"/>
                  </a:lnTo>
                  <a:lnTo>
                    <a:pt x="27009" y="23283"/>
                  </a:lnTo>
                  <a:lnTo>
                    <a:pt x="27009" y="15833"/>
                  </a:lnTo>
                  <a:lnTo>
                    <a:pt x="27009" y="10555"/>
                  </a:lnTo>
                  <a:lnTo>
                    <a:pt x="25146" y="7451"/>
                  </a:lnTo>
                  <a:lnTo>
                    <a:pt x="22973" y="3104"/>
                  </a:lnTo>
                  <a:lnTo>
                    <a:pt x="19869" y="0"/>
                  </a:lnTo>
                  <a:lnTo>
                    <a:pt x="0" y="27630"/>
                  </a:lnTo>
                  <a:lnTo>
                    <a:pt x="2173" y="42531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424C4C2B-2702-4F02-9158-F3F88B0F2411}"/>
                </a:ext>
              </a:extLst>
            </p:cNvPr>
            <p:cNvSpPr/>
            <p:nvPr/>
          </p:nvSpPr>
          <p:spPr>
            <a:xfrm>
              <a:off x="6876316" y="5644063"/>
              <a:ext cx="68298" cy="65194"/>
            </a:xfrm>
            <a:custGeom>
              <a:avLst/>
              <a:gdLst>
                <a:gd name="connsiteX0" fmla="*/ 43773 w 68298"/>
                <a:gd name="connsiteY0" fmla="*/ 12418 h 65193"/>
                <a:gd name="connsiteX1" fmla="*/ 31355 w 68298"/>
                <a:gd name="connsiteY1" fmla="*/ 19868 h 65193"/>
                <a:gd name="connsiteX2" fmla="*/ 17695 w 68298"/>
                <a:gd name="connsiteY2" fmla="*/ 24215 h 65193"/>
                <a:gd name="connsiteX3" fmla="*/ 3104 w 68298"/>
                <a:gd name="connsiteY3" fmla="*/ 29492 h 65193"/>
                <a:gd name="connsiteX4" fmla="*/ 3104 w 68298"/>
                <a:gd name="connsiteY4" fmla="*/ 33838 h 65193"/>
                <a:gd name="connsiteX5" fmla="*/ 2173 w 68298"/>
                <a:gd name="connsiteY5" fmla="*/ 33838 h 65193"/>
                <a:gd name="connsiteX6" fmla="*/ 2173 w 68298"/>
                <a:gd name="connsiteY6" fmla="*/ 34770 h 65193"/>
                <a:gd name="connsiteX7" fmla="*/ 0 w 68298"/>
                <a:gd name="connsiteY7" fmla="*/ 36943 h 65193"/>
                <a:gd name="connsiteX8" fmla="*/ 0 w 68298"/>
                <a:gd name="connsiteY8" fmla="*/ 46567 h 65193"/>
                <a:gd name="connsiteX9" fmla="*/ 7140 w 68298"/>
                <a:gd name="connsiteY9" fmla="*/ 42221 h 65193"/>
                <a:gd name="connsiteX10" fmla="*/ 14591 w 68298"/>
                <a:gd name="connsiteY10" fmla="*/ 40979 h 65193"/>
                <a:gd name="connsiteX11" fmla="*/ 21731 w 68298"/>
                <a:gd name="connsiteY11" fmla="*/ 36943 h 65193"/>
                <a:gd name="connsiteX12" fmla="*/ 27009 w 68298"/>
                <a:gd name="connsiteY12" fmla="*/ 33838 h 65193"/>
                <a:gd name="connsiteX13" fmla="*/ 31355 w 68298"/>
                <a:gd name="connsiteY13" fmla="*/ 40979 h 65193"/>
                <a:gd name="connsiteX14" fmla="*/ 32286 w 68298"/>
                <a:gd name="connsiteY14" fmla="*/ 46567 h 65193"/>
                <a:gd name="connsiteX15" fmla="*/ 34459 w 68298"/>
                <a:gd name="connsiteY15" fmla="*/ 51844 h 65193"/>
                <a:gd name="connsiteX16" fmla="*/ 36322 w 68298"/>
                <a:gd name="connsiteY16" fmla="*/ 55880 h 65193"/>
                <a:gd name="connsiteX17" fmla="*/ 41600 w 68298"/>
                <a:gd name="connsiteY17" fmla="*/ 58985 h 65193"/>
                <a:gd name="connsiteX18" fmla="*/ 46877 w 68298"/>
                <a:gd name="connsiteY18" fmla="*/ 61158 h 65193"/>
                <a:gd name="connsiteX19" fmla="*/ 46877 w 68298"/>
                <a:gd name="connsiteY19" fmla="*/ 66435 h 65193"/>
                <a:gd name="connsiteX20" fmla="*/ 56191 w 68298"/>
                <a:gd name="connsiteY20" fmla="*/ 66435 h 65193"/>
                <a:gd name="connsiteX21" fmla="*/ 56191 w 68298"/>
                <a:gd name="connsiteY21" fmla="*/ 61158 h 65193"/>
                <a:gd name="connsiteX22" fmla="*/ 56191 w 68298"/>
                <a:gd name="connsiteY22" fmla="*/ 58985 h 65193"/>
                <a:gd name="connsiteX23" fmla="*/ 56191 w 68298"/>
                <a:gd name="connsiteY23" fmla="*/ 57122 h 65193"/>
                <a:gd name="connsiteX24" fmla="*/ 58364 w 68298"/>
                <a:gd name="connsiteY24" fmla="*/ 55880 h 65193"/>
                <a:gd name="connsiteX25" fmla="*/ 56191 w 68298"/>
                <a:gd name="connsiteY25" fmla="*/ 53707 h 65193"/>
                <a:gd name="connsiteX26" fmla="*/ 54018 w 68298"/>
                <a:gd name="connsiteY26" fmla="*/ 51844 h 65193"/>
                <a:gd name="connsiteX27" fmla="*/ 53086 w 68298"/>
                <a:gd name="connsiteY27" fmla="*/ 49671 h 65193"/>
                <a:gd name="connsiteX28" fmla="*/ 53086 w 68298"/>
                <a:gd name="connsiteY28" fmla="*/ 46567 h 65193"/>
                <a:gd name="connsiteX29" fmla="*/ 54018 w 68298"/>
                <a:gd name="connsiteY29" fmla="*/ 48429 h 65193"/>
                <a:gd name="connsiteX30" fmla="*/ 56191 w 68298"/>
                <a:gd name="connsiteY30" fmla="*/ 48429 h 65193"/>
                <a:gd name="connsiteX31" fmla="*/ 58364 w 68298"/>
                <a:gd name="connsiteY31" fmla="*/ 48429 h 65193"/>
                <a:gd name="connsiteX32" fmla="*/ 58364 w 68298"/>
                <a:gd name="connsiteY32" fmla="*/ 49671 h 65193"/>
                <a:gd name="connsiteX33" fmla="*/ 60227 w 68298"/>
                <a:gd name="connsiteY33" fmla="*/ 53707 h 65193"/>
                <a:gd name="connsiteX34" fmla="*/ 63641 w 68298"/>
                <a:gd name="connsiteY34" fmla="*/ 51844 h 65193"/>
                <a:gd name="connsiteX35" fmla="*/ 65504 w 68298"/>
                <a:gd name="connsiteY35" fmla="*/ 51844 h 65193"/>
                <a:gd name="connsiteX36" fmla="*/ 65504 w 68298"/>
                <a:gd name="connsiteY36" fmla="*/ 49671 h 65193"/>
                <a:gd name="connsiteX37" fmla="*/ 67677 w 68298"/>
                <a:gd name="connsiteY37" fmla="*/ 49671 h 65193"/>
                <a:gd name="connsiteX38" fmla="*/ 67677 w 68298"/>
                <a:gd name="connsiteY38" fmla="*/ 46567 h 65193"/>
                <a:gd name="connsiteX39" fmla="*/ 68608 w 68298"/>
                <a:gd name="connsiteY39" fmla="*/ 42221 h 65193"/>
                <a:gd name="connsiteX40" fmla="*/ 70781 w 68298"/>
                <a:gd name="connsiteY40" fmla="*/ 42221 h 65193"/>
                <a:gd name="connsiteX41" fmla="*/ 70781 w 68298"/>
                <a:gd name="connsiteY41" fmla="*/ 40979 h 65193"/>
                <a:gd name="connsiteX42" fmla="*/ 68608 w 68298"/>
                <a:gd name="connsiteY42" fmla="*/ 40979 h 65193"/>
                <a:gd name="connsiteX43" fmla="*/ 67677 w 68298"/>
                <a:gd name="connsiteY43" fmla="*/ 36943 h 65193"/>
                <a:gd name="connsiteX44" fmla="*/ 67677 w 68298"/>
                <a:gd name="connsiteY44" fmla="*/ 19868 h 65193"/>
                <a:gd name="connsiteX45" fmla="*/ 61468 w 68298"/>
                <a:gd name="connsiteY45" fmla="*/ 9313 h 65193"/>
                <a:gd name="connsiteX46" fmla="*/ 53086 w 68298"/>
                <a:gd name="connsiteY46" fmla="*/ 0 h 65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68298" h="65193">
                  <a:moveTo>
                    <a:pt x="43773" y="12418"/>
                  </a:moveTo>
                  <a:lnTo>
                    <a:pt x="31355" y="19868"/>
                  </a:lnTo>
                  <a:lnTo>
                    <a:pt x="17695" y="24215"/>
                  </a:lnTo>
                  <a:lnTo>
                    <a:pt x="3104" y="29492"/>
                  </a:lnTo>
                  <a:lnTo>
                    <a:pt x="3104" y="33838"/>
                  </a:lnTo>
                  <a:lnTo>
                    <a:pt x="2173" y="33838"/>
                  </a:lnTo>
                  <a:lnTo>
                    <a:pt x="2173" y="34770"/>
                  </a:lnTo>
                  <a:lnTo>
                    <a:pt x="0" y="36943"/>
                  </a:lnTo>
                  <a:lnTo>
                    <a:pt x="0" y="46567"/>
                  </a:lnTo>
                  <a:lnTo>
                    <a:pt x="7140" y="42221"/>
                  </a:lnTo>
                  <a:lnTo>
                    <a:pt x="14591" y="40979"/>
                  </a:lnTo>
                  <a:lnTo>
                    <a:pt x="21731" y="36943"/>
                  </a:lnTo>
                  <a:lnTo>
                    <a:pt x="27009" y="33838"/>
                  </a:lnTo>
                  <a:lnTo>
                    <a:pt x="31355" y="40979"/>
                  </a:lnTo>
                  <a:lnTo>
                    <a:pt x="32286" y="46567"/>
                  </a:lnTo>
                  <a:lnTo>
                    <a:pt x="34459" y="51844"/>
                  </a:lnTo>
                  <a:lnTo>
                    <a:pt x="36322" y="55880"/>
                  </a:lnTo>
                  <a:lnTo>
                    <a:pt x="41600" y="58985"/>
                  </a:lnTo>
                  <a:lnTo>
                    <a:pt x="46877" y="61158"/>
                  </a:lnTo>
                  <a:lnTo>
                    <a:pt x="46877" y="66435"/>
                  </a:lnTo>
                  <a:lnTo>
                    <a:pt x="56191" y="66435"/>
                  </a:lnTo>
                  <a:lnTo>
                    <a:pt x="56191" y="61158"/>
                  </a:lnTo>
                  <a:lnTo>
                    <a:pt x="56191" y="58985"/>
                  </a:lnTo>
                  <a:lnTo>
                    <a:pt x="56191" y="57122"/>
                  </a:lnTo>
                  <a:lnTo>
                    <a:pt x="58364" y="55880"/>
                  </a:lnTo>
                  <a:lnTo>
                    <a:pt x="56191" y="53707"/>
                  </a:lnTo>
                  <a:lnTo>
                    <a:pt x="54018" y="51844"/>
                  </a:lnTo>
                  <a:lnTo>
                    <a:pt x="53086" y="49671"/>
                  </a:lnTo>
                  <a:lnTo>
                    <a:pt x="53086" y="46567"/>
                  </a:lnTo>
                  <a:lnTo>
                    <a:pt x="54018" y="48429"/>
                  </a:lnTo>
                  <a:lnTo>
                    <a:pt x="56191" y="48429"/>
                  </a:lnTo>
                  <a:lnTo>
                    <a:pt x="58364" y="48429"/>
                  </a:lnTo>
                  <a:lnTo>
                    <a:pt x="58364" y="49671"/>
                  </a:lnTo>
                  <a:lnTo>
                    <a:pt x="60227" y="53707"/>
                  </a:lnTo>
                  <a:lnTo>
                    <a:pt x="63641" y="51844"/>
                  </a:lnTo>
                  <a:lnTo>
                    <a:pt x="65504" y="51844"/>
                  </a:lnTo>
                  <a:lnTo>
                    <a:pt x="65504" y="49671"/>
                  </a:lnTo>
                  <a:lnTo>
                    <a:pt x="67677" y="49671"/>
                  </a:lnTo>
                  <a:lnTo>
                    <a:pt x="67677" y="46567"/>
                  </a:lnTo>
                  <a:lnTo>
                    <a:pt x="68608" y="42221"/>
                  </a:lnTo>
                  <a:lnTo>
                    <a:pt x="70781" y="42221"/>
                  </a:lnTo>
                  <a:lnTo>
                    <a:pt x="70781" y="40979"/>
                  </a:lnTo>
                  <a:lnTo>
                    <a:pt x="68608" y="40979"/>
                  </a:lnTo>
                  <a:lnTo>
                    <a:pt x="67677" y="36943"/>
                  </a:lnTo>
                  <a:lnTo>
                    <a:pt x="67677" y="19868"/>
                  </a:lnTo>
                  <a:lnTo>
                    <a:pt x="61468" y="9313"/>
                  </a:lnTo>
                  <a:lnTo>
                    <a:pt x="53086" y="0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608646DD-F4B8-42CF-A24D-366AB8B32D63}"/>
                </a:ext>
              </a:extLst>
            </p:cNvPr>
            <p:cNvSpPr/>
            <p:nvPr/>
          </p:nvSpPr>
          <p:spPr>
            <a:xfrm>
              <a:off x="6851170" y="5514917"/>
              <a:ext cx="83820" cy="139701"/>
            </a:xfrm>
            <a:custGeom>
              <a:avLst/>
              <a:gdLst>
                <a:gd name="connsiteX0" fmla="*/ 7450 w 83820"/>
                <a:gd name="connsiteY0" fmla="*/ 76991 h 139700"/>
                <a:gd name="connsiteX1" fmla="*/ 12728 w 83820"/>
                <a:gd name="connsiteY1" fmla="*/ 90961 h 139700"/>
                <a:gd name="connsiteX2" fmla="*/ 14591 w 83820"/>
                <a:gd name="connsiteY2" fmla="*/ 91892 h 139700"/>
                <a:gd name="connsiteX3" fmla="*/ 14591 w 83820"/>
                <a:gd name="connsiteY3" fmla="*/ 94065 h 139700"/>
                <a:gd name="connsiteX4" fmla="*/ 15833 w 83820"/>
                <a:gd name="connsiteY4" fmla="*/ 96238 h 139700"/>
                <a:gd name="connsiteX5" fmla="*/ 17695 w 83820"/>
                <a:gd name="connsiteY5" fmla="*/ 98411 h 139700"/>
                <a:gd name="connsiteX6" fmla="*/ 17695 w 83820"/>
                <a:gd name="connsiteY6" fmla="*/ 91892 h 139700"/>
                <a:gd name="connsiteX7" fmla="*/ 19868 w 83820"/>
                <a:gd name="connsiteY7" fmla="*/ 86614 h 139700"/>
                <a:gd name="connsiteX8" fmla="*/ 22042 w 83820"/>
                <a:gd name="connsiteY8" fmla="*/ 81337 h 139700"/>
                <a:gd name="connsiteX9" fmla="*/ 22042 w 83820"/>
                <a:gd name="connsiteY9" fmla="*/ 73886 h 139700"/>
                <a:gd name="connsiteX10" fmla="*/ 42841 w 83820"/>
                <a:gd name="connsiteY10" fmla="*/ 83510 h 139700"/>
                <a:gd name="connsiteX11" fmla="*/ 61468 w 83820"/>
                <a:gd name="connsiteY11" fmla="*/ 98411 h 139700"/>
                <a:gd name="connsiteX12" fmla="*/ 64572 w 83820"/>
                <a:gd name="connsiteY12" fmla="*/ 98411 h 139700"/>
                <a:gd name="connsiteX13" fmla="*/ 63641 w 83820"/>
                <a:gd name="connsiteY13" fmla="*/ 101516 h 139700"/>
                <a:gd name="connsiteX14" fmla="*/ 61468 w 83820"/>
                <a:gd name="connsiteY14" fmla="*/ 103689 h 139700"/>
                <a:gd name="connsiteX15" fmla="*/ 61468 w 83820"/>
                <a:gd name="connsiteY15" fmla="*/ 105862 h 139700"/>
                <a:gd name="connsiteX16" fmla="*/ 59605 w 83820"/>
                <a:gd name="connsiteY16" fmla="*/ 106793 h 139700"/>
                <a:gd name="connsiteX17" fmla="*/ 57432 w 83820"/>
                <a:gd name="connsiteY17" fmla="*/ 111140 h 139700"/>
                <a:gd name="connsiteX18" fmla="*/ 57432 w 83820"/>
                <a:gd name="connsiteY18" fmla="*/ 114244 h 139700"/>
                <a:gd name="connsiteX19" fmla="*/ 45015 w 83820"/>
                <a:gd name="connsiteY19" fmla="*/ 114244 h 139700"/>
                <a:gd name="connsiteX20" fmla="*/ 45015 w 83820"/>
                <a:gd name="connsiteY20" fmla="*/ 101516 h 139700"/>
                <a:gd name="connsiteX21" fmla="*/ 37564 w 83820"/>
                <a:gd name="connsiteY21" fmla="*/ 101516 h 139700"/>
                <a:gd name="connsiteX22" fmla="*/ 32286 w 83820"/>
                <a:gd name="connsiteY22" fmla="*/ 103689 h 139700"/>
                <a:gd name="connsiteX23" fmla="*/ 28250 w 83820"/>
                <a:gd name="connsiteY23" fmla="*/ 103689 h 139700"/>
                <a:gd name="connsiteX24" fmla="*/ 27319 w 83820"/>
                <a:gd name="connsiteY24" fmla="*/ 105862 h 139700"/>
                <a:gd name="connsiteX25" fmla="*/ 27319 w 83820"/>
                <a:gd name="connsiteY25" fmla="*/ 106793 h 139700"/>
                <a:gd name="connsiteX26" fmla="*/ 25146 w 83820"/>
                <a:gd name="connsiteY26" fmla="*/ 111140 h 139700"/>
                <a:gd name="connsiteX27" fmla="*/ 25146 w 83820"/>
                <a:gd name="connsiteY27" fmla="*/ 116417 h 139700"/>
                <a:gd name="connsiteX28" fmla="*/ 25146 w 83820"/>
                <a:gd name="connsiteY28" fmla="*/ 121695 h 139700"/>
                <a:gd name="connsiteX29" fmla="*/ 30423 w 83820"/>
                <a:gd name="connsiteY29" fmla="*/ 123558 h 139700"/>
                <a:gd name="connsiteX30" fmla="*/ 32286 w 83820"/>
                <a:gd name="connsiteY30" fmla="*/ 123558 h 139700"/>
                <a:gd name="connsiteX31" fmla="*/ 34459 w 83820"/>
                <a:gd name="connsiteY31" fmla="*/ 125731 h 139700"/>
                <a:gd name="connsiteX32" fmla="*/ 34459 w 83820"/>
                <a:gd name="connsiteY32" fmla="*/ 127904 h 139700"/>
                <a:gd name="connsiteX33" fmla="*/ 34459 w 83820"/>
                <a:gd name="connsiteY33" fmla="*/ 129146 h 139700"/>
                <a:gd name="connsiteX34" fmla="*/ 34459 w 83820"/>
                <a:gd name="connsiteY34" fmla="*/ 131008 h 139700"/>
                <a:gd name="connsiteX35" fmla="*/ 34459 w 83820"/>
                <a:gd name="connsiteY35" fmla="*/ 134423 h 139700"/>
                <a:gd name="connsiteX36" fmla="*/ 37564 w 83820"/>
                <a:gd name="connsiteY36" fmla="*/ 138459 h 139700"/>
                <a:gd name="connsiteX37" fmla="*/ 37564 w 83820"/>
                <a:gd name="connsiteY37" fmla="*/ 141563 h 139700"/>
                <a:gd name="connsiteX38" fmla="*/ 42841 w 83820"/>
                <a:gd name="connsiteY38" fmla="*/ 138459 h 139700"/>
                <a:gd name="connsiteX39" fmla="*/ 49050 w 83820"/>
                <a:gd name="connsiteY39" fmla="*/ 136286 h 139700"/>
                <a:gd name="connsiteX40" fmla="*/ 52155 w 83820"/>
                <a:gd name="connsiteY40" fmla="*/ 131008 h 139700"/>
                <a:gd name="connsiteX41" fmla="*/ 54328 w 83820"/>
                <a:gd name="connsiteY41" fmla="*/ 125731 h 139700"/>
                <a:gd name="connsiteX42" fmla="*/ 57432 w 83820"/>
                <a:gd name="connsiteY42" fmla="*/ 118280 h 139700"/>
                <a:gd name="connsiteX43" fmla="*/ 59605 w 83820"/>
                <a:gd name="connsiteY43" fmla="*/ 120453 h 139700"/>
                <a:gd name="connsiteX44" fmla="*/ 61468 w 83820"/>
                <a:gd name="connsiteY44" fmla="*/ 120453 h 139700"/>
                <a:gd name="connsiteX45" fmla="*/ 63641 w 83820"/>
                <a:gd name="connsiteY45" fmla="*/ 120453 h 139700"/>
                <a:gd name="connsiteX46" fmla="*/ 63641 w 83820"/>
                <a:gd name="connsiteY46" fmla="*/ 121695 h 139700"/>
                <a:gd name="connsiteX47" fmla="*/ 64572 w 83820"/>
                <a:gd name="connsiteY47" fmla="*/ 125731 h 139700"/>
                <a:gd name="connsiteX48" fmla="*/ 70781 w 83820"/>
                <a:gd name="connsiteY48" fmla="*/ 123558 h 139700"/>
                <a:gd name="connsiteX49" fmla="*/ 74196 w 83820"/>
                <a:gd name="connsiteY49" fmla="*/ 123558 h 139700"/>
                <a:gd name="connsiteX50" fmla="*/ 74196 w 83820"/>
                <a:gd name="connsiteY50" fmla="*/ 121695 h 139700"/>
                <a:gd name="connsiteX51" fmla="*/ 74196 w 83820"/>
                <a:gd name="connsiteY51" fmla="*/ 120453 h 139700"/>
                <a:gd name="connsiteX52" fmla="*/ 74196 w 83820"/>
                <a:gd name="connsiteY52" fmla="*/ 118280 h 139700"/>
                <a:gd name="connsiteX53" fmla="*/ 76059 w 83820"/>
                <a:gd name="connsiteY53" fmla="*/ 118280 h 139700"/>
                <a:gd name="connsiteX54" fmla="*/ 79164 w 83820"/>
                <a:gd name="connsiteY54" fmla="*/ 116417 h 139700"/>
                <a:gd name="connsiteX55" fmla="*/ 85373 w 83820"/>
                <a:gd name="connsiteY55" fmla="*/ 114244 h 139700"/>
                <a:gd name="connsiteX56" fmla="*/ 78232 w 83820"/>
                <a:gd name="connsiteY56" fmla="*/ 101516 h 139700"/>
                <a:gd name="connsiteX57" fmla="*/ 68919 w 83820"/>
                <a:gd name="connsiteY57" fmla="*/ 91892 h 139700"/>
                <a:gd name="connsiteX58" fmla="*/ 61468 w 83820"/>
                <a:gd name="connsiteY58" fmla="*/ 83510 h 139700"/>
                <a:gd name="connsiteX59" fmla="*/ 57432 w 83820"/>
                <a:gd name="connsiteY59" fmla="*/ 69850 h 139700"/>
                <a:gd name="connsiteX60" fmla="*/ 49982 w 83820"/>
                <a:gd name="connsiteY60" fmla="*/ 68609 h 139700"/>
                <a:gd name="connsiteX61" fmla="*/ 46877 w 83820"/>
                <a:gd name="connsiteY61" fmla="*/ 66435 h 139700"/>
                <a:gd name="connsiteX62" fmla="*/ 42841 w 83820"/>
                <a:gd name="connsiteY62" fmla="*/ 64573 h 139700"/>
                <a:gd name="connsiteX63" fmla="*/ 39737 w 83820"/>
                <a:gd name="connsiteY63" fmla="*/ 64573 h 139700"/>
                <a:gd name="connsiteX64" fmla="*/ 35391 w 83820"/>
                <a:gd name="connsiteY64" fmla="*/ 64573 h 139700"/>
                <a:gd name="connsiteX65" fmla="*/ 28250 w 83820"/>
                <a:gd name="connsiteY65" fmla="*/ 64573 h 139700"/>
                <a:gd name="connsiteX66" fmla="*/ 28250 w 83820"/>
                <a:gd name="connsiteY66" fmla="*/ 61158 h 139700"/>
                <a:gd name="connsiteX67" fmla="*/ 25146 w 83820"/>
                <a:gd name="connsiteY67" fmla="*/ 61158 h 139700"/>
                <a:gd name="connsiteX68" fmla="*/ 27319 w 83820"/>
                <a:gd name="connsiteY68" fmla="*/ 42221 h 139700"/>
                <a:gd name="connsiteX69" fmla="*/ 30423 w 83820"/>
                <a:gd name="connsiteY69" fmla="*/ 31666 h 139700"/>
                <a:gd name="connsiteX70" fmla="*/ 32286 w 83820"/>
                <a:gd name="connsiteY70" fmla="*/ 18937 h 139700"/>
                <a:gd name="connsiteX71" fmla="*/ 32286 w 83820"/>
                <a:gd name="connsiteY71" fmla="*/ 0 h 139700"/>
                <a:gd name="connsiteX72" fmla="*/ 25146 w 83820"/>
                <a:gd name="connsiteY72" fmla="*/ 0 h 139700"/>
                <a:gd name="connsiteX73" fmla="*/ 19868 w 83820"/>
                <a:gd name="connsiteY73" fmla="*/ 0 h 139700"/>
                <a:gd name="connsiteX74" fmla="*/ 14591 w 83820"/>
                <a:gd name="connsiteY74" fmla="*/ 1863 h 139700"/>
                <a:gd name="connsiteX75" fmla="*/ 8382 w 83820"/>
                <a:gd name="connsiteY75" fmla="*/ 4036 h 139700"/>
                <a:gd name="connsiteX76" fmla="*/ 1241 w 83820"/>
                <a:gd name="connsiteY76" fmla="*/ 22042 h 139700"/>
                <a:gd name="connsiteX77" fmla="*/ 0 w 83820"/>
                <a:gd name="connsiteY77" fmla="*/ 40048 h 139700"/>
                <a:gd name="connsiteX78" fmla="*/ 1241 w 83820"/>
                <a:gd name="connsiteY78" fmla="*/ 61158 h 13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83820" h="139700">
                  <a:moveTo>
                    <a:pt x="7450" y="76991"/>
                  </a:moveTo>
                  <a:lnTo>
                    <a:pt x="12728" y="90961"/>
                  </a:lnTo>
                  <a:lnTo>
                    <a:pt x="14591" y="91892"/>
                  </a:lnTo>
                  <a:lnTo>
                    <a:pt x="14591" y="94065"/>
                  </a:lnTo>
                  <a:lnTo>
                    <a:pt x="15833" y="96238"/>
                  </a:lnTo>
                  <a:lnTo>
                    <a:pt x="17695" y="98411"/>
                  </a:lnTo>
                  <a:lnTo>
                    <a:pt x="17695" y="91892"/>
                  </a:lnTo>
                  <a:lnTo>
                    <a:pt x="19868" y="86614"/>
                  </a:lnTo>
                  <a:lnTo>
                    <a:pt x="22042" y="81337"/>
                  </a:lnTo>
                  <a:lnTo>
                    <a:pt x="22042" y="73886"/>
                  </a:lnTo>
                  <a:lnTo>
                    <a:pt x="42841" y="83510"/>
                  </a:lnTo>
                  <a:lnTo>
                    <a:pt x="61468" y="98411"/>
                  </a:lnTo>
                  <a:lnTo>
                    <a:pt x="64572" y="98411"/>
                  </a:lnTo>
                  <a:lnTo>
                    <a:pt x="63641" y="101516"/>
                  </a:lnTo>
                  <a:lnTo>
                    <a:pt x="61468" y="103689"/>
                  </a:lnTo>
                  <a:lnTo>
                    <a:pt x="61468" y="105862"/>
                  </a:lnTo>
                  <a:lnTo>
                    <a:pt x="59605" y="106793"/>
                  </a:lnTo>
                  <a:lnTo>
                    <a:pt x="57432" y="111140"/>
                  </a:lnTo>
                  <a:lnTo>
                    <a:pt x="57432" y="114244"/>
                  </a:lnTo>
                  <a:lnTo>
                    <a:pt x="45015" y="114244"/>
                  </a:lnTo>
                  <a:lnTo>
                    <a:pt x="45015" y="101516"/>
                  </a:lnTo>
                  <a:lnTo>
                    <a:pt x="37564" y="101516"/>
                  </a:lnTo>
                  <a:lnTo>
                    <a:pt x="32286" y="103689"/>
                  </a:lnTo>
                  <a:lnTo>
                    <a:pt x="28250" y="103689"/>
                  </a:lnTo>
                  <a:lnTo>
                    <a:pt x="27319" y="105862"/>
                  </a:lnTo>
                  <a:lnTo>
                    <a:pt x="27319" y="106793"/>
                  </a:lnTo>
                  <a:lnTo>
                    <a:pt x="25146" y="111140"/>
                  </a:lnTo>
                  <a:lnTo>
                    <a:pt x="25146" y="116417"/>
                  </a:lnTo>
                  <a:lnTo>
                    <a:pt x="25146" y="121695"/>
                  </a:lnTo>
                  <a:lnTo>
                    <a:pt x="30423" y="123558"/>
                  </a:lnTo>
                  <a:lnTo>
                    <a:pt x="32286" y="123558"/>
                  </a:lnTo>
                  <a:lnTo>
                    <a:pt x="34459" y="125731"/>
                  </a:lnTo>
                  <a:lnTo>
                    <a:pt x="34459" y="127904"/>
                  </a:lnTo>
                  <a:lnTo>
                    <a:pt x="34459" y="129146"/>
                  </a:lnTo>
                  <a:lnTo>
                    <a:pt x="34459" y="131008"/>
                  </a:lnTo>
                  <a:lnTo>
                    <a:pt x="34459" y="134423"/>
                  </a:lnTo>
                  <a:lnTo>
                    <a:pt x="37564" y="138459"/>
                  </a:lnTo>
                  <a:lnTo>
                    <a:pt x="37564" y="141563"/>
                  </a:lnTo>
                  <a:lnTo>
                    <a:pt x="42841" y="138459"/>
                  </a:lnTo>
                  <a:lnTo>
                    <a:pt x="49050" y="136286"/>
                  </a:lnTo>
                  <a:lnTo>
                    <a:pt x="52155" y="131008"/>
                  </a:lnTo>
                  <a:lnTo>
                    <a:pt x="54328" y="125731"/>
                  </a:lnTo>
                  <a:lnTo>
                    <a:pt x="57432" y="118280"/>
                  </a:lnTo>
                  <a:lnTo>
                    <a:pt x="59605" y="120453"/>
                  </a:lnTo>
                  <a:lnTo>
                    <a:pt x="61468" y="120453"/>
                  </a:lnTo>
                  <a:lnTo>
                    <a:pt x="63641" y="120453"/>
                  </a:lnTo>
                  <a:lnTo>
                    <a:pt x="63641" y="121695"/>
                  </a:lnTo>
                  <a:lnTo>
                    <a:pt x="64572" y="125731"/>
                  </a:lnTo>
                  <a:lnTo>
                    <a:pt x="70781" y="123558"/>
                  </a:lnTo>
                  <a:lnTo>
                    <a:pt x="74196" y="123558"/>
                  </a:lnTo>
                  <a:lnTo>
                    <a:pt x="74196" y="121695"/>
                  </a:lnTo>
                  <a:lnTo>
                    <a:pt x="74196" y="120453"/>
                  </a:lnTo>
                  <a:lnTo>
                    <a:pt x="74196" y="118280"/>
                  </a:lnTo>
                  <a:lnTo>
                    <a:pt x="76059" y="118280"/>
                  </a:lnTo>
                  <a:lnTo>
                    <a:pt x="79164" y="116417"/>
                  </a:lnTo>
                  <a:lnTo>
                    <a:pt x="85373" y="114244"/>
                  </a:lnTo>
                  <a:lnTo>
                    <a:pt x="78232" y="101516"/>
                  </a:lnTo>
                  <a:lnTo>
                    <a:pt x="68919" y="91892"/>
                  </a:lnTo>
                  <a:lnTo>
                    <a:pt x="61468" y="83510"/>
                  </a:lnTo>
                  <a:lnTo>
                    <a:pt x="57432" y="69850"/>
                  </a:lnTo>
                  <a:lnTo>
                    <a:pt x="49982" y="68609"/>
                  </a:lnTo>
                  <a:lnTo>
                    <a:pt x="46877" y="66435"/>
                  </a:lnTo>
                  <a:lnTo>
                    <a:pt x="42841" y="64573"/>
                  </a:lnTo>
                  <a:lnTo>
                    <a:pt x="39737" y="64573"/>
                  </a:lnTo>
                  <a:lnTo>
                    <a:pt x="35391" y="64573"/>
                  </a:lnTo>
                  <a:lnTo>
                    <a:pt x="28250" y="64573"/>
                  </a:lnTo>
                  <a:lnTo>
                    <a:pt x="28250" y="61158"/>
                  </a:lnTo>
                  <a:lnTo>
                    <a:pt x="25146" y="61158"/>
                  </a:lnTo>
                  <a:lnTo>
                    <a:pt x="27319" y="42221"/>
                  </a:lnTo>
                  <a:lnTo>
                    <a:pt x="30423" y="31666"/>
                  </a:lnTo>
                  <a:lnTo>
                    <a:pt x="32286" y="18937"/>
                  </a:lnTo>
                  <a:lnTo>
                    <a:pt x="32286" y="0"/>
                  </a:lnTo>
                  <a:lnTo>
                    <a:pt x="25146" y="0"/>
                  </a:lnTo>
                  <a:lnTo>
                    <a:pt x="19868" y="0"/>
                  </a:lnTo>
                  <a:lnTo>
                    <a:pt x="14591" y="1863"/>
                  </a:lnTo>
                  <a:lnTo>
                    <a:pt x="8382" y="4036"/>
                  </a:lnTo>
                  <a:lnTo>
                    <a:pt x="1241" y="22042"/>
                  </a:lnTo>
                  <a:lnTo>
                    <a:pt x="0" y="40048"/>
                  </a:lnTo>
                  <a:lnTo>
                    <a:pt x="1241" y="61158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D0956A66-CEF2-44ED-A7F6-7AC1AC7932B0}"/>
                </a:ext>
              </a:extLst>
            </p:cNvPr>
            <p:cNvSpPr/>
            <p:nvPr/>
          </p:nvSpPr>
          <p:spPr>
            <a:xfrm>
              <a:off x="6849307" y="5908563"/>
              <a:ext cx="46567" cy="15522"/>
            </a:xfrm>
            <a:custGeom>
              <a:avLst/>
              <a:gdLst>
                <a:gd name="connsiteX0" fmla="*/ 39427 w 46566"/>
                <a:gd name="connsiteY0" fmla="*/ 12728 h 15522"/>
                <a:gd name="connsiteX1" fmla="*/ 46878 w 46566"/>
                <a:gd name="connsiteY1" fmla="*/ 12728 h 15522"/>
                <a:gd name="connsiteX2" fmla="*/ 44704 w 46566"/>
                <a:gd name="connsiteY2" fmla="*/ 9313 h 15522"/>
                <a:gd name="connsiteX3" fmla="*/ 44704 w 46566"/>
                <a:gd name="connsiteY3" fmla="*/ 5277 h 15522"/>
                <a:gd name="connsiteX4" fmla="*/ 44704 w 46566"/>
                <a:gd name="connsiteY4" fmla="*/ 3104 h 15522"/>
                <a:gd name="connsiteX5" fmla="*/ 43773 w 46566"/>
                <a:gd name="connsiteY5" fmla="*/ 3104 h 15522"/>
                <a:gd name="connsiteX6" fmla="*/ 39427 w 46566"/>
                <a:gd name="connsiteY6" fmla="*/ 0 h 15522"/>
                <a:gd name="connsiteX7" fmla="*/ 30113 w 46566"/>
                <a:gd name="connsiteY7" fmla="*/ 5277 h 15522"/>
                <a:gd name="connsiteX8" fmla="*/ 21731 w 46566"/>
                <a:gd name="connsiteY8" fmla="*/ 5277 h 15522"/>
                <a:gd name="connsiteX9" fmla="*/ 12418 w 46566"/>
                <a:gd name="connsiteY9" fmla="*/ 5277 h 15522"/>
                <a:gd name="connsiteX10" fmla="*/ 3104 w 46566"/>
                <a:gd name="connsiteY10" fmla="*/ 9313 h 15522"/>
                <a:gd name="connsiteX11" fmla="*/ 1863 w 46566"/>
                <a:gd name="connsiteY11" fmla="*/ 10555 h 15522"/>
                <a:gd name="connsiteX12" fmla="*/ 0 w 46566"/>
                <a:gd name="connsiteY12" fmla="*/ 10555 h 15522"/>
                <a:gd name="connsiteX13" fmla="*/ 0 w 46566"/>
                <a:gd name="connsiteY13" fmla="*/ 12728 h 15522"/>
                <a:gd name="connsiteX14" fmla="*/ 12418 w 46566"/>
                <a:gd name="connsiteY14" fmla="*/ 16764 h 15522"/>
                <a:gd name="connsiteX15" fmla="*/ 27009 w 46566"/>
                <a:gd name="connsiteY15" fmla="*/ 16764 h 15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6566" h="15522">
                  <a:moveTo>
                    <a:pt x="39427" y="12728"/>
                  </a:moveTo>
                  <a:lnTo>
                    <a:pt x="46878" y="12728"/>
                  </a:lnTo>
                  <a:lnTo>
                    <a:pt x="44704" y="9313"/>
                  </a:lnTo>
                  <a:lnTo>
                    <a:pt x="44704" y="5277"/>
                  </a:lnTo>
                  <a:lnTo>
                    <a:pt x="44704" y="3104"/>
                  </a:lnTo>
                  <a:lnTo>
                    <a:pt x="43773" y="3104"/>
                  </a:lnTo>
                  <a:lnTo>
                    <a:pt x="39427" y="0"/>
                  </a:lnTo>
                  <a:lnTo>
                    <a:pt x="30113" y="5277"/>
                  </a:lnTo>
                  <a:lnTo>
                    <a:pt x="21731" y="5277"/>
                  </a:lnTo>
                  <a:lnTo>
                    <a:pt x="12418" y="5277"/>
                  </a:lnTo>
                  <a:lnTo>
                    <a:pt x="3104" y="9313"/>
                  </a:lnTo>
                  <a:lnTo>
                    <a:pt x="1863" y="10555"/>
                  </a:lnTo>
                  <a:lnTo>
                    <a:pt x="0" y="10555"/>
                  </a:lnTo>
                  <a:lnTo>
                    <a:pt x="0" y="12728"/>
                  </a:lnTo>
                  <a:lnTo>
                    <a:pt x="12418" y="16764"/>
                  </a:lnTo>
                  <a:lnTo>
                    <a:pt x="27009" y="16764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8E57393-851D-466E-BD84-ADAF552C0386}"/>
                </a:ext>
              </a:extLst>
            </p:cNvPr>
            <p:cNvSpPr/>
            <p:nvPr/>
          </p:nvSpPr>
          <p:spPr>
            <a:xfrm>
              <a:off x="6900220" y="5913840"/>
              <a:ext cx="55880" cy="31045"/>
            </a:xfrm>
            <a:custGeom>
              <a:avLst/>
              <a:gdLst>
                <a:gd name="connsiteX0" fmla="*/ 5278 w 55880"/>
                <a:gd name="connsiteY0" fmla="*/ 29492 h 31044"/>
                <a:gd name="connsiteX1" fmla="*/ 7451 w 55880"/>
                <a:gd name="connsiteY1" fmla="*/ 29492 h 31044"/>
                <a:gd name="connsiteX2" fmla="*/ 8382 w 55880"/>
                <a:gd name="connsiteY2" fmla="*/ 31666 h 31044"/>
                <a:gd name="connsiteX3" fmla="*/ 12418 w 55880"/>
                <a:gd name="connsiteY3" fmla="*/ 31666 h 31044"/>
                <a:gd name="connsiteX4" fmla="*/ 25146 w 55880"/>
                <a:gd name="connsiteY4" fmla="*/ 22042 h 31044"/>
                <a:gd name="connsiteX5" fmla="*/ 39737 w 55880"/>
                <a:gd name="connsiteY5" fmla="*/ 12728 h 31044"/>
                <a:gd name="connsiteX6" fmla="*/ 52155 w 55880"/>
                <a:gd name="connsiteY6" fmla="*/ 4036 h 31044"/>
                <a:gd name="connsiteX7" fmla="*/ 56191 w 55880"/>
                <a:gd name="connsiteY7" fmla="*/ 4036 h 31044"/>
                <a:gd name="connsiteX8" fmla="*/ 56191 w 55880"/>
                <a:gd name="connsiteY8" fmla="*/ 0 h 31044"/>
                <a:gd name="connsiteX9" fmla="*/ 36322 w 55880"/>
                <a:gd name="connsiteY9" fmla="*/ 0 h 31044"/>
                <a:gd name="connsiteX10" fmla="*/ 17696 w 55880"/>
                <a:gd name="connsiteY10" fmla="*/ 12728 h 31044"/>
                <a:gd name="connsiteX11" fmla="*/ 0 w 55880"/>
                <a:gd name="connsiteY11" fmla="*/ 24215 h 31044"/>
                <a:gd name="connsiteX12" fmla="*/ 0 w 55880"/>
                <a:gd name="connsiteY12" fmla="*/ 27319 h 31044"/>
                <a:gd name="connsiteX13" fmla="*/ 3104 w 55880"/>
                <a:gd name="connsiteY13" fmla="*/ 27319 h 31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880" h="31044">
                  <a:moveTo>
                    <a:pt x="5278" y="29492"/>
                  </a:moveTo>
                  <a:lnTo>
                    <a:pt x="7451" y="29492"/>
                  </a:lnTo>
                  <a:lnTo>
                    <a:pt x="8382" y="31666"/>
                  </a:lnTo>
                  <a:lnTo>
                    <a:pt x="12418" y="31666"/>
                  </a:lnTo>
                  <a:lnTo>
                    <a:pt x="25146" y="22042"/>
                  </a:lnTo>
                  <a:lnTo>
                    <a:pt x="39737" y="12728"/>
                  </a:lnTo>
                  <a:lnTo>
                    <a:pt x="52155" y="4036"/>
                  </a:lnTo>
                  <a:lnTo>
                    <a:pt x="56191" y="4036"/>
                  </a:lnTo>
                  <a:lnTo>
                    <a:pt x="56191" y="0"/>
                  </a:lnTo>
                  <a:lnTo>
                    <a:pt x="36322" y="0"/>
                  </a:lnTo>
                  <a:lnTo>
                    <a:pt x="17696" y="12728"/>
                  </a:lnTo>
                  <a:lnTo>
                    <a:pt x="0" y="24215"/>
                  </a:lnTo>
                  <a:lnTo>
                    <a:pt x="0" y="27319"/>
                  </a:lnTo>
                  <a:lnTo>
                    <a:pt x="3104" y="27319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C26E2D7A-D031-44A9-9480-34CEB652281B}"/>
                </a:ext>
              </a:extLst>
            </p:cNvPr>
            <p:cNvSpPr/>
            <p:nvPr/>
          </p:nvSpPr>
          <p:spPr>
            <a:xfrm>
              <a:off x="6939958" y="5274633"/>
              <a:ext cx="15522" cy="12418"/>
            </a:xfrm>
            <a:custGeom>
              <a:avLst/>
              <a:gdLst>
                <a:gd name="connsiteX0" fmla="*/ 16453 w 15522"/>
                <a:gd name="connsiteY0" fmla="*/ 0 h 12417"/>
                <a:gd name="connsiteX1" fmla="*/ 4036 w 15522"/>
                <a:gd name="connsiteY1" fmla="*/ 0 h 12417"/>
                <a:gd name="connsiteX2" fmla="*/ 4036 w 15522"/>
                <a:gd name="connsiteY2" fmla="*/ 4346 h 12417"/>
                <a:gd name="connsiteX3" fmla="*/ 0 w 15522"/>
                <a:gd name="connsiteY3" fmla="*/ 4346 h 12417"/>
                <a:gd name="connsiteX4" fmla="*/ 0 w 15522"/>
                <a:gd name="connsiteY4" fmla="*/ 12728 h 12417"/>
                <a:gd name="connsiteX5" fmla="*/ 16453 w 15522"/>
                <a:gd name="connsiteY5" fmla="*/ 12728 h 12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522" h="12417">
                  <a:moveTo>
                    <a:pt x="16453" y="0"/>
                  </a:moveTo>
                  <a:lnTo>
                    <a:pt x="4036" y="0"/>
                  </a:lnTo>
                  <a:lnTo>
                    <a:pt x="4036" y="4346"/>
                  </a:lnTo>
                  <a:lnTo>
                    <a:pt x="0" y="4346"/>
                  </a:lnTo>
                  <a:lnTo>
                    <a:pt x="0" y="12728"/>
                  </a:lnTo>
                  <a:lnTo>
                    <a:pt x="16453" y="12728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EF4E785A-B1A4-4EE5-A894-974751B8225C}"/>
                </a:ext>
              </a:extLst>
            </p:cNvPr>
            <p:cNvSpPr/>
            <p:nvPr/>
          </p:nvSpPr>
          <p:spPr>
            <a:xfrm>
              <a:off x="6808639" y="5623884"/>
              <a:ext cx="40358" cy="46567"/>
            </a:xfrm>
            <a:custGeom>
              <a:avLst/>
              <a:gdLst>
                <a:gd name="connsiteX0" fmla="*/ 21731 w 40357"/>
                <a:gd name="connsiteY0" fmla="*/ 31666 h 46566"/>
                <a:gd name="connsiteX1" fmla="*/ 29182 w 40357"/>
                <a:gd name="connsiteY1" fmla="*/ 22042 h 46566"/>
                <a:gd name="connsiteX2" fmla="*/ 40668 w 40357"/>
                <a:gd name="connsiteY2" fmla="*/ 12728 h 46566"/>
                <a:gd name="connsiteX3" fmla="*/ 38495 w 40357"/>
                <a:gd name="connsiteY3" fmla="*/ 9313 h 46566"/>
                <a:gd name="connsiteX4" fmla="*/ 38495 w 40357"/>
                <a:gd name="connsiteY4" fmla="*/ 5278 h 46566"/>
                <a:gd name="connsiteX5" fmla="*/ 38495 w 40357"/>
                <a:gd name="connsiteY5" fmla="*/ 4036 h 46566"/>
                <a:gd name="connsiteX6" fmla="*/ 36322 w 40357"/>
                <a:gd name="connsiteY6" fmla="*/ 4036 h 46566"/>
                <a:gd name="connsiteX7" fmla="*/ 35391 w 40357"/>
                <a:gd name="connsiteY7" fmla="*/ 4036 h 46566"/>
                <a:gd name="connsiteX8" fmla="*/ 31045 w 40357"/>
                <a:gd name="connsiteY8" fmla="*/ 0 h 46566"/>
                <a:gd name="connsiteX9" fmla="*/ 23905 w 40357"/>
                <a:gd name="connsiteY9" fmla="*/ 16764 h 46566"/>
                <a:gd name="connsiteX10" fmla="*/ 11487 w 40357"/>
                <a:gd name="connsiteY10" fmla="*/ 29492 h 46566"/>
                <a:gd name="connsiteX11" fmla="*/ 0 w 40357"/>
                <a:gd name="connsiteY11" fmla="*/ 42221 h 46566"/>
                <a:gd name="connsiteX12" fmla="*/ 0 w 40357"/>
                <a:gd name="connsiteY12" fmla="*/ 46567 h 46566"/>
                <a:gd name="connsiteX13" fmla="*/ 13349 w 40357"/>
                <a:gd name="connsiteY13" fmla="*/ 39116 h 46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0357" h="46566">
                  <a:moveTo>
                    <a:pt x="21731" y="31666"/>
                  </a:moveTo>
                  <a:lnTo>
                    <a:pt x="29182" y="22042"/>
                  </a:lnTo>
                  <a:lnTo>
                    <a:pt x="40668" y="12728"/>
                  </a:lnTo>
                  <a:lnTo>
                    <a:pt x="38495" y="9313"/>
                  </a:lnTo>
                  <a:lnTo>
                    <a:pt x="38495" y="5278"/>
                  </a:lnTo>
                  <a:lnTo>
                    <a:pt x="38495" y="4036"/>
                  </a:lnTo>
                  <a:lnTo>
                    <a:pt x="36322" y="4036"/>
                  </a:lnTo>
                  <a:lnTo>
                    <a:pt x="35391" y="4036"/>
                  </a:lnTo>
                  <a:lnTo>
                    <a:pt x="31045" y="0"/>
                  </a:lnTo>
                  <a:lnTo>
                    <a:pt x="23905" y="16764"/>
                  </a:lnTo>
                  <a:lnTo>
                    <a:pt x="11487" y="29492"/>
                  </a:lnTo>
                  <a:lnTo>
                    <a:pt x="0" y="42221"/>
                  </a:lnTo>
                  <a:lnTo>
                    <a:pt x="0" y="46567"/>
                  </a:lnTo>
                  <a:lnTo>
                    <a:pt x="13349" y="39116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9C5B3EFB-A3F0-4E49-8FA9-68E88E415693}"/>
                </a:ext>
              </a:extLst>
            </p:cNvPr>
            <p:cNvSpPr/>
            <p:nvPr/>
          </p:nvSpPr>
          <p:spPr>
            <a:xfrm>
              <a:off x="4168919" y="5514917"/>
              <a:ext cx="24836" cy="12418"/>
            </a:xfrm>
            <a:custGeom>
              <a:avLst/>
              <a:gdLst>
                <a:gd name="connsiteX0" fmla="*/ 27009 w 24835"/>
                <a:gd name="connsiteY0" fmla="*/ 4036 h 12417"/>
                <a:gd name="connsiteX1" fmla="*/ 21731 w 24835"/>
                <a:gd name="connsiteY1" fmla="*/ 1863 h 12417"/>
                <a:gd name="connsiteX2" fmla="*/ 14591 w 24835"/>
                <a:gd name="connsiteY2" fmla="*/ 1863 h 12417"/>
                <a:gd name="connsiteX3" fmla="*/ 7140 w 24835"/>
                <a:gd name="connsiteY3" fmla="*/ 0 h 12417"/>
                <a:gd name="connsiteX4" fmla="*/ 0 w 24835"/>
                <a:gd name="connsiteY4" fmla="*/ 0 h 12417"/>
                <a:gd name="connsiteX5" fmla="*/ 0 w 24835"/>
                <a:gd name="connsiteY5" fmla="*/ 12728 h 12417"/>
                <a:gd name="connsiteX6" fmla="*/ 27009 w 24835"/>
                <a:gd name="connsiteY6" fmla="*/ 12728 h 12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835" h="12417">
                  <a:moveTo>
                    <a:pt x="27009" y="4036"/>
                  </a:moveTo>
                  <a:lnTo>
                    <a:pt x="21731" y="1863"/>
                  </a:lnTo>
                  <a:lnTo>
                    <a:pt x="14591" y="1863"/>
                  </a:lnTo>
                  <a:lnTo>
                    <a:pt x="7140" y="0"/>
                  </a:lnTo>
                  <a:lnTo>
                    <a:pt x="0" y="0"/>
                  </a:lnTo>
                  <a:lnTo>
                    <a:pt x="0" y="12728"/>
                  </a:lnTo>
                  <a:lnTo>
                    <a:pt x="27009" y="12728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2586CE28-C1CE-4E3E-8F64-1F41FAD6CB13}"/>
                </a:ext>
              </a:extLst>
            </p:cNvPr>
            <p:cNvSpPr/>
            <p:nvPr/>
          </p:nvSpPr>
          <p:spPr>
            <a:xfrm>
              <a:off x="2808235" y="5420542"/>
              <a:ext cx="27940" cy="15522"/>
            </a:xfrm>
            <a:custGeom>
              <a:avLst/>
              <a:gdLst>
                <a:gd name="connsiteX0" fmla="*/ 16764 w 27940"/>
                <a:gd name="connsiteY0" fmla="*/ 2173 h 15522"/>
                <a:gd name="connsiteX1" fmla="*/ 13660 w 27940"/>
                <a:gd name="connsiteY1" fmla="*/ 2173 h 15522"/>
                <a:gd name="connsiteX2" fmla="*/ 6209 w 27940"/>
                <a:gd name="connsiteY2" fmla="*/ 2173 h 15522"/>
                <a:gd name="connsiteX3" fmla="*/ 0 w 27940"/>
                <a:gd name="connsiteY3" fmla="*/ 0 h 15522"/>
                <a:gd name="connsiteX4" fmla="*/ 0 w 27940"/>
                <a:gd name="connsiteY4" fmla="*/ 17075 h 15522"/>
                <a:gd name="connsiteX5" fmla="*/ 7451 w 27940"/>
                <a:gd name="connsiteY5" fmla="*/ 17075 h 15522"/>
                <a:gd name="connsiteX6" fmla="*/ 13660 w 27940"/>
                <a:gd name="connsiteY6" fmla="*/ 17075 h 15522"/>
                <a:gd name="connsiteX7" fmla="*/ 18937 w 27940"/>
                <a:gd name="connsiteY7" fmla="*/ 14901 h 15522"/>
                <a:gd name="connsiteX8" fmla="*/ 24215 w 27940"/>
                <a:gd name="connsiteY8" fmla="*/ 12728 h 15522"/>
                <a:gd name="connsiteX9" fmla="*/ 28251 w 27940"/>
                <a:gd name="connsiteY9" fmla="*/ 12728 h 15522"/>
                <a:gd name="connsiteX10" fmla="*/ 28251 w 27940"/>
                <a:gd name="connsiteY10" fmla="*/ 5278 h 15522"/>
                <a:gd name="connsiteX11" fmla="*/ 22042 w 27940"/>
                <a:gd name="connsiteY11" fmla="*/ 4346 h 15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940" h="15522">
                  <a:moveTo>
                    <a:pt x="16764" y="2173"/>
                  </a:moveTo>
                  <a:lnTo>
                    <a:pt x="13660" y="2173"/>
                  </a:lnTo>
                  <a:lnTo>
                    <a:pt x="6209" y="2173"/>
                  </a:lnTo>
                  <a:lnTo>
                    <a:pt x="0" y="0"/>
                  </a:lnTo>
                  <a:lnTo>
                    <a:pt x="0" y="17075"/>
                  </a:lnTo>
                  <a:lnTo>
                    <a:pt x="7451" y="17075"/>
                  </a:lnTo>
                  <a:lnTo>
                    <a:pt x="13660" y="17075"/>
                  </a:lnTo>
                  <a:lnTo>
                    <a:pt x="18937" y="14901"/>
                  </a:lnTo>
                  <a:lnTo>
                    <a:pt x="24215" y="12728"/>
                  </a:lnTo>
                  <a:lnTo>
                    <a:pt x="28251" y="12728"/>
                  </a:lnTo>
                  <a:lnTo>
                    <a:pt x="28251" y="5278"/>
                  </a:lnTo>
                  <a:lnTo>
                    <a:pt x="22042" y="4346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41B3F15C-8101-4A67-AA0B-5871BC46A963}"/>
                </a:ext>
              </a:extLst>
            </p:cNvPr>
            <p:cNvSpPr/>
            <p:nvPr/>
          </p:nvSpPr>
          <p:spPr>
            <a:xfrm>
              <a:off x="4066782" y="5047076"/>
              <a:ext cx="12418" cy="15522"/>
            </a:xfrm>
            <a:custGeom>
              <a:avLst/>
              <a:gdLst>
                <a:gd name="connsiteX0" fmla="*/ 6209 w 12417"/>
                <a:gd name="connsiteY0" fmla="*/ 17075 h 15522"/>
                <a:gd name="connsiteX1" fmla="*/ 7140 w 12417"/>
                <a:gd name="connsiteY1" fmla="*/ 11487 h 15522"/>
                <a:gd name="connsiteX2" fmla="*/ 7140 w 12417"/>
                <a:gd name="connsiteY2" fmla="*/ 9624 h 15522"/>
                <a:gd name="connsiteX3" fmla="*/ 9313 w 12417"/>
                <a:gd name="connsiteY3" fmla="*/ 6209 h 15522"/>
                <a:gd name="connsiteX4" fmla="*/ 11487 w 12417"/>
                <a:gd name="connsiteY4" fmla="*/ 4346 h 15522"/>
                <a:gd name="connsiteX5" fmla="*/ 12418 w 12417"/>
                <a:gd name="connsiteY5" fmla="*/ 0 h 15522"/>
                <a:gd name="connsiteX6" fmla="*/ 9313 w 12417"/>
                <a:gd name="connsiteY6" fmla="*/ 0 h 15522"/>
                <a:gd name="connsiteX7" fmla="*/ 7140 w 12417"/>
                <a:gd name="connsiteY7" fmla="*/ 4346 h 15522"/>
                <a:gd name="connsiteX8" fmla="*/ 4036 w 12417"/>
                <a:gd name="connsiteY8" fmla="*/ 7451 h 15522"/>
                <a:gd name="connsiteX9" fmla="*/ 2173 w 12417"/>
                <a:gd name="connsiteY9" fmla="*/ 9624 h 15522"/>
                <a:gd name="connsiteX10" fmla="*/ 0 w 12417"/>
                <a:gd name="connsiteY10" fmla="*/ 11487 h 15522"/>
                <a:gd name="connsiteX11" fmla="*/ 0 w 12417"/>
                <a:gd name="connsiteY11" fmla="*/ 13660 h 15522"/>
                <a:gd name="connsiteX12" fmla="*/ 2173 w 12417"/>
                <a:gd name="connsiteY12" fmla="*/ 14901 h 15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417" h="15522">
                  <a:moveTo>
                    <a:pt x="6209" y="17075"/>
                  </a:moveTo>
                  <a:lnTo>
                    <a:pt x="7140" y="11487"/>
                  </a:lnTo>
                  <a:lnTo>
                    <a:pt x="7140" y="9624"/>
                  </a:lnTo>
                  <a:lnTo>
                    <a:pt x="9313" y="6209"/>
                  </a:lnTo>
                  <a:lnTo>
                    <a:pt x="11487" y="4346"/>
                  </a:lnTo>
                  <a:lnTo>
                    <a:pt x="12418" y="0"/>
                  </a:lnTo>
                  <a:lnTo>
                    <a:pt x="9313" y="0"/>
                  </a:lnTo>
                  <a:lnTo>
                    <a:pt x="7140" y="4346"/>
                  </a:lnTo>
                  <a:lnTo>
                    <a:pt x="4036" y="7451"/>
                  </a:lnTo>
                  <a:lnTo>
                    <a:pt x="2173" y="9624"/>
                  </a:lnTo>
                  <a:lnTo>
                    <a:pt x="0" y="11487"/>
                  </a:lnTo>
                  <a:lnTo>
                    <a:pt x="0" y="13660"/>
                  </a:lnTo>
                  <a:lnTo>
                    <a:pt x="2173" y="14901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8081905E-C350-49EE-8D8E-8E357B6CD867}"/>
                </a:ext>
              </a:extLst>
            </p:cNvPr>
            <p:cNvSpPr/>
            <p:nvPr/>
          </p:nvSpPr>
          <p:spPr>
            <a:xfrm>
              <a:off x="4243736" y="5014168"/>
              <a:ext cx="18627" cy="37253"/>
            </a:xfrm>
            <a:custGeom>
              <a:avLst/>
              <a:gdLst>
                <a:gd name="connsiteX0" fmla="*/ 3104 w 18626"/>
                <a:gd name="connsiteY0" fmla="*/ 31976 h 37253"/>
                <a:gd name="connsiteX1" fmla="*/ 3104 w 18626"/>
                <a:gd name="connsiteY1" fmla="*/ 32907 h 37253"/>
                <a:gd name="connsiteX2" fmla="*/ 3104 w 18626"/>
                <a:gd name="connsiteY2" fmla="*/ 35080 h 37253"/>
                <a:gd name="connsiteX3" fmla="*/ 5278 w 18626"/>
                <a:gd name="connsiteY3" fmla="*/ 37253 h 37253"/>
                <a:gd name="connsiteX4" fmla="*/ 12728 w 18626"/>
                <a:gd name="connsiteY4" fmla="*/ 37253 h 37253"/>
                <a:gd name="connsiteX5" fmla="*/ 14591 w 18626"/>
                <a:gd name="connsiteY5" fmla="*/ 37253 h 37253"/>
                <a:gd name="connsiteX6" fmla="*/ 14591 w 18626"/>
                <a:gd name="connsiteY6" fmla="*/ 35080 h 37253"/>
                <a:gd name="connsiteX7" fmla="*/ 15833 w 18626"/>
                <a:gd name="connsiteY7" fmla="*/ 35080 h 37253"/>
                <a:gd name="connsiteX8" fmla="*/ 17695 w 18626"/>
                <a:gd name="connsiteY8" fmla="*/ 35080 h 37253"/>
                <a:gd name="connsiteX9" fmla="*/ 19869 w 18626"/>
                <a:gd name="connsiteY9" fmla="*/ 32907 h 37253"/>
                <a:gd name="connsiteX10" fmla="*/ 17695 w 18626"/>
                <a:gd name="connsiteY10" fmla="*/ 22352 h 37253"/>
                <a:gd name="connsiteX11" fmla="*/ 15833 w 18626"/>
                <a:gd name="connsiteY11" fmla="*/ 9624 h 37253"/>
                <a:gd name="connsiteX12" fmla="*/ 12728 w 18626"/>
                <a:gd name="connsiteY12" fmla="*/ 0 h 37253"/>
                <a:gd name="connsiteX13" fmla="*/ 0 w 18626"/>
                <a:gd name="connsiteY13" fmla="*/ 29803 h 37253"/>
                <a:gd name="connsiteX14" fmla="*/ 1242 w 18626"/>
                <a:gd name="connsiteY14" fmla="*/ 31976 h 37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8626" h="37253">
                  <a:moveTo>
                    <a:pt x="3104" y="31976"/>
                  </a:moveTo>
                  <a:lnTo>
                    <a:pt x="3104" y="32907"/>
                  </a:lnTo>
                  <a:lnTo>
                    <a:pt x="3104" y="35080"/>
                  </a:lnTo>
                  <a:lnTo>
                    <a:pt x="5278" y="37253"/>
                  </a:lnTo>
                  <a:lnTo>
                    <a:pt x="12728" y="37253"/>
                  </a:lnTo>
                  <a:lnTo>
                    <a:pt x="14591" y="37253"/>
                  </a:lnTo>
                  <a:lnTo>
                    <a:pt x="14591" y="35080"/>
                  </a:lnTo>
                  <a:lnTo>
                    <a:pt x="15833" y="35080"/>
                  </a:lnTo>
                  <a:lnTo>
                    <a:pt x="17695" y="35080"/>
                  </a:lnTo>
                  <a:lnTo>
                    <a:pt x="19869" y="32907"/>
                  </a:lnTo>
                  <a:lnTo>
                    <a:pt x="17695" y="22352"/>
                  </a:lnTo>
                  <a:lnTo>
                    <a:pt x="15833" y="9624"/>
                  </a:lnTo>
                  <a:lnTo>
                    <a:pt x="12728" y="0"/>
                  </a:lnTo>
                  <a:lnTo>
                    <a:pt x="0" y="29803"/>
                  </a:lnTo>
                  <a:lnTo>
                    <a:pt x="1242" y="31976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73B01BAB-C307-4336-8376-914403B589C3}"/>
                </a:ext>
              </a:extLst>
            </p:cNvPr>
            <p:cNvSpPr/>
            <p:nvPr/>
          </p:nvSpPr>
          <p:spPr>
            <a:xfrm>
              <a:off x="6688807" y="5690630"/>
              <a:ext cx="149014" cy="161432"/>
            </a:xfrm>
            <a:custGeom>
              <a:avLst/>
              <a:gdLst>
                <a:gd name="connsiteX0" fmla="*/ 11486 w 149013"/>
                <a:gd name="connsiteY0" fmla="*/ 128835 h 161431"/>
                <a:gd name="connsiteX1" fmla="*/ 23904 w 149013"/>
                <a:gd name="connsiteY1" fmla="*/ 145910 h 161431"/>
                <a:gd name="connsiteX2" fmla="*/ 36322 w 149013"/>
                <a:gd name="connsiteY2" fmla="*/ 151187 h 161431"/>
                <a:gd name="connsiteX3" fmla="*/ 49051 w 149013"/>
                <a:gd name="connsiteY3" fmla="*/ 153360 h 161431"/>
                <a:gd name="connsiteX4" fmla="*/ 62400 w 149013"/>
                <a:gd name="connsiteY4" fmla="*/ 153360 h 161431"/>
                <a:gd name="connsiteX5" fmla="*/ 72955 w 149013"/>
                <a:gd name="connsiteY5" fmla="*/ 155533 h 161431"/>
                <a:gd name="connsiteX6" fmla="*/ 84441 w 149013"/>
                <a:gd name="connsiteY6" fmla="*/ 161742 h 161431"/>
                <a:gd name="connsiteX7" fmla="*/ 90650 w 149013"/>
                <a:gd name="connsiteY7" fmla="*/ 161742 h 161431"/>
                <a:gd name="connsiteX8" fmla="*/ 96859 w 149013"/>
                <a:gd name="connsiteY8" fmla="*/ 160811 h 161431"/>
                <a:gd name="connsiteX9" fmla="*/ 102137 w 149013"/>
                <a:gd name="connsiteY9" fmla="*/ 160811 h 161431"/>
                <a:gd name="connsiteX10" fmla="*/ 107104 w 149013"/>
                <a:gd name="connsiteY10" fmla="*/ 156465 h 161431"/>
                <a:gd name="connsiteX11" fmla="*/ 116728 w 149013"/>
                <a:gd name="connsiteY11" fmla="*/ 138459 h 161431"/>
                <a:gd name="connsiteX12" fmla="*/ 121695 w 149013"/>
                <a:gd name="connsiteY12" fmla="*/ 118280 h 161431"/>
                <a:gd name="connsiteX13" fmla="*/ 131319 w 149013"/>
                <a:gd name="connsiteY13" fmla="*/ 101516 h 161431"/>
                <a:gd name="connsiteX14" fmla="*/ 133181 w 149013"/>
                <a:gd name="connsiteY14" fmla="*/ 97170 h 161431"/>
                <a:gd name="connsiteX15" fmla="*/ 134423 w 149013"/>
                <a:gd name="connsiteY15" fmla="*/ 96238 h 161431"/>
                <a:gd name="connsiteX16" fmla="*/ 136286 w 149013"/>
                <a:gd name="connsiteY16" fmla="*/ 94065 h 161431"/>
                <a:gd name="connsiteX17" fmla="*/ 138459 w 149013"/>
                <a:gd name="connsiteY17" fmla="*/ 94065 h 161431"/>
                <a:gd name="connsiteX18" fmla="*/ 141563 w 149013"/>
                <a:gd name="connsiteY18" fmla="*/ 94065 h 161431"/>
                <a:gd name="connsiteX19" fmla="*/ 147772 w 149013"/>
                <a:gd name="connsiteY19" fmla="*/ 91892 h 161431"/>
                <a:gd name="connsiteX20" fmla="*/ 140632 w 149013"/>
                <a:gd name="connsiteY20" fmla="*/ 76991 h 161431"/>
                <a:gd name="connsiteX21" fmla="*/ 133181 w 149013"/>
                <a:gd name="connsiteY21" fmla="*/ 64262 h 161431"/>
                <a:gd name="connsiteX22" fmla="*/ 126972 w 149013"/>
                <a:gd name="connsiteY22" fmla="*/ 47498 h 161431"/>
                <a:gd name="connsiteX23" fmla="*/ 134423 w 149013"/>
                <a:gd name="connsiteY23" fmla="*/ 44394 h 161431"/>
                <a:gd name="connsiteX24" fmla="*/ 140632 w 149013"/>
                <a:gd name="connsiteY24" fmla="*/ 40047 h 161431"/>
                <a:gd name="connsiteX25" fmla="*/ 145910 w 149013"/>
                <a:gd name="connsiteY25" fmla="*/ 34770 h 161431"/>
                <a:gd name="connsiteX26" fmla="*/ 150877 w 149013"/>
                <a:gd name="connsiteY26" fmla="*/ 31666 h 161431"/>
                <a:gd name="connsiteX27" fmla="*/ 145910 w 149013"/>
                <a:gd name="connsiteY27" fmla="*/ 22042 h 161431"/>
                <a:gd name="connsiteX28" fmla="*/ 134423 w 149013"/>
                <a:gd name="connsiteY28" fmla="*/ 10555 h 161431"/>
                <a:gd name="connsiteX29" fmla="*/ 121695 w 149013"/>
                <a:gd name="connsiteY29" fmla="*/ 3104 h 161431"/>
                <a:gd name="connsiteX30" fmla="*/ 111450 w 149013"/>
                <a:gd name="connsiteY30" fmla="*/ 0 h 161431"/>
                <a:gd name="connsiteX31" fmla="*/ 105241 w 149013"/>
                <a:gd name="connsiteY31" fmla="*/ 9313 h 161431"/>
                <a:gd name="connsiteX32" fmla="*/ 99963 w 149013"/>
                <a:gd name="connsiteY32" fmla="*/ 17695 h 161431"/>
                <a:gd name="connsiteX33" fmla="*/ 94686 w 149013"/>
                <a:gd name="connsiteY33" fmla="*/ 27319 h 161431"/>
                <a:gd name="connsiteX34" fmla="*/ 90650 w 149013"/>
                <a:gd name="connsiteY34" fmla="*/ 40047 h 161431"/>
                <a:gd name="connsiteX35" fmla="*/ 84441 w 149013"/>
                <a:gd name="connsiteY35" fmla="*/ 40047 h 161431"/>
                <a:gd name="connsiteX36" fmla="*/ 78232 w 149013"/>
                <a:gd name="connsiteY36" fmla="*/ 40047 h 161431"/>
                <a:gd name="connsiteX37" fmla="*/ 74817 w 149013"/>
                <a:gd name="connsiteY37" fmla="*/ 40047 h 161431"/>
                <a:gd name="connsiteX38" fmla="*/ 72955 w 149013"/>
                <a:gd name="connsiteY38" fmla="*/ 42221 h 161431"/>
                <a:gd name="connsiteX39" fmla="*/ 72955 w 149013"/>
                <a:gd name="connsiteY39" fmla="*/ 44394 h 161431"/>
                <a:gd name="connsiteX40" fmla="*/ 72955 w 149013"/>
                <a:gd name="connsiteY40" fmla="*/ 46256 h 161431"/>
                <a:gd name="connsiteX41" fmla="*/ 70782 w 149013"/>
                <a:gd name="connsiteY41" fmla="*/ 47498 h 161431"/>
                <a:gd name="connsiteX42" fmla="*/ 70782 w 149013"/>
                <a:gd name="connsiteY42" fmla="*/ 49671 h 161431"/>
                <a:gd name="connsiteX43" fmla="*/ 67677 w 149013"/>
                <a:gd name="connsiteY43" fmla="*/ 53707 h 161431"/>
                <a:gd name="connsiteX44" fmla="*/ 63641 w 149013"/>
                <a:gd name="connsiteY44" fmla="*/ 57122 h 161431"/>
                <a:gd name="connsiteX45" fmla="*/ 40668 w 149013"/>
                <a:gd name="connsiteY45" fmla="*/ 60226 h 161431"/>
                <a:gd name="connsiteX46" fmla="*/ 31355 w 149013"/>
                <a:gd name="connsiteY46" fmla="*/ 75128 h 161431"/>
                <a:gd name="connsiteX47" fmla="*/ 23904 w 149013"/>
                <a:gd name="connsiteY47" fmla="*/ 79164 h 161431"/>
                <a:gd name="connsiteX48" fmla="*/ 16764 w 149013"/>
                <a:gd name="connsiteY48" fmla="*/ 76991 h 161431"/>
                <a:gd name="connsiteX49" fmla="*/ 9313 w 149013"/>
                <a:gd name="connsiteY49" fmla="*/ 76991 h 161431"/>
                <a:gd name="connsiteX50" fmla="*/ 0 w 149013"/>
                <a:gd name="connsiteY50" fmla="*/ 81337 h 161431"/>
                <a:gd name="connsiteX51" fmla="*/ 2173 w 149013"/>
                <a:gd name="connsiteY51" fmla="*/ 106793 h 161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49013" h="161431">
                  <a:moveTo>
                    <a:pt x="11486" y="128835"/>
                  </a:moveTo>
                  <a:lnTo>
                    <a:pt x="23904" y="145910"/>
                  </a:lnTo>
                  <a:lnTo>
                    <a:pt x="36322" y="151187"/>
                  </a:lnTo>
                  <a:lnTo>
                    <a:pt x="49051" y="153360"/>
                  </a:lnTo>
                  <a:lnTo>
                    <a:pt x="62400" y="153360"/>
                  </a:lnTo>
                  <a:lnTo>
                    <a:pt x="72955" y="155533"/>
                  </a:lnTo>
                  <a:lnTo>
                    <a:pt x="84441" y="161742"/>
                  </a:lnTo>
                  <a:lnTo>
                    <a:pt x="90650" y="161742"/>
                  </a:lnTo>
                  <a:lnTo>
                    <a:pt x="96859" y="160811"/>
                  </a:lnTo>
                  <a:lnTo>
                    <a:pt x="102137" y="160811"/>
                  </a:lnTo>
                  <a:lnTo>
                    <a:pt x="107104" y="156465"/>
                  </a:lnTo>
                  <a:lnTo>
                    <a:pt x="116728" y="138459"/>
                  </a:lnTo>
                  <a:lnTo>
                    <a:pt x="121695" y="118280"/>
                  </a:lnTo>
                  <a:lnTo>
                    <a:pt x="131319" y="101516"/>
                  </a:lnTo>
                  <a:lnTo>
                    <a:pt x="133181" y="97170"/>
                  </a:lnTo>
                  <a:lnTo>
                    <a:pt x="134423" y="96238"/>
                  </a:lnTo>
                  <a:lnTo>
                    <a:pt x="136286" y="94065"/>
                  </a:lnTo>
                  <a:lnTo>
                    <a:pt x="138459" y="94065"/>
                  </a:lnTo>
                  <a:lnTo>
                    <a:pt x="141563" y="94065"/>
                  </a:lnTo>
                  <a:lnTo>
                    <a:pt x="147772" y="91892"/>
                  </a:lnTo>
                  <a:lnTo>
                    <a:pt x="140632" y="76991"/>
                  </a:lnTo>
                  <a:lnTo>
                    <a:pt x="133181" y="64262"/>
                  </a:lnTo>
                  <a:lnTo>
                    <a:pt x="126972" y="47498"/>
                  </a:lnTo>
                  <a:lnTo>
                    <a:pt x="134423" y="44394"/>
                  </a:lnTo>
                  <a:lnTo>
                    <a:pt x="140632" y="40047"/>
                  </a:lnTo>
                  <a:lnTo>
                    <a:pt x="145910" y="34770"/>
                  </a:lnTo>
                  <a:lnTo>
                    <a:pt x="150877" y="31666"/>
                  </a:lnTo>
                  <a:lnTo>
                    <a:pt x="145910" y="22042"/>
                  </a:lnTo>
                  <a:lnTo>
                    <a:pt x="134423" y="10555"/>
                  </a:lnTo>
                  <a:lnTo>
                    <a:pt x="121695" y="3104"/>
                  </a:lnTo>
                  <a:lnTo>
                    <a:pt x="111450" y="0"/>
                  </a:lnTo>
                  <a:lnTo>
                    <a:pt x="105241" y="9313"/>
                  </a:lnTo>
                  <a:lnTo>
                    <a:pt x="99963" y="17695"/>
                  </a:lnTo>
                  <a:lnTo>
                    <a:pt x="94686" y="27319"/>
                  </a:lnTo>
                  <a:lnTo>
                    <a:pt x="90650" y="40047"/>
                  </a:lnTo>
                  <a:lnTo>
                    <a:pt x="84441" y="40047"/>
                  </a:lnTo>
                  <a:lnTo>
                    <a:pt x="78232" y="40047"/>
                  </a:lnTo>
                  <a:lnTo>
                    <a:pt x="74817" y="40047"/>
                  </a:lnTo>
                  <a:lnTo>
                    <a:pt x="72955" y="42221"/>
                  </a:lnTo>
                  <a:lnTo>
                    <a:pt x="72955" y="44394"/>
                  </a:lnTo>
                  <a:lnTo>
                    <a:pt x="72955" y="46256"/>
                  </a:lnTo>
                  <a:lnTo>
                    <a:pt x="70782" y="47498"/>
                  </a:lnTo>
                  <a:lnTo>
                    <a:pt x="70782" y="49671"/>
                  </a:lnTo>
                  <a:lnTo>
                    <a:pt x="67677" y="53707"/>
                  </a:lnTo>
                  <a:lnTo>
                    <a:pt x="63641" y="57122"/>
                  </a:lnTo>
                  <a:lnTo>
                    <a:pt x="40668" y="60226"/>
                  </a:lnTo>
                  <a:lnTo>
                    <a:pt x="31355" y="75128"/>
                  </a:lnTo>
                  <a:lnTo>
                    <a:pt x="23904" y="79164"/>
                  </a:lnTo>
                  <a:lnTo>
                    <a:pt x="16764" y="76991"/>
                  </a:lnTo>
                  <a:lnTo>
                    <a:pt x="9313" y="76991"/>
                  </a:lnTo>
                  <a:lnTo>
                    <a:pt x="0" y="81337"/>
                  </a:lnTo>
                  <a:lnTo>
                    <a:pt x="2173" y="106793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7BF20059-B6E5-40E2-8C4B-360BA1B19BBF}"/>
                </a:ext>
              </a:extLst>
            </p:cNvPr>
            <p:cNvSpPr/>
            <p:nvPr/>
          </p:nvSpPr>
          <p:spPr>
            <a:xfrm>
              <a:off x="6961689" y="5762343"/>
              <a:ext cx="15522" cy="46567"/>
            </a:xfrm>
            <a:custGeom>
              <a:avLst/>
              <a:gdLst>
                <a:gd name="connsiteX0" fmla="*/ 7140 w 15522"/>
                <a:gd name="connsiteY0" fmla="*/ 46567 h 46566"/>
                <a:gd name="connsiteX1" fmla="*/ 11486 w 15522"/>
                <a:gd name="connsiteY1" fmla="*/ 42531 h 46566"/>
                <a:gd name="connsiteX2" fmla="*/ 12418 w 15522"/>
                <a:gd name="connsiteY2" fmla="*/ 40358 h 46566"/>
                <a:gd name="connsiteX3" fmla="*/ 12418 w 15522"/>
                <a:gd name="connsiteY3" fmla="*/ 39116 h 46566"/>
                <a:gd name="connsiteX4" fmla="*/ 12418 w 15522"/>
                <a:gd name="connsiteY4" fmla="*/ 37253 h 46566"/>
                <a:gd name="connsiteX5" fmla="*/ 12418 w 15522"/>
                <a:gd name="connsiteY5" fmla="*/ 35080 h 46566"/>
                <a:gd name="connsiteX6" fmla="*/ 12418 w 15522"/>
                <a:gd name="connsiteY6" fmla="*/ 32907 h 46566"/>
                <a:gd name="connsiteX7" fmla="*/ 14591 w 15522"/>
                <a:gd name="connsiteY7" fmla="*/ 31976 h 46566"/>
                <a:gd name="connsiteX8" fmla="*/ 17695 w 15522"/>
                <a:gd name="connsiteY8" fmla="*/ 29803 h 46566"/>
                <a:gd name="connsiteX9" fmla="*/ 17695 w 15522"/>
                <a:gd name="connsiteY9" fmla="*/ 20179 h 46566"/>
                <a:gd name="connsiteX10" fmla="*/ 17695 w 15522"/>
                <a:gd name="connsiteY10" fmla="*/ 12728 h 46566"/>
                <a:gd name="connsiteX11" fmla="*/ 16764 w 15522"/>
                <a:gd name="connsiteY11" fmla="*/ 9624 h 46566"/>
                <a:gd name="connsiteX12" fmla="*/ 12418 w 15522"/>
                <a:gd name="connsiteY12" fmla="*/ 5278 h 46566"/>
                <a:gd name="connsiteX13" fmla="*/ 9313 w 15522"/>
                <a:gd name="connsiteY13" fmla="*/ 3415 h 46566"/>
                <a:gd name="connsiteX14" fmla="*/ 2173 w 15522"/>
                <a:gd name="connsiteY14" fmla="*/ 0 h 46566"/>
                <a:gd name="connsiteX15" fmla="*/ 0 w 15522"/>
                <a:gd name="connsiteY15" fmla="*/ 12728 h 46566"/>
                <a:gd name="connsiteX16" fmla="*/ 0 w 15522"/>
                <a:gd name="connsiteY16" fmla="*/ 25457 h 46566"/>
                <a:gd name="connsiteX17" fmla="*/ 7140 w 15522"/>
                <a:gd name="connsiteY17" fmla="*/ 37253 h 46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5522" h="46566">
                  <a:moveTo>
                    <a:pt x="7140" y="46567"/>
                  </a:moveTo>
                  <a:lnTo>
                    <a:pt x="11486" y="42531"/>
                  </a:lnTo>
                  <a:lnTo>
                    <a:pt x="12418" y="40358"/>
                  </a:lnTo>
                  <a:lnTo>
                    <a:pt x="12418" y="39116"/>
                  </a:lnTo>
                  <a:lnTo>
                    <a:pt x="12418" y="37253"/>
                  </a:lnTo>
                  <a:lnTo>
                    <a:pt x="12418" y="35080"/>
                  </a:lnTo>
                  <a:lnTo>
                    <a:pt x="12418" y="32907"/>
                  </a:lnTo>
                  <a:lnTo>
                    <a:pt x="14591" y="31976"/>
                  </a:lnTo>
                  <a:lnTo>
                    <a:pt x="17695" y="29803"/>
                  </a:lnTo>
                  <a:lnTo>
                    <a:pt x="17695" y="20179"/>
                  </a:lnTo>
                  <a:lnTo>
                    <a:pt x="17695" y="12728"/>
                  </a:lnTo>
                  <a:lnTo>
                    <a:pt x="16764" y="9624"/>
                  </a:lnTo>
                  <a:lnTo>
                    <a:pt x="12418" y="5278"/>
                  </a:lnTo>
                  <a:lnTo>
                    <a:pt x="9313" y="3415"/>
                  </a:lnTo>
                  <a:lnTo>
                    <a:pt x="2173" y="0"/>
                  </a:lnTo>
                  <a:lnTo>
                    <a:pt x="0" y="12728"/>
                  </a:lnTo>
                  <a:lnTo>
                    <a:pt x="0" y="25457"/>
                  </a:lnTo>
                  <a:lnTo>
                    <a:pt x="7140" y="37253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97ED57F8-ED0B-45FD-9079-EC428FCCB6BE}"/>
                </a:ext>
              </a:extLst>
            </p:cNvPr>
            <p:cNvSpPr/>
            <p:nvPr/>
          </p:nvSpPr>
          <p:spPr>
            <a:xfrm>
              <a:off x="7269030" y="5852372"/>
              <a:ext cx="58985" cy="31045"/>
            </a:xfrm>
            <a:custGeom>
              <a:avLst/>
              <a:gdLst>
                <a:gd name="connsiteX0" fmla="*/ 12418 w 58984"/>
                <a:gd name="connsiteY0" fmla="*/ 28561 h 31044"/>
                <a:gd name="connsiteX1" fmla="*/ 17695 w 58984"/>
                <a:gd name="connsiteY1" fmla="*/ 29492 h 31044"/>
                <a:gd name="connsiteX2" fmla="*/ 23904 w 58984"/>
                <a:gd name="connsiteY2" fmla="*/ 31666 h 31044"/>
                <a:gd name="connsiteX3" fmla="*/ 60537 w 58984"/>
                <a:gd name="connsiteY3" fmla="*/ 21110 h 31044"/>
                <a:gd name="connsiteX4" fmla="*/ 60537 w 58984"/>
                <a:gd name="connsiteY4" fmla="*/ 931 h 31044"/>
                <a:gd name="connsiteX5" fmla="*/ 59605 w 58984"/>
                <a:gd name="connsiteY5" fmla="*/ 0 h 31044"/>
                <a:gd name="connsiteX6" fmla="*/ 50913 w 58984"/>
                <a:gd name="connsiteY6" fmla="*/ 0 h 31044"/>
                <a:gd name="connsiteX7" fmla="*/ 38495 w 58984"/>
                <a:gd name="connsiteY7" fmla="*/ 9624 h 31044"/>
                <a:gd name="connsiteX8" fmla="*/ 21731 w 58984"/>
                <a:gd name="connsiteY8" fmla="*/ 14901 h 31044"/>
                <a:gd name="connsiteX9" fmla="*/ 0 w 58984"/>
                <a:gd name="connsiteY9" fmla="*/ 17075 h 31044"/>
                <a:gd name="connsiteX10" fmla="*/ 0 w 58984"/>
                <a:gd name="connsiteY10" fmla="*/ 24215 h 31044"/>
                <a:gd name="connsiteX11" fmla="*/ 5277 w 58984"/>
                <a:gd name="connsiteY11" fmla="*/ 26388 h 31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984" h="31044">
                  <a:moveTo>
                    <a:pt x="12418" y="28561"/>
                  </a:moveTo>
                  <a:lnTo>
                    <a:pt x="17695" y="29492"/>
                  </a:lnTo>
                  <a:lnTo>
                    <a:pt x="23904" y="31666"/>
                  </a:lnTo>
                  <a:lnTo>
                    <a:pt x="60537" y="21110"/>
                  </a:lnTo>
                  <a:lnTo>
                    <a:pt x="60537" y="931"/>
                  </a:lnTo>
                  <a:lnTo>
                    <a:pt x="59605" y="0"/>
                  </a:lnTo>
                  <a:lnTo>
                    <a:pt x="50913" y="0"/>
                  </a:lnTo>
                  <a:lnTo>
                    <a:pt x="38495" y="9624"/>
                  </a:lnTo>
                  <a:lnTo>
                    <a:pt x="21731" y="14901"/>
                  </a:lnTo>
                  <a:lnTo>
                    <a:pt x="0" y="17075"/>
                  </a:lnTo>
                  <a:lnTo>
                    <a:pt x="0" y="24215"/>
                  </a:lnTo>
                  <a:lnTo>
                    <a:pt x="5277" y="26388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4DB9ADC0-5116-47A9-A3D2-EDF9770D1B82}"/>
                </a:ext>
              </a:extLst>
            </p:cNvPr>
            <p:cNvSpPr/>
            <p:nvPr/>
          </p:nvSpPr>
          <p:spPr>
            <a:xfrm>
              <a:off x="7008566" y="5801459"/>
              <a:ext cx="291819" cy="152118"/>
            </a:xfrm>
            <a:custGeom>
              <a:avLst/>
              <a:gdLst>
                <a:gd name="connsiteX0" fmla="*/ 207378 w 291819"/>
                <a:gd name="connsiteY0" fmla="*/ 60537 h 152118"/>
                <a:gd name="connsiteX1" fmla="*/ 192787 w 291819"/>
                <a:gd name="connsiteY1" fmla="*/ 49982 h 152118"/>
                <a:gd name="connsiteX2" fmla="*/ 175091 w 291819"/>
                <a:gd name="connsiteY2" fmla="*/ 38185 h 152118"/>
                <a:gd name="connsiteX3" fmla="*/ 153050 w 291819"/>
                <a:gd name="connsiteY3" fmla="*/ 30734 h 152118"/>
                <a:gd name="connsiteX4" fmla="*/ 135354 w 291819"/>
                <a:gd name="connsiteY4" fmla="*/ 23283 h 152118"/>
                <a:gd name="connsiteX5" fmla="*/ 120763 w 291819"/>
                <a:gd name="connsiteY5" fmla="*/ 14901 h 152118"/>
                <a:gd name="connsiteX6" fmla="*/ 102137 w 291819"/>
                <a:gd name="connsiteY6" fmla="*/ 16143 h 152118"/>
                <a:gd name="connsiteX7" fmla="*/ 89719 w 291819"/>
                <a:gd name="connsiteY7" fmla="*/ 20179 h 152118"/>
                <a:gd name="connsiteX8" fmla="*/ 80095 w 291819"/>
                <a:gd name="connsiteY8" fmla="*/ 25456 h 152118"/>
                <a:gd name="connsiteX9" fmla="*/ 70782 w 291819"/>
                <a:gd name="connsiteY9" fmla="*/ 35080 h 152118"/>
                <a:gd name="connsiteX10" fmla="*/ 70782 w 291819"/>
                <a:gd name="connsiteY10" fmla="*/ 38185 h 152118"/>
                <a:gd name="connsiteX11" fmla="*/ 67677 w 291819"/>
                <a:gd name="connsiteY11" fmla="*/ 38185 h 152118"/>
                <a:gd name="connsiteX12" fmla="*/ 67677 w 291819"/>
                <a:gd name="connsiteY12" fmla="*/ 35080 h 152118"/>
                <a:gd name="connsiteX13" fmla="*/ 60537 w 291819"/>
                <a:gd name="connsiteY13" fmla="*/ 25456 h 152118"/>
                <a:gd name="connsiteX14" fmla="*/ 55259 w 291819"/>
                <a:gd name="connsiteY14" fmla="*/ 14901 h 152118"/>
                <a:gd name="connsiteX15" fmla="*/ 50913 w 291819"/>
                <a:gd name="connsiteY15" fmla="*/ 1242 h 152118"/>
                <a:gd name="connsiteX16" fmla="*/ 36322 w 291819"/>
                <a:gd name="connsiteY16" fmla="*/ 0 h 152118"/>
                <a:gd name="connsiteX17" fmla="*/ 26078 w 291819"/>
                <a:gd name="connsiteY17" fmla="*/ 0 h 152118"/>
                <a:gd name="connsiteX18" fmla="*/ 14591 w 291819"/>
                <a:gd name="connsiteY18" fmla="*/ 0 h 152118"/>
                <a:gd name="connsiteX19" fmla="*/ 0 w 291819"/>
                <a:gd name="connsiteY19" fmla="*/ 1242 h 152118"/>
                <a:gd name="connsiteX20" fmla="*/ 0 w 291819"/>
                <a:gd name="connsiteY20" fmla="*/ 10866 h 152118"/>
                <a:gd name="connsiteX21" fmla="*/ 9313 w 291819"/>
                <a:gd name="connsiteY21" fmla="*/ 14901 h 152118"/>
                <a:gd name="connsiteX22" fmla="*/ 20800 w 291819"/>
                <a:gd name="connsiteY22" fmla="*/ 20179 h 152118"/>
                <a:gd name="connsiteX23" fmla="*/ 31355 w 291819"/>
                <a:gd name="connsiteY23" fmla="*/ 22352 h 152118"/>
                <a:gd name="connsiteX24" fmla="*/ 29182 w 291819"/>
                <a:gd name="connsiteY24" fmla="*/ 25456 h 152118"/>
                <a:gd name="connsiteX25" fmla="*/ 28250 w 291819"/>
                <a:gd name="connsiteY25" fmla="*/ 27630 h 152118"/>
                <a:gd name="connsiteX26" fmla="*/ 26078 w 291819"/>
                <a:gd name="connsiteY26" fmla="*/ 29803 h 152118"/>
                <a:gd name="connsiteX27" fmla="*/ 23904 w 291819"/>
                <a:gd name="connsiteY27" fmla="*/ 29803 h 152118"/>
                <a:gd name="connsiteX28" fmla="*/ 20800 w 291819"/>
                <a:gd name="connsiteY28" fmla="*/ 30734 h 152118"/>
                <a:gd name="connsiteX29" fmla="*/ 29182 w 291819"/>
                <a:gd name="connsiteY29" fmla="*/ 42531 h 152118"/>
                <a:gd name="connsiteX30" fmla="*/ 42842 w 291819"/>
                <a:gd name="connsiteY30" fmla="*/ 49982 h 152118"/>
                <a:gd name="connsiteX31" fmla="*/ 58364 w 291819"/>
                <a:gd name="connsiteY31" fmla="*/ 53086 h 152118"/>
                <a:gd name="connsiteX32" fmla="*/ 75128 w 291819"/>
                <a:gd name="connsiteY32" fmla="*/ 58364 h 152118"/>
                <a:gd name="connsiteX33" fmla="*/ 89719 w 291819"/>
                <a:gd name="connsiteY33" fmla="*/ 62710 h 152118"/>
                <a:gd name="connsiteX34" fmla="*/ 102137 w 291819"/>
                <a:gd name="connsiteY34" fmla="*/ 72023 h 152118"/>
                <a:gd name="connsiteX35" fmla="*/ 111450 w 291819"/>
                <a:gd name="connsiteY35" fmla="*/ 87856 h 152118"/>
                <a:gd name="connsiteX36" fmla="*/ 113623 w 291819"/>
                <a:gd name="connsiteY36" fmla="*/ 92202 h 152118"/>
                <a:gd name="connsiteX37" fmla="*/ 111450 w 291819"/>
                <a:gd name="connsiteY37" fmla="*/ 95307 h 152118"/>
                <a:gd name="connsiteX38" fmla="*/ 109277 w 291819"/>
                <a:gd name="connsiteY38" fmla="*/ 99653 h 152118"/>
                <a:gd name="connsiteX39" fmla="*/ 107414 w 291819"/>
                <a:gd name="connsiteY39" fmla="*/ 102757 h 152118"/>
                <a:gd name="connsiteX40" fmla="*/ 106172 w 291819"/>
                <a:gd name="connsiteY40" fmla="*/ 109277 h 152118"/>
                <a:gd name="connsiteX41" fmla="*/ 104310 w 291819"/>
                <a:gd name="connsiteY41" fmla="*/ 116417 h 152118"/>
                <a:gd name="connsiteX42" fmla="*/ 122005 w 291819"/>
                <a:gd name="connsiteY42" fmla="*/ 114554 h 152118"/>
                <a:gd name="connsiteX43" fmla="*/ 135354 w 291819"/>
                <a:gd name="connsiteY43" fmla="*/ 116417 h 152118"/>
                <a:gd name="connsiteX44" fmla="*/ 147772 w 291819"/>
                <a:gd name="connsiteY44" fmla="*/ 119832 h 152118"/>
                <a:gd name="connsiteX45" fmla="*/ 160500 w 291819"/>
                <a:gd name="connsiteY45" fmla="*/ 126972 h 152118"/>
                <a:gd name="connsiteX46" fmla="*/ 172918 w 291819"/>
                <a:gd name="connsiteY46" fmla="*/ 123868 h 152118"/>
                <a:gd name="connsiteX47" fmla="*/ 185336 w 291819"/>
                <a:gd name="connsiteY47" fmla="*/ 116417 h 152118"/>
                <a:gd name="connsiteX48" fmla="*/ 198996 w 291819"/>
                <a:gd name="connsiteY48" fmla="*/ 112381 h 152118"/>
                <a:gd name="connsiteX49" fmla="*/ 209241 w 291819"/>
                <a:gd name="connsiteY49" fmla="*/ 112381 h 152118"/>
                <a:gd name="connsiteX50" fmla="*/ 223831 w 291819"/>
                <a:gd name="connsiteY50" fmla="*/ 119832 h 152118"/>
                <a:gd name="connsiteX51" fmla="*/ 228178 w 291819"/>
                <a:gd name="connsiteY51" fmla="*/ 123868 h 152118"/>
                <a:gd name="connsiteX52" fmla="*/ 231282 w 291819"/>
                <a:gd name="connsiteY52" fmla="*/ 129145 h 152118"/>
                <a:gd name="connsiteX53" fmla="*/ 235318 w 291819"/>
                <a:gd name="connsiteY53" fmla="*/ 136596 h 152118"/>
                <a:gd name="connsiteX54" fmla="*/ 238423 w 291819"/>
                <a:gd name="connsiteY54" fmla="*/ 139701 h 152118"/>
                <a:gd name="connsiteX55" fmla="*/ 243700 w 291819"/>
                <a:gd name="connsiteY55" fmla="*/ 144047 h 152118"/>
                <a:gd name="connsiteX56" fmla="*/ 249909 w 291819"/>
                <a:gd name="connsiteY56" fmla="*/ 146220 h 152118"/>
                <a:gd name="connsiteX57" fmla="*/ 253013 w 291819"/>
                <a:gd name="connsiteY57" fmla="*/ 147151 h 152118"/>
                <a:gd name="connsiteX58" fmla="*/ 257360 w 291819"/>
                <a:gd name="connsiteY58" fmla="*/ 147151 h 152118"/>
                <a:gd name="connsiteX59" fmla="*/ 260464 w 291819"/>
                <a:gd name="connsiteY59" fmla="*/ 147151 h 152118"/>
                <a:gd name="connsiteX60" fmla="*/ 264500 w 291819"/>
                <a:gd name="connsiteY60" fmla="*/ 149324 h 152118"/>
                <a:gd name="connsiteX61" fmla="*/ 267604 w 291819"/>
                <a:gd name="connsiteY61" fmla="*/ 152429 h 152118"/>
                <a:gd name="connsiteX62" fmla="*/ 291819 w 291819"/>
                <a:gd name="connsiteY62" fmla="*/ 152429 h 152118"/>
                <a:gd name="connsiteX63" fmla="*/ 291819 w 291819"/>
                <a:gd name="connsiteY63" fmla="*/ 144047 h 152118"/>
                <a:gd name="connsiteX64" fmla="*/ 270709 w 291819"/>
                <a:gd name="connsiteY64" fmla="*/ 132560 h 152118"/>
                <a:gd name="connsiteX65" fmla="*/ 253013 w 291819"/>
                <a:gd name="connsiteY65" fmla="*/ 117659 h 152118"/>
                <a:gd name="connsiteX66" fmla="*/ 240595 w 291819"/>
                <a:gd name="connsiteY66" fmla="*/ 99653 h 152118"/>
                <a:gd name="connsiteX67" fmla="*/ 236560 w 291819"/>
                <a:gd name="connsiteY67" fmla="*/ 97480 h 152118"/>
                <a:gd name="connsiteX68" fmla="*/ 235318 w 291819"/>
                <a:gd name="connsiteY68" fmla="*/ 97480 h 152118"/>
                <a:gd name="connsiteX69" fmla="*/ 236560 w 291819"/>
                <a:gd name="connsiteY69" fmla="*/ 95307 h 152118"/>
                <a:gd name="connsiteX70" fmla="*/ 238423 w 291819"/>
                <a:gd name="connsiteY70" fmla="*/ 94375 h 152118"/>
                <a:gd name="connsiteX71" fmla="*/ 242768 w 291819"/>
                <a:gd name="connsiteY71" fmla="*/ 94375 h 152118"/>
                <a:gd name="connsiteX72" fmla="*/ 245873 w 291819"/>
                <a:gd name="connsiteY72" fmla="*/ 92202 h 152118"/>
                <a:gd name="connsiteX73" fmla="*/ 248046 w 291819"/>
                <a:gd name="connsiteY73" fmla="*/ 92202 h 152118"/>
                <a:gd name="connsiteX74" fmla="*/ 248046 w 291819"/>
                <a:gd name="connsiteY74" fmla="*/ 82579 h 152118"/>
                <a:gd name="connsiteX75" fmla="*/ 236560 w 291819"/>
                <a:gd name="connsiteY75" fmla="*/ 80405 h 152118"/>
                <a:gd name="connsiteX76" fmla="*/ 228178 w 291819"/>
                <a:gd name="connsiteY76" fmla="*/ 77301 h 152118"/>
                <a:gd name="connsiteX77" fmla="*/ 214518 w 291819"/>
                <a:gd name="connsiteY77" fmla="*/ 75128 h 152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291819" h="152118">
                  <a:moveTo>
                    <a:pt x="207378" y="60537"/>
                  </a:moveTo>
                  <a:lnTo>
                    <a:pt x="192787" y="49982"/>
                  </a:lnTo>
                  <a:lnTo>
                    <a:pt x="175091" y="38185"/>
                  </a:lnTo>
                  <a:lnTo>
                    <a:pt x="153050" y="30734"/>
                  </a:lnTo>
                  <a:lnTo>
                    <a:pt x="135354" y="23283"/>
                  </a:lnTo>
                  <a:lnTo>
                    <a:pt x="120763" y="14901"/>
                  </a:lnTo>
                  <a:lnTo>
                    <a:pt x="102137" y="16143"/>
                  </a:lnTo>
                  <a:lnTo>
                    <a:pt x="89719" y="20179"/>
                  </a:lnTo>
                  <a:lnTo>
                    <a:pt x="80095" y="25456"/>
                  </a:lnTo>
                  <a:lnTo>
                    <a:pt x="70782" y="35080"/>
                  </a:lnTo>
                  <a:lnTo>
                    <a:pt x="70782" y="38185"/>
                  </a:lnTo>
                  <a:lnTo>
                    <a:pt x="67677" y="38185"/>
                  </a:lnTo>
                  <a:lnTo>
                    <a:pt x="67677" y="35080"/>
                  </a:lnTo>
                  <a:lnTo>
                    <a:pt x="60537" y="25456"/>
                  </a:lnTo>
                  <a:lnTo>
                    <a:pt x="55259" y="14901"/>
                  </a:lnTo>
                  <a:lnTo>
                    <a:pt x="50913" y="1242"/>
                  </a:lnTo>
                  <a:lnTo>
                    <a:pt x="36322" y="0"/>
                  </a:lnTo>
                  <a:lnTo>
                    <a:pt x="26078" y="0"/>
                  </a:lnTo>
                  <a:lnTo>
                    <a:pt x="14591" y="0"/>
                  </a:lnTo>
                  <a:lnTo>
                    <a:pt x="0" y="1242"/>
                  </a:lnTo>
                  <a:lnTo>
                    <a:pt x="0" y="10866"/>
                  </a:lnTo>
                  <a:lnTo>
                    <a:pt x="9313" y="14901"/>
                  </a:lnTo>
                  <a:lnTo>
                    <a:pt x="20800" y="20179"/>
                  </a:lnTo>
                  <a:lnTo>
                    <a:pt x="31355" y="22352"/>
                  </a:lnTo>
                  <a:lnTo>
                    <a:pt x="29182" y="25456"/>
                  </a:lnTo>
                  <a:lnTo>
                    <a:pt x="28250" y="27630"/>
                  </a:lnTo>
                  <a:lnTo>
                    <a:pt x="26078" y="29803"/>
                  </a:lnTo>
                  <a:lnTo>
                    <a:pt x="23904" y="29803"/>
                  </a:lnTo>
                  <a:lnTo>
                    <a:pt x="20800" y="30734"/>
                  </a:lnTo>
                  <a:lnTo>
                    <a:pt x="29182" y="42531"/>
                  </a:lnTo>
                  <a:lnTo>
                    <a:pt x="42842" y="49982"/>
                  </a:lnTo>
                  <a:lnTo>
                    <a:pt x="58364" y="53086"/>
                  </a:lnTo>
                  <a:lnTo>
                    <a:pt x="75128" y="58364"/>
                  </a:lnTo>
                  <a:lnTo>
                    <a:pt x="89719" y="62710"/>
                  </a:lnTo>
                  <a:lnTo>
                    <a:pt x="102137" y="72023"/>
                  </a:lnTo>
                  <a:lnTo>
                    <a:pt x="111450" y="87856"/>
                  </a:lnTo>
                  <a:lnTo>
                    <a:pt x="113623" y="92202"/>
                  </a:lnTo>
                  <a:lnTo>
                    <a:pt x="111450" y="95307"/>
                  </a:lnTo>
                  <a:lnTo>
                    <a:pt x="109277" y="99653"/>
                  </a:lnTo>
                  <a:lnTo>
                    <a:pt x="107414" y="102757"/>
                  </a:lnTo>
                  <a:lnTo>
                    <a:pt x="106172" y="109277"/>
                  </a:lnTo>
                  <a:lnTo>
                    <a:pt x="104310" y="116417"/>
                  </a:lnTo>
                  <a:lnTo>
                    <a:pt x="122005" y="114554"/>
                  </a:lnTo>
                  <a:lnTo>
                    <a:pt x="135354" y="116417"/>
                  </a:lnTo>
                  <a:lnTo>
                    <a:pt x="147772" y="119832"/>
                  </a:lnTo>
                  <a:lnTo>
                    <a:pt x="160500" y="126972"/>
                  </a:lnTo>
                  <a:lnTo>
                    <a:pt x="172918" y="123868"/>
                  </a:lnTo>
                  <a:lnTo>
                    <a:pt x="185336" y="116417"/>
                  </a:lnTo>
                  <a:lnTo>
                    <a:pt x="198996" y="112381"/>
                  </a:lnTo>
                  <a:lnTo>
                    <a:pt x="209241" y="112381"/>
                  </a:lnTo>
                  <a:lnTo>
                    <a:pt x="223831" y="119832"/>
                  </a:lnTo>
                  <a:lnTo>
                    <a:pt x="228178" y="123868"/>
                  </a:lnTo>
                  <a:lnTo>
                    <a:pt x="231282" y="129145"/>
                  </a:lnTo>
                  <a:lnTo>
                    <a:pt x="235318" y="136596"/>
                  </a:lnTo>
                  <a:lnTo>
                    <a:pt x="238423" y="139701"/>
                  </a:lnTo>
                  <a:lnTo>
                    <a:pt x="243700" y="144047"/>
                  </a:lnTo>
                  <a:lnTo>
                    <a:pt x="249909" y="146220"/>
                  </a:lnTo>
                  <a:lnTo>
                    <a:pt x="253013" y="147151"/>
                  </a:lnTo>
                  <a:lnTo>
                    <a:pt x="257360" y="147151"/>
                  </a:lnTo>
                  <a:lnTo>
                    <a:pt x="260464" y="147151"/>
                  </a:lnTo>
                  <a:lnTo>
                    <a:pt x="264500" y="149324"/>
                  </a:lnTo>
                  <a:lnTo>
                    <a:pt x="267604" y="152429"/>
                  </a:lnTo>
                  <a:lnTo>
                    <a:pt x="291819" y="152429"/>
                  </a:lnTo>
                  <a:lnTo>
                    <a:pt x="291819" y="144047"/>
                  </a:lnTo>
                  <a:lnTo>
                    <a:pt x="270709" y="132560"/>
                  </a:lnTo>
                  <a:lnTo>
                    <a:pt x="253013" y="117659"/>
                  </a:lnTo>
                  <a:lnTo>
                    <a:pt x="240595" y="99653"/>
                  </a:lnTo>
                  <a:lnTo>
                    <a:pt x="236560" y="97480"/>
                  </a:lnTo>
                  <a:lnTo>
                    <a:pt x="235318" y="97480"/>
                  </a:lnTo>
                  <a:lnTo>
                    <a:pt x="236560" y="95307"/>
                  </a:lnTo>
                  <a:lnTo>
                    <a:pt x="238423" y="94375"/>
                  </a:lnTo>
                  <a:lnTo>
                    <a:pt x="242768" y="94375"/>
                  </a:lnTo>
                  <a:lnTo>
                    <a:pt x="245873" y="92202"/>
                  </a:lnTo>
                  <a:lnTo>
                    <a:pt x="248046" y="92202"/>
                  </a:lnTo>
                  <a:lnTo>
                    <a:pt x="248046" y="82579"/>
                  </a:lnTo>
                  <a:lnTo>
                    <a:pt x="236560" y="80405"/>
                  </a:lnTo>
                  <a:lnTo>
                    <a:pt x="228178" y="77301"/>
                  </a:lnTo>
                  <a:lnTo>
                    <a:pt x="214518" y="75128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3248E281-64C4-4FDC-8DDE-B4F2C11E7C57}"/>
                </a:ext>
              </a:extLst>
            </p:cNvPr>
            <p:cNvSpPr/>
            <p:nvPr/>
          </p:nvSpPr>
          <p:spPr>
            <a:xfrm>
              <a:off x="7300385" y="5823811"/>
              <a:ext cx="37253" cy="34149"/>
            </a:xfrm>
            <a:custGeom>
              <a:avLst/>
              <a:gdLst>
                <a:gd name="connsiteX0" fmla="*/ 29182 w 37253"/>
                <a:gd name="connsiteY0" fmla="*/ 29492 h 34149"/>
                <a:gd name="connsiteX1" fmla="*/ 36322 w 37253"/>
                <a:gd name="connsiteY1" fmla="*/ 36012 h 34149"/>
                <a:gd name="connsiteX2" fmla="*/ 39426 w 37253"/>
                <a:gd name="connsiteY2" fmla="*/ 36012 h 34149"/>
                <a:gd name="connsiteX3" fmla="*/ 36322 w 37253"/>
                <a:gd name="connsiteY3" fmla="*/ 22352 h 34149"/>
                <a:gd name="connsiteX4" fmla="*/ 29182 w 37253"/>
                <a:gd name="connsiteY4" fmla="*/ 10555 h 34149"/>
                <a:gd name="connsiteX5" fmla="*/ 19558 w 37253"/>
                <a:gd name="connsiteY5" fmla="*/ 0 h 34149"/>
                <a:gd name="connsiteX6" fmla="*/ 0 w 37253"/>
                <a:gd name="connsiteY6" fmla="*/ 0 h 34149"/>
                <a:gd name="connsiteX7" fmla="*/ 7140 w 37253"/>
                <a:gd name="connsiteY7" fmla="*/ 10555 h 34149"/>
                <a:gd name="connsiteX8" fmla="*/ 17695 w 37253"/>
                <a:gd name="connsiteY8" fmla="*/ 18006 h 34149"/>
                <a:gd name="connsiteX9" fmla="*/ 27009 w 37253"/>
                <a:gd name="connsiteY9" fmla="*/ 27630 h 34149"/>
                <a:gd name="connsiteX10" fmla="*/ 28250 w 37253"/>
                <a:gd name="connsiteY10" fmla="*/ 28561 h 34149"/>
                <a:gd name="connsiteX11" fmla="*/ 29182 w 37253"/>
                <a:gd name="connsiteY11" fmla="*/ 28561 h 3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7253" h="34149">
                  <a:moveTo>
                    <a:pt x="29182" y="29492"/>
                  </a:moveTo>
                  <a:lnTo>
                    <a:pt x="36322" y="36012"/>
                  </a:lnTo>
                  <a:lnTo>
                    <a:pt x="39426" y="36012"/>
                  </a:lnTo>
                  <a:lnTo>
                    <a:pt x="36322" y="22352"/>
                  </a:lnTo>
                  <a:lnTo>
                    <a:pt x="29182" y="10555"/>
                  </a:lnTo>
                  <a:lnTo>
                    <a:pt x="19558" y="0"/>
                  </a:lnTo>
                  <a:lnTo>
                    <a:pt x="0" y="0"/>
                  </a:lnTo>
                  <a:lnTo>
                    <a:pt x="7140" y="10555"/>
                  </a:lnTo>
                  <a:lnTo>
                    <a:pt x="17695" y="18006"/>
                  </a:lnTo>
                  <a:lnTo>
                    <a:pt x="27009" y="27630"/>
                  </a:lnTo>
                  <a:lnTo>
                    <a:pt x="28250" y="28561"/>
                  </a:lnTo>
                  <a:lnTo>
                    <a:pt x="29182" y="28561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7D7D93D5-9A84-4B21-AE25-9AFEFC5ACB1B}"/>
                </a:ext>
              </a:extLst>
            </p:cNvPr>
            <p:cNvSpPr/>
            <p:nvPr/>
          </p:nvSpPr>
          <p:spPr>
            <a:xfrm>
              <a:off x="7503417" y="6096693"/>
              <a:ext cx="43462" cy="34149"/>
            </a:xfrm>
            <a:custGeom>
              <a:avLst/>
              <a:gdLst>
                <a:gd name="connsiteX0" fmla="*/ 14591 w 43462"/>
                <a:gd name="connsiteY0" fmla="*/ 20179 h 34149"/>
                <a:gd name="connsiteX1" fmla="*/ 23904 w 43462"/>
                <a:gd name="connsiteY1" fmla="*/ 27630 h 34149"/>
                <a:gd name="connsiteX2" fmla="*/ 33218 w 43462"/>
                <a:gd name="connsiteY2" fmla="*/ 35080 h 34149"/>
                <a:gd name="connsiteX3" fmla="*/ 45946 w 43462"/>
                <a:gd name="connsiteY3" fmla="*/ 35080 h 34149"/>
                <a:gd name="connsiteX4" fmla="*/ 45946 w 43462"/>
                <a:gd name="connsiteY4" fmla="*/ 24525 h 34149"/>
                <a:gd name="connsiteX5" fmla="*/ 26078 w 43462"/>
                <a:gd name="connsiteY5" fmla="*/ 12728 h 34149"/>
                <a:gd name="connsiteX6" fmla="*/ 9313 w 43462"/>
                <a:gd name="connsiteY6" fmla="*/ 0 h 34149"/>
                <a:gd name="connsiteX7" fmla="*/ 0 w 43462"/>
                <a:gd name="connsiteY7" fmla="*/ 0 h 34149"/>
                <a:gd name="connsiteX8" fmla="*/ 7140 w 43462"/>
                <a:gd name="connsiteY8" fmla="*/ 10866 h 3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462" h="34149">
                  <a:moveTo>
                    <a:pt x="14591" y="20179"/>
                  </a:moveTo>
                  <a:lnTo>
                    <a:pt x="23904" y="27630"/>
                  </a:lnTo>
                  <a:lnTo>
                    <a:pt x="33218" y="35080"/>
                  </a:lnTo>
                  <a:lnTo>
                    <a:pt x="45946" y="35080"/>
                  </a:lnTo>
                  <a:lnTo>
                    <a:pt x="45946" y="24525"/>
                  </a:lnTo>
                  <a:lnTo>
                    <a:pt x="26078" y="12728"/>
                  </a:lnTo>
                  <a:lnTo>
                    <a:pt x="9313" y="0"/>
                  </a:lnTo>
                  <a:lnTo>
                    <a:pt x="0" y="0"/>
                  </a:lnTo>
                  <a:lnTo>
                    <a:pt x="7140" y="10866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B07B081E-6F1E-4D61-8497-145B9DE268D3}"/>
                </a:ext>
              </a:extLst>
            </p:cNvPr>
            <p:cNvSpPr/>
            <p:nvPr/>
          </p:nvSpPr>
          <p:spPr>
            <a:xfrm>
              <a:off x="7529494" y="6010079"/>
              <a:ext cx="18627" cy="31045"/>
            </a:xfrm>
            <a:custGeom>
              <a:avLst/>
              <a:gdLst>
                <a:gd name="connsiteX0" fmla="*/ 5277 w 18626"/>
                <a:gd name="connsiteY0" fmla="*/ 24215 h 31044"/>
                <a:gd name="connsiteX1" fmla="*/ 7140 w 18626"/>
                <a:gd name="connsiteY1" fmla="*/ 32907 h 31044"/>
                <a:gd name="connsiteX2" fmla="*/ 19868 w 18626"/>
                <a:gd name="connsiteY2" fmla="*/ 32907 h 31044"/>
                <a:gd name="connsiteX3" fmla="*/ 17695 w 18626"/>
                <a:gd name="connsiteY3" fmla="*/ 27630 h 31044"/>
                <a:gd name="connsiteX4" fmla="*/ 15522 w 18626"/>
                <a:gd name="connsiteY4" fmla="*/ 24215 h 31044"/>
                <a:gd name="connsiteX5" fmla="*/ 14591 w 18626"/>
                <a:gd name="connsiteY5" fmla="*/ 20179 h 31044"/>
                <a:gd name="connsiteX6" fmla="*/ 12418 w 18626"/>
                <a:gd name="connsiteY6" fmla="*/ 16764 h 31044"/>
                <a:gd name="connsiteX7" fmla="*/ 12418 w 18626"/>
                <a:gd name="connsiteY7" fmla="*/ 10555 h 31044"/>
                <a:gd name="connsiteX8" fmla="*/ 10244 w 18626"/>
                <a:gd name="connsiteY8" fmla="*/ 5278 h 31044"/>
                <a:gd name="connsiteX9" fmla="*/ 8382 w 18626"/>
                <a:gd name="connsiteY9" fmla="*/ 3104 h 31044"/>
                <a:gd name="connsiteX10" fmla="*/ 7140 w 18626"/>
                <a:gd name="connsiteY10" fmla="*/ 3104 h 31044"/>
                <a:gd name="connsiteX11" fmla="*/ 5277 w 18626"/>
                <a:gd name="connsiteY11" fmla="*/ 3104 h 31044"/>
                <a:gd name="connsiteX12" fmla="*/ 5277 w 18626"/>
                <a:gd name="connsiteY12" fmla="*/ 2173 h 31044"/>
                <a:gd name="connsiteX13" fmla="*/ 3104 w 18626"/>
                <a:gd name="connsiteY13" fmla="*/ 0 h 31044"/>
                <a:gd name="connsiteX14" fmla="*/ 0 w 18626"/>
                <a:gd name="connsiteY14" fmla="*/ 0 h 31044"/>
                <a:gd name="connsiteX15" fmla="*/ 0 w 18626"/>
                <a:gd name="connsiteY15" fmla="*/ 10555 h 31044"/>
                <a:gd name="connsiteX16" fmla="*/ 931 w 18626"/>
                <a:gd name="connsiteY16" fmla="*/ 18006 h 31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8626" h="31044">
                  <a:moveTo>
                    <a:pt x="5277" y="24215"/>
                  </a:moveTo>
                  <a:lnTo>
                    <a:pt x="7140" y="32907"/>
                  </a:lnTo>
                  <a:lnTo>
                    <a:pt x="19868" y="32907"/>
                  </a:lnTo>
                  <a:lnTo>
                    <a:pt x="17695" y="27630"/>
                  </a:lnTo>
                  <a:lnTo>
                    <a:pt x="15522" y="24215"/>
                  </a:lnTo>
                  <a:lnTo>
                    <a:pt x="14591" y="20179"/>
                  </a:lnTo>
                  <a:lnTo>
                    <a:pt x="12418" y="16764"/>
                  </a:lnTo>
                  <a:lnTo>
                    <a:pt x="12418" y="10555"/>
                  </a:lnTo>
                  <a:lnTo>
                    <a:pt x="10244" y="5278"/>
                  </a:lnTo>
                  <a:lnTo>
                    <a:pt x="8382" y="3104"/>
                  </a:lnTo>
                  <a:lnTo>
                    <a:pt x="7140" y="3104"/>
                  </a:lnTo>
                  <a:lnTo>
                    <a:pt x="5277" y="3104"/>
                  </a:lnTo>
                  <a:lnTo>
                    <a:pt x="5277" y="2173"/>
                  </a:lnTo>
                  <a:lnTo>
                    <a:pt x="3104" y="0"/>
                  </a:lnTo>
                  <a:lnTo>
                    <a:pt x="0" y="0"/>
                  </a:lnTo>
                  <a:lnTo>
                    <a:pt x="0" y="10555"/>
                  </a:lnTo>
                  <a:lnTo>
                    <a:pt x="931" y="18006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E465445C-F6C0-4D3E-81BD-568C9BFDA8D7}"/>
                </a:ext>
              </a:extLst>
            </p:cNvPr>
            <p:cNvSpPr/>
            <p:nvPr/>
          </p:nvSpPr>
          <p:spPr>
            <a:xfrm>
              <a:off x="7059479" y="5873482"/>
              <a:ext cx="12418" cy="18627"/>
            </a:xfrm>
            <a:custGeom>
              <a:avLst/>
              <a:gdLst>
                <a:gd name="connsiteX0" fmla="*/ 0 w 12417"/>
                <a:gd name="connsiteY0" fmla="*/ 20179 h 18626"/>
                <a:gd name="connsiteX1" fmla="*/ 2173 w 12417"/>
                <a:gd name="connsiteY1" fmla="*/ 18006 h 18626"/>
                <a:gd name="connsiteX2" fmla="*/ 4346 w 12417"/>
                <a:gd name="connsiteY2" fmla="*/ 15833 h 18626"/>
                <a:gd name="connsiteX3" fmla="*/ 13660 w 12417"/>
                <a:gd name="connsiteY3" fmla="*/ 10555 h 18626"/>
                <a:gd name="connsiteX4" fmla="*/ 13660 w 12417"/>
                <a:gd name="connsiteY4" fmla="*/ 3104 h 18626"/>
                <a:gd name="connsiteX5" fmla="*/ 0 w 12417"/>
                <a:gd name="connsiteY5" fmla="*/ 0 h 18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17" h="18626">
                  <a:moveTo>
                    <a:pt x="0" y="20179"/>
                  </a:moveTo>
                  <a:lnTo>
                    <a:pt x="2173" y="18006"/>
                  </a:lnTo>
                  <a:lnTo>
                    <a:pt x="4346" y="15833"/>
                  </a:lnTo>
                  <a:lnTo>
                    <a:pt x="13660" y="10555"/>
                  </a:lnTo>
                  <a:lnTo>
                    <a:pt x="13660" y="310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734D4DF7-D4FA-4AEC-9FF8-BB699200FCF3}"/>
                </a:ext>
              </a:extLst>
            </p:cNvPr>
            <p:cNvSpPr/>
            <p:nvPr/>
          </p:nvSpPr>
          <p:spPr>
            <a:xfrm>
              <a:off x="6836579" y="5928431"/>
              <a:ext cx="24836" cy="15522"/>
            </a:xfrm>
            <a:custGeom>
              <a:avLst/>
              <a:gdLst>
                <a:gd name="connsiteX0" fmla="*/ 7451 w 24835"/>
                <a:gd name="connsiteY0" fmla="*/ 9624 h 15522"/>
                <a:gd name="connsiteX1" fmla="*/ 12728 w 24835"/>
                <a:gd name="connsiteY1" fmla="*/ 12728 h 15522"/>
                <a:gd name="connsiteX2" fmla="*/ 17696 w 24835"/>
                <a:gd name="connsiteY2" fmla="*/ 14901 h 15522"/>
                <a:gd name="connsiteX3" fmla="*/ 22973 w 24835"/>
                <a:gd name="connsiteY3" fmla="*/ 17075 h 15522"/>
                <a:gd name="connsiteX4" fmla="*/ 22973 w 24835"/>
                <a:gd name="connsiteY4" fmla="*/ 12728 h 15522"/>
                <a:gd name="connsiteX5" fmla="*/ 27319 w 24835"/>
                <a:gd name="connsiteY5" fmla="*/ 12728 h 15522"/>
                <a:gd name="connsiteX6" fmla="*/ 27319 w 24835"/>
                <a:gd name="connsiteY6" fmla="*/ 5588 h 15522"/>
                <a:gd name="connsiteX7" fmla="*/ 22042 w 24835"/>
                <a:gd name="connsiteY7" fmla="*/ 4346 h 15522"/>
                <a:gd name="connsiteX8" fmla="*/ 17696 w 24835"/>
                <a:gd name="connsiteY8" fmla="*/ 2173 h 15522"/>
                <a:gd name="connsiteX9" fmla="*/ 12728 w 24835"/>
                <a:gd name="connsiteY9" fmla="*/ 2173 h 15522"/>
                <a:gd name="connsiteX10" fmla="*/ 7451 w 24835"/>
                <a:gd name="connsiteY10" fmla="*/ 2173 h 15522"/>
                <a:gd name="connsiteX11" fmla="*/ 0 w 24835"/>
                <a:gd name="connsiteY11" fmla="*/ 0 h 15522"/>
                <a:gd name="connsiteX12" fmla="*/ 3104 w 24835"/>
                <a:gd name="connsiteY12" fmla="*/ 5588 h 15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835" h="15522">
                  <a:moveTo>
                    <a:pt x="7451" y="9624"/>
                  </a:moveTo>
                  <a:lnTo>
                    <a:pt x="12728" y="12728"/>
                  </a:lnTo>
                  <a:lnTo>
                    <a:pt x="17696" y="14901"/>
                  </a:lnTo>
                  <a:lnTo>
                    <a:pt x="22973" y="17075"/>
                  </a:lnTo>
                  <a:lnTo>
                    <a:pt x="22973" y="12728"/>
                  </a:lnTo>
                  <a:lnTo>
                    <a:pt x="27319" y="12728"/>
                  </a:lnTo>
                  <a:lnTo>
                    <a:pt x="27319" y="5588"/>
                  </a:lnTo>
                  <a:lnTo>
                    <a:pt x="22042" y="4346"/>
                  </a:lnTo>
                  <a:lnTo>
                    <a:pt x="17696" y="2173"/>
                  </a:lnTo>
                  <a:lnTo>
                    <a:pt x="12728" y="2173"/>
                  </a:lnTo>
                  <a:lnTo>
                    <a:pt x="7451" y="2173"/>
                  </a:lnTo>
                  <a:lnTo>
                    <a:pt x="0" y="0"/>
                  </a:lnTo>
                  <a:lnTo>
                    <a:pt x="3104" y="5588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4F9A711E-50C2-4A58-8177-C200359E08C5}"/>
                </a:ext>
              </a:extLst>
            </p:cNvPr>
            <p:cNvSpPr/>
            <p:nvPr/>
          </p:nvSpPr>
          <p:spPr>
            <a:xfrm>
              <a:off x="6939958" y="5836539"/>
              <a:ext cx="18627" cy="9313"/>
            </a:xfrm>
            <a:custGeom>
              <a:avLst/>
              <a:gdLst>
                <a:gd name="connsiteX0" fmla="*/ 0 w 18626"/>
                <a:gd name="connsiteY0" fmla="*/ 0 h 9313"/>
                <a:gd name="connsiteX1" fmla="*/ 0 w 18626"/>
                <a:gd name="connsiteY1" fmla="*/ 10555 h 9313"/>
                <a:gd name="connsiteX2" fmla="*/ 19558 w 18626"/>
                <a:gd name="connsiteY2" fmla="*/ 10555 h 9313"/>
                <a:gd name="connsiteX3" fmla="*/ 19558 w 18626"/>
                <a:gd name="connsiteY3" fmla="*/ 3104 h 9313"/>
                <a:gd name="connsiteX4" fmla="*/ 18627 w 18626"/>
                <a:gd name="connsiteY4" fmla="*/ 2173 h 9313"/>
                <a:gd name="connsiteX5" fmla="*/ 16453 w 18626"/>
                <a:gd name="connsiteY5" fmla="*/ 0 h 9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626" h="9313">
                  <a:moveTo>
                    <a:pt x="0" y="0"/>
                  </a:moveTo>
                  <a:lnTo>
                    <a:pt x="0" y="10555"/>
                  </a:lnTo>
                  <a:lnTo>
                    <a:pt x="19558" y="10555"/>
                  </a:lnTo>
                  <a:lnTo>
                    <a:pt x="19558" y="3104"/>
                  </a:lnTo>
                  <a:lnTo>
                    <a:pt x="18627" y="2173"/>
                  </a:lnTo>
                  <a:lnTo>
                    <a:pt x="16453" y="0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33EA2A87-38C9-4684-888E-D9F1AE0E7F8C}"/>
                </a:ext>
              </a:extLst>
            </p:cNvPr>
            <p:cNvSpPr/>
            <p:nvPr/>
          </p:nvSpPr>
          <p:spPr>
            <a:xfrm>
              <a:off x="6803361" y="5908563"/>
              <a:ext cx="34149" cy="15522"/>
            </a:xfrm>
            <a:custGeom>
              <a:avLst/>
              <a:gdLst>
                <a:gd name="connsiteX0" fmla="*/ 34459 w 34149"/>
                <a:gd name="connsiteY0" fmla="*/ 9313 h 15522"/>
                <a:gd name="connsiteX1" fmla="*/ 31355 w 34149"/>
                <a:gd name="connsiteY1" fmla="*/ 5277 h 15522"/>
                <a:gd name="connsiteX2" fmla="*/ 27009 w 34149"/>
                <a:gd name="connsiteY2" fmla="*/ 3104 h 15522"/>
                <a:gd name="connsiteX3" fmla="*/ 23904 w 34149"/>
                <a:gd name="connsiteY3" fmla="*/ 2173 h 15522"/>
                <a:gd name="connsiteX4" fmla="*/ 16764 w 34149"/>
                <a:gd name="connsiteY4" fmla="*/ 0 h 15522"/>
                <a:gd name="connsiteX5" fmla="*/ 12418 w 34149"/>
                <a:gd name="connsiteY5" fmla="*/ 3104 h 15522"/>
                <a:gd name="connsiteX6" fmla="*/ 11486 w 34149"/>
                <a:gd name="connsiteY6" fmla="*/ 5277 h 15522"/>
                <a:gd name="connsiteX7" fmla="*/ 5277 w 34149"/>
                <a:gd name="connsiteY7" fmla="*/ 7451 h 15522"/>
                <a:gd name="connsiteX8" fmla="*/ 0 w 34149"/>
                <a:gd name="connsiteY8" fmla="*/ 9313 h 15522"/>
                <a:gd name="connsiteX9" fmla="*/ 0 w 34149"/>
                <a:gd name="connsiteY9" fmla="*/ 16764 h 15522"/>
                <a:gd name="connsiteX10" fmla="*/ 12418 w 34149"/>
                <a:gd name="connsiteY10" fmla="*/ 16764 h 15522"/>
                <a:gd name="connsiteX11" fmla="*/ 23904 w 34149"/>
                <a:gd name="connsiteY11" fmla="*/ 16764 h 15522"/>
                <a:gd name="connsiteX12" fmla="*/ 33218 w 34149"/>
                <a:gd name="connsiteY12" fmla="*/ 12728 h 15522"/>
                <a:gd name="connsiteX13" fmla="*/ 36322 w 34149"/>
                <a:gd name="connsiteY13" fmla="*/ 12728 h 15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4149" h="15522">
                  <a:moveTo>
                    <a:pt x="34459" y="9313"/>
                  </a:moveTo>
                  <a:lnTo>
                    <a:pt x="31355" y="5277"/>
                  </a:lnTo>
                  <a:lnTo>
                    <a:pt x="27009" y="3104"/>
                  </a:lnTo>
                  <a:lnTo>
                    <a:pt x="23904" y="2173"/>
                  </a:lnTo>
                  <a:lnTo>
                    <a:pt x="16764" y="0"/>
                  </a:lnTo>
                  <a:lnTo>
                    <a:pt x="12418" y="3104"/>
                  </a:lnTo>
                  <a:lnTo>
                    <a:pt x="11486" y="5277"/>
                  </a:lnTo>
                  <a:lnTo>
                    <a:pt x="5277" y="7451"/>
                  </a:lnTo>
                  <a:lnTo>
                    <a:pt x="0" y="9313"/>
                  </a:lnTo>
                  <a:lnTo>
                    <a:pt x="0" y="16764"/>
                  </a:lnTo>
                  <a:lnTo>
                    <a:pt x="12418" y="16764"/>
                  </a:lnTo>
                  <a:lnTo>
                    <a:pt x="23904" y="16764"/>
                  </a:lnTo>
                  <a:lnTo>
                    <a:pt x="33218" y="12728"/>
                  </a:lnTo>
                  <a:lnTo>
                    <a:pt x="36322" y="12728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AB9C27F1-E92F-446E-9953-AA5AB5258180}"/>
                </a:ext>
              </a:extLst>
            </p:cNvPr>
            <p:cNvSpPr/>
            <p:nvPr/>
          </p:nvSpPr>
          <p:spPr>
            <a:xfrm>
              <a:off x="2868772" y="5437617"/>
              <a:ext cx="34149" cy="12418"/>
            </a:xfrm>
            <a:custGeom>
              <a:avLst/>
              <a:gdLst>
                <a:gd name="connsiteX0" fmla="*/ 34459 w 34149"/>
                <a:gd name="connsiteY0" fmla="*/ 8382 h 12417"/>
                <a:gd name="connsiteX1" fmla="*/ 34459 w 34149"/>
                <a:gd name="connsiteY1" fmla="*/ 5278 h 12417"/>
                <a:gd name="connsiteX2" fmla="*/ 19869 w 34149"/>
                <a:gd name="connsiteY2" fmla="*/ 0 h 12417"/>
                <a:gd name="connsiteX3" fmla="*/ 14591 w 34149"/>
                <a:gd name="connsiteY3" fmla="*/ 2173 h 12417"/>
                <a:gd name="connsiteX4" fmla="*/ 10555 w 34149"/>
                <a:gd name="connsiteY4" fmla="*/ 3104 h 12417"/>
                <a:gd name="connsiteX5" fmla="*/ 5278 w 34149"/>
                <a:gd name="connsiteY5" fmla="*/ 3104 h 12417"/>
                <a:gd name="connsiteX6" fmla="*/ 0 w 34149"/>
                <a:gd name="connsiteY6" fmla="*/ 5278 h 12417"/>
                <a:gd name="connsiteX7" fmla="*/ 0 w 34149"/>
                <a:gd name="connsiteY7" fmla="*/ 12728 h 12417"/>
                <a:gd name="connsiteX8" fmla="*/ 9313 w 34149"/>
                <a:gd name="connsiteY8" fmla="*/ 12728 h 12417"/>
                <a:gd name="connsiteX9" fmla="*/ 19869 w 34149"/>
                <a:gd name="connsiteY9" fmla="*/ 12728 h 12417"/>
                <a:gd name="connsiteX10" fmla="*/ 31355 w 34149"/>
                <a:gd name="connsiteY10" fmla="*/ 8382 h 12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149" h="12417">
                  <a:moveTo>
                    <a:pt x="34459" y="8382"/>
                  </a:moveTo>
                  <a:lnTo>
                    <a:pt x="34459" y="5278"/>
                  </a:lnTo>
                  <a:lnTo>
                    <a:pt x="19869" y="0"/>
                  </a:lnTo>
                  <a:lnTo>
                    <a:pt x="14591" y="2173"/>
                  </a:lnTo>
                  <a:lnTo>
                    <a:pt x="10555" y="3104"/>
                  </a:lnTo>
                  <a:lnTo>
                    <a:pt x="5278" y="3104"/>
                  </a:lnTo>
                  <a:lnTo>
                    <a:pt x="0" y="5278"/>
                  </a:lnTo>
                  <a:lnTo>
                    <a:pt x="0" y="12728"/>
                  </a:lnTo>
                  <a:lnTo>
                    <a:pt x="9313" y="12728"/>
                  </a:lnTo>
                  <a:lnTo>
                    <a:pt x="19869" y="12728"/>
                  </a:lnTo>
                  <a:lnTo>
                    <a:pt x="31355" y="8382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40FBF400-C62E-4F76-8DCA-2DE8793946A1}"/>
                </a:ext>
              </a:extLst>
            </p:cNvPr>
            <p:cNvSpPr/>
            <p:nvPr/>
          </p:nvSpPr>
          <p:spPr>
            <a:xfrm>
              <a:off x="6993044" y="5054526"/>
              <a:ext cx="229730" cy="266983"/>
            </a:xfrm>
            <a:custGeom>
              <a:avLst/>
              <a:gdLst>
                <a:gd name="connsiteX0" fmla="*/ 7140 w 229729"/>
                <a:gd name="connsiteY0" fmla="*/ 247425 h 266983"/>
                <a:gd name="connsiteX1" fmla="*/ 8382 w 229729"/>
                <a:gd name="connsiteY1" fmla="*/ 254876 h 266983"/>
                <a:gd name="connsiteX2" fmla="*/ 10245 w 229729"/>
                <a:gd name="connsiteY2" fmla="*/ 269777 h 266983"/>
                <a:gd name="connsiteX3" fmla="*/ 22663 w 229729"/>
                <a:gd name="connsiteY3" fmla="*/ 269777 h 266983"/>
                <a:gd name="connsiteX4" fmla="*/ 27009 w 229729"/>
                <a:gd name="connsiteY4" fmla="*/ 262327 h 266983"/>
                <a:gd name="connsiteX5" fmla="*/ 30113 w 229729"/>
                <a:gd name="connsiteY5" fmla="*/ 254876 h 266983"/>
                <a:gd name="connsiteX6" fmla="*/ 36322 w 229729"/>
                <a:gd name="connsiteY6" fmla="*/ 249599 h 266983"/>
                <a:gd name="connsiteX7" fmla="*/ 34149 w 229729"/>
                <a:gd name="connsiteY7" fmla="*/ 240285 h 266983"/>
                <a:gd name="connsiteX8" fmla="*/ 34149 w 229729"/>
                <a:gd name="connsiteY8" fmla="*/ 235008 h 266983"/>
                <a:gd name="connsiteX9" fmla="*/ 34149 w 229729"/>
                <a:gd name="connsiteY9" fmla="*/ 231593 h 266983"/>
                <a:gd name="connsiteX10" fmla="*/ 30113 w 229729"/>
                <a:gd name="connsiteY10" fmla="*/ 229730 h 266983"/>
                <a:gd name="connsiteX11" fmla="*/ 27009 w 229729"/>
                <a:gd name="connsiteY11" fmla="*/ 224452 h 266983"/>
                <a:gd name="connsiteX12" fmla="*/ 27009 w 229729"/>
                <a:gd name="connsiteY12" fmla="*/ 220106 h 266983"/>
                <a:gd name="connsiteX13" fmla="*/ 34149 w 229729"/>
                <a:gd name="connsiteY13" fmla="*/ 222279 h 266983"/>
                <a:gd name="connsiteX14" fmla="*/ 37253 w 229729"/>
                <a:gd name="connsiteY14" fmla="*/ 224452 h 266983"/>
                <a:gd name="connsiteX15" fmla="*/ 41600 w 229729"/>
                <a:gd name="connsiteY15" fmla="*/ 224452 h 266983"/>
                <a:gd name="connsiteX16" fmla="*/ 41600 w 229729"/>
                <a:gd name="connsiteY16" fmla="*/ 225384 h 266983"/>
                <a:gd name="connsiteX17" fmla="*/ 41600 w 229729"/>
                <a:gd name="connsiteY17" fmla="*/ 229730 h 266983"/>
                <a:gd name="connsiteX18" fmla="*/ 41600 w 229729"/>
                <a:gd name="connsiteY18" fmla="*/ 231593 h 266983"/>
                <a:gd name="connsiteX19" fmla="*/ 41600 w 229729"/>
                <a:gd name="connsiteY19" fmla="*/ 236870 h 266983"/>
                <a:gd name="connsiteX20" fmla="*/ 43773 w 229729"/>
                <a:gd name="connsiteY20" fmla="*/ 240285 h 266983"/>
                <a:gd name="connsiteX21" fmla="*/ 48740 w 229729"/>
                <a:gd name="connsiteY21" fmla="*/ 239043 h 266983"/>
                <a:gd name="connsiteX22" fmla="*/ 54018 w 229729"/>
                <a:gd name="connsiteY22" fmla="*/ 239043 h 266983"/>
                <a:gd name="connsiteX23" fmla="*/ 56191 w 229729"/>
                <a:gd name="connsiteY23" fmla="*/ 236870 h 266983"/>
                <a:gd name="connsiteX24" fmla="*/ 58364 w 229729"/>
                <a:gd name="connsiteY24" fmla="*/ 235008 h 266983"/>
                <a:gd name="connsiteX25" fmla="*/ 59295 w 229729"/>
                <a:gd name="connsiteY25" fmla="*/ 235008 h 266983"/>
                <a:gd name="connsiteX26" fmla="*/ 61468 w 229729"/>
                <a:gd name="connsiteY26" fmla="*/ 232834 h 266983"/>
                <a:gd name="connsiteX27" fmla="*/ 65504 w 229729"/>
                <a:gd name="connsiteY27" fmla="*/ 232834 h 266983"/>
                <a:gd name="connsiteX28" fmla="*/ 70782 w 229729"/>
                <a:gd name="connsiteY28" fmla="*/ 232834 h 266983"/>
                <a:gd name="connsiteX29" fmla="*/ 72955 w 229729"/>
                <a:gd name="connsiteY29" fmla="*/ 229730 h 266983"/>
                <a:gd name="connsiteX30" fmla="*/ 73886 w 229729"/>
                <a:gd name="connsiteY30" fmla="*/ 224452 h 266983"/>
                <a:gd name="connsiteX31" fmla="*/ 73886 w 229729"/>
                <a:gd name="connsiteY31" fmla="*/ 220106 h 266983"/>
                <a:gd name="connsiteX32" fmla="*/ 76059 w 229729"/>
                <a:gd name="connsiteY32" fmla="*/ 212655 h 266983"/>
                <a:gd name="connsiteX33" fmla="*/ 81026 w 229729"/>
                <a:gd name="connsiteY33" fmla="*/ 220106 h 266983"/>
                <a:gd name="connsiteX34" fmla="*/ 86304 w 229729"/>
                <a:gd name="connsiteY34" fmla="*/ 229730 h 266983"/>
                <a:gd name="connsiteX35" fmla="*/ 112381 w 229729"/>
                <a:gd name="connsiteY35" fmla="*/ 217933 h 266983"/>
                <a:gd name="connsiteX36" fmla="*/ 139390 w 229729"/>
                <a:gd name="connsiteY36" fmla="*/ 205205 h 266983"/>
                <a:gd name="connsiteX37" fmla="*/ 163294 w 229729"/>
                <a:gd name="connsiteY37" fmla="*/ 192476 h 266983"/>
                <a:gd name="connsiteX38" fmla="*/ 165468 w 229729"/>
                <a:gd name="connsiteY38" fmla="*/ 170435 h 266983"/>
                <a:gd name="connsiteX39" fmla="*/ 168572 w 229729"/>
                <a:gd name="connsiteY39" fmla="*/ 152429 h 266983"/>
                <a:gd name="connsiteX40" fmla="*/ 172918 w 229729"/>
                <a:gd name="connsiteY40" fmla="*/ 138459 h 266983"/>
                <a:gd name="connsiteX41" fmla="*/ 173850 w 229729"/>
                <a:gd name="connsiteY41" fmla="*/ 125731 h 266983"/>
                <a:gd name="connsiteX42" fmla="*/ 173850 w 229729"/>
                <a:gd name="connsiteY42" fmla="*/ 113313 h 266983"/>
                <a:gd name="connsiteX43" fmla="*/ 172918 w 229729"/>
                <a:gd name="connsiteY43" fmla="*/ 96238 h 266983"/>
                <a:gd name="connsiteX44" fmla="*/ 166709 w 229729"/>
                <a:gd name="connsiteY44" fmla="*/ 73886 h 266983"/>
                <a:gd name="connsiteX45" fmla="*/ 170745 w 229729"/>
                <a:gd name="connsiteY45" fmla="*/ 72955 h 266983"/>
                <a:gd name="connsiteX46" fmla="*/ 172918 w 229729"/>
                <a:gd name="connsiteY46" fmla="*/ 68609 h 266983"/>
                <a:gd name="connsiteX47" fmla="*/ 176023 w 229729"/>
                <a:gd name="connsiteY47" fmla="*/ 66746 h 266983"/>
                <a:gd name="connsiteX48" fmla="*/ 180059 w 229729"/>
                <a:gd name="connsiteY48" fmla="*/ 65504 h 266983"/>
                <a:gd name="connsiteX49" fmla="*/ 183163 w 229729"/>
                <a:gd name="connsiteY49" fmla="*/ 66746 h 266983"/>
                <a:gd name="connsiteX50" fmla="*/ 186267 w 229729"/>
                <a:gd name="connsiteY50" fmla="*/ 68609 h 266983"/>
                <a:gd name="connsiteX51" fmla="*/ 190614 w 229729"/>
                <a:gd name="connsiteY51" fmla="*/ 73886 h 266983"/>
                <a:gd name="connsiteX52" fmla="*/ 200858 w 229729"/>
                <a:gd name="connsiteY52" fmla="*/ 68609 h 266983"/>
                <a:gd name="connsiteX53" fmla="*/ 208309 w 229729"/>
                <a:gd name="connsiteY53" fmla="*/ 61468 h 266983"/>
                <a:gd name="connsiteX54" fmla="*/ 217622 w 229729"/>
                <a:gd name="connsiteY54" fmla="*/ 54018 h 266983"/>
                <a:gd name="connsiteX55" fmla="*/ 230040 w 229729"/>
                <a:gd name="connsiteY55" fmla="*/ 50603 h 266983"/>
                <a:gd name="connsiteX56" fmla="*/ 230040 w 229729"/>
                <a:gd name="connsiteY56" fmla="*/ 44394 h 266983"/>
                <a:gd name="connsiteX57" fmla="*/ 230040 w 229729"/>
                <a:gd name="connsiteY57" fmla="*/ 41289 h 266983"/>
                <a:gd name="connsiteX58" fmla="*/ 229109 w 229729"/>
                <a:gd name="connsiteY58" fmla="*/ 36943 h 266983"/>
                <a:gd name="connsiteX59" fmla="*/ 226936 w 229729"/>
                <a:gd name="connsiteY59" fmla="*/ 33839 h 266983"/>
                <a:gd name="connsiteX60" fmla="*/ 219796 w 229729"/>
                <a:gd name="connsiteY60" fmla="*/ 28561 h 266983"/>
                <a:gd name="connsiteX61" fmla="*/ 212345 w 229729"/>
                <a:gd name="connsiteY61" fmla="*/ 24215 h 266983"/>
                <a:gd name="connsiteX62" fmla="*/ 200858 w 229729"/>
                <a:gd name="connsiteY62" fmla="*/ 21110 h 266983"/>
                <a:gd name="connsiteX63" fmla="*/ 192476 w 229729"/>
                <a:gd name="connsiteY63" fmla="*/ 13660 h 266983"/>
                <a:gd name="connsiteX64" fmla="*/ 183163 w 229729"/>
                <a:gd name="connsiteY64" fmla="*/ 0 h 266983"/>
                <a:gd name="connsiteX65" fmla="*/ 173850 w 229729"/>
                <a:gd name="connsiteY65" fmla="*/ 9624 h 266983"/>
                <a:gd name="connsiteX66" fmla="*/ 170745 w 229729"/>
                <a:gd name="connsiteY66" fmla="*/ 24215 h 266983"/>
                <a:gd name="connsiteX67" fmla="*/ 170745 w 229729"/>
                <a:gd name="connsiteY67" fmla="*/ 43462 h 266983"/>
                <a:gd name="connsiteX68" fmla="*/ 166709 w 229729"/>
                <a:gd name="connsiteY68" fmla="*/ 43462 h 266983"/>
                <a:gd name="connsiteX69" fmla="*/ 163294 w 229729"/>
                <a:gd name="connsiteY69" fmla="*/ 44394 h 266983"/>
                <a:gd name="connsiteX70" fmla="*/ 158327 w 229729"/>
                <a:gd name="connsiteY70" fmla="*/ 44394 h 266983"/>
                <a:gd name="connsiteX71" fmla="*/ 150877 w 229729"/>
                <a:gd name="connsiteY71" fmla="*/ 46567 h 266983"/>
                <a:gd name="connsiteX72" fmla="*/ 150877 w 229729"/>
                <a:gd name="connsiteY72" fmla="*/ 48740 h 266983"/>
                <a:gd name="connsiteX73" fmla="*/ 150877 w 229729"/>
                <a:gd name="connsiteY73" fmla="*/ 50603 h 266983"/>
                <a:gd name="connsiteX74" fmla="*/ 149014 w 229729"/>
                <a:gd name="connsiteY74" fmla="*/ 51844 h 266983"/>
                <a:gd name="connsiteX75" fmla="*/ 146841 w 229729"/>
                <a:gd name="connsiteY75" fmla="*/ 54018 h 266983"/>
                <a:gd name="connsiteX76" fmla="*/ 146841 w 229729"/>
                <a:gd name="connsiteY76" fmla="*/ 63331 h 266983"/>
                <a:gd name="connsiteX77" fmla="*/ 146841 w 229729"/>
                <a:gd name="connsiteY77" fmla="*/ 70782 h 266983"/>
                <a:gd name="connsiteX78" fmla="*/ 149014 w 229729"/>
                <a:gd name="connsiteY78" fmla="*/ 73886 h 266983"/>
                <a:gd name="connsiteX79" fmla="*/ 150877 w 229729"/>
                <a:gd name="connsiteY79" fmla="*/ 78232 h 266983"/>
                <a:gd name="connsiteX80" fmla="*/ 156154 w 229729"/>
                <a:gd name="connsiteY80" fmla="*/ 81337 h 266983"/>
                <a:gd name="connsiteX81" fmla="*/ 163294 w 229729"/>
                <a:gd name="connsiteY81" fmla="*/ 81337 h 266983"/>
                <a:gd name="connsiteX82" fmla="*/ 152118 w 229729"/>
                <a:gd name="connsiteY82" fmla="*/ 98411 h 266983"/>
                <a:gd name="connsiteX83" fmla="*/ 146841 w 229729"/>
                <a:gd name="connsiteY83" fmla="*/ 111140 h 266983"/>
                <a:gd name="connsiteX84" fmla="*/ 143737 w 229729"/>
                <a:gd name="connsiteY84" fmla="*/ 125731 h 266983"/>
                <a:gd name="connsiteX85" fmla="*/ 139390 w 229729"/>
                <a:gd name="connsiteY85" fmla="*/ 138459 h 266983"/>
                <a:gd name="connsiteX86" fmla="*/ 130077 w 229729"/>
                <a:gd name="connsiteY86" fmla="*/ 150256 h 266983"/>
                <a:gd name="connsiteX87" fmla="*/ 115486 w 229729"/>
                <a:gd name="connsiteY87" fmla="*/ 162984 h 266983"/>
                <a:gd name="connsiteX88" fmla="*/ 114555 w 229729"/>
                <a:gd name="connsiteY88" fmla="*/ 165157 h 266983"/>
                <a:gd name="connsiteX89" fmla="*/ 112381 w 229729"/>
                <a:gd name="connsiteY89" fmla="*/ 165157 h 266983"/>
                <a:gd name="connsiteX90" fmla="*/ 110208 w 229729"/>
                <a:gd name="connsiteY90" fmla="*/ 165157 h 266983"/>
                <a:gd name="connsiteX91" fmla="*/ 108346 w 229729"/>
                <a:gd name="connsiteY91" fmla="*/ 162984 h 266983"/>
                <a:gd name="connsiteX92" fmla="*/ 107104 w 229729"/>
                <a:gd name="connsiteY92" fmla="*/ 159880 h 266983"/>
                <a:gd name="connsiteX93" fmla="*/ 100895 w 229729"/>
                <a:gd name="connsiteY93" fmla="*/ 162984 h 266983"/>
                <a:gd name="connsiteX94" fmla="*/ 97790 w 229729"/>
                <a:gd name="connsiteY94" fmla="*/ 168262 h 266983"/>
                <a:gd name="connsiteX95" fmla="*/ 95617 w 229729"/>
                <a:gd name="connsiteY95" fmla="*/ 172297 h 266983"/>
                <a:gd name="connsiteX96" fmla="*/ 93754 w 229729"/>
                <a:gd name="connsiteY96" fmla="*/ 177886 h 266983"/>
                <a:gd name="connsiteX97" fmla="*/ 90650 w 229729"/>
                <a:gd name="connsiteY97" fmla="*/ 183163 h 266983"/>
                <a:gd name="connsiteX98" fmla="*/ 86304 w 229729"/>
                <a:gd name="connsiteY98" fmla="*/ 188441 h 266983"/>
                <a:gd name="connsiteX99" fmla="*/ 83200 w 229729"/>
                <a:gd name="connsiteY99" fmla="*/ 188441 h 266983"/>
                <a:gd name="connsiteX100" fmla="*/ 80095 w 229729"/>
                <a:gd name="connsiteY100" fmla="*/ 188441 h 266983"/>
                <a:gd name="connsiteX101" fmla="*/ 73886 w 229729"/>
                <a:gd name="connsiteY101" fmla="*/ 187199 h 266983"/>
                <a:gd name="connsiteX102" fmla="*/ 66435 w 229729"/>
                <a:gd name="connsiteY102" fmla="*/ 187199 h 266983"/>
                <a:gd name="connsiteX103" fmla="*/ 59295 w 229729"/>
                <a:gd name="connsiteY103" fmla="*/ 188441 h 266983"/>
                <a:gd name="connsiteX104" fmla="*/ 39426 w 229729"/>
                <a:gd name="connsiteY104" fmla="*/ 197754 h 266983"/>
                <a:gd name="connsiteX105" fmla="*/ 22663 w 229729"/>
                <a:gd name="connsiteY105" fmla="*/ 212655 h 266983"/>
                <a:gd name="connsiteX106" fmla="*/ 10245 w 229729"/>
                <a:gd name="connsiteY106" fmla="*/ 229730 h 266983"/>
                <a:gd name="connsiteX107" fmla="*/ 0 w 229729"/>
                <a:gd name="connsiteY107" fmla="*/ 229730 h 266983"/>
                <a:gd name="connsiteX108" fmla="*/ 3104 w 229729"/>
                <a:gd name="connsiteY108" fmla="*/ 240285 h 266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</a:cxnLst>
              <a:rect l="l" t="t" r="r" b="b"/>
              <a:pathLst>
                <a:path w="229729" h="266983">
                  <a:moveTo>
                    <a:pt x="7140" y="247425"/>
                  </a:moveTo>
                  <a:lnTo>
                    <a:pt x="8382" y="254876"/>
                  </a:lnTo>
                  <a:lnTo>
                    <a:pt x="10245" y="269777"/>
                  </a:lnTo>
                  <a:lnTo>
                    <a:pt x="22663" y="269777"/>
                  </a:lnTo>
                  <a:lnTo>
                    <a:pt x="27009" y="262327"/>
                  </a:lnTo>
                  <a:lnTo>
                    <a:pt x="30113" y="254876"/>
                  </a:lnTo>
                  <a:lnTo>
                    <a:pt x="36322" y="249599"/>
                  </a:lnTo>
                  <a:lnTo>
                    <a:pt x="34149" y="240285"/>
                  </a:lnTo>
                  <a:lnTo>
                    <a:pt x="34149" y="235008"/>
                  </a:lnTo>
                  <a:lnTo>
                    <a:pt x="34149" y="231593"/>
                  </a:lnTo>
                  <a:lnTo>
                    <a:pt x="30113" y="229730"/>
                  </a:lnTo>
                  <a:lnTo>
                    <a:pt x="27009" y="224452"/>
                  </a:lnTo>
                  <a:lnTo>
                    <a:pt x="27009" y="220106"/>
                  </a:lnTo>
                  <a:lnTo>
                    <a:pt x="34149" y="222279"/>
                  </a:lnTo>
                  <a:lnTo>
                    <a:pt x="37253" y="224452"/>
                  </a:lnTo>
                  <a:lnTo>
                    <a:pt x="41600" y="224452"/>
                  </a:lnTo>
                  <a:lnTo>
                    <a:pt x="41600" y="225384"/>
                  </a:lnTo>
                  <a:lnTo>
                    <a:pt x="41600" y="229730"/>
                  </a:lnTo>
                  <a:lnTo>
                    <a:pt x="41600" y="231593"/>
                  </a:lnTo>
                  <a:lnTo>
                    <a:pt x="41600" y="236870"/>
                  </a:lnTo>
                  <a:lnTo>
                    <a:pt x="43773" y="240285"/>
                  </a:lnTo>
                  <a:lnTo>
                    <a:pt x="48740" y="239043"/>
                  </a:lnTo>
                  <a:lnTo>
                    <a:pt x="54018" y="239043"/>
                  </a:lnTo>
                  <a:lnTo>
                    <a:pt x="56191" y="236870"/>
                  </a:lnTo>
                  <a:lnTo>
                    <a:pt x="58364" y="235008"/>
                  </a:lnTo>
                  <a:lnTo>
                    <a:pt x="59295" y="235008"/>
                  </a:lnTo>
                  <a:lnTo>
                    <a:pt x="61468" y="232834"/>
                  </a:lnTo>
                  <a:lnTo>
                    <a:pt x="65504" y="232834"/>
                  </a:lnTo>
                  <a:lnTo>
                    <a:pt x="70782" y="232834"/>
                  </a:lnTo>
                  <a:lnTo>
                    <a:pt x="72955" y="229730"/>
                  </a:lnTo>
                  <a:lnTo>
                    <a:pt x="73886" y="224452"/>
                  </a:lnTo>
                  <a:lnTo>
                    <a:pt x="73886" y="220106"/>
                  </a:lnTo>
                  <a:lnTo>
                    <a:pt x="76059" y="212655"/>
                  </a:lnTo>
                  <a:lnTo>
                    <a:pt x="81026" y="220106"/>
                  </a:lnTo>
                  <a:lnTo>
                    <a:pt x="86304" y="229730"/>
                  </a:lnTo>
                  <a:lnTo>
                    <a:pt x="112381" y="217933"/>
                  </a:lnTo>
                  <a:lnTo>
                    <a:pt x="139390" y="205205"/>
                  </a:lnTo>
                  <a:lnTo>
                    <a:pt x="163294" y="192476"/>
                  </a:lnTo>
                  <a:lnTo>
                    <a:pt x="165468" y="170435"/>
                  </a:lnTo>
                  <a:lnTo>
                    <a:pt x="168572" y="152429"/>
                  </a:lnTo>
                  <a:lnTo>
                    <a:pt x="172918" y="138459"/>
                  </a:lnTo>
                  <a:lnTo>
                    <a:pt x="173850" y="125731"/>
                  </a:lnTo>
                  <a:lnTo>
                    <a:pt x="173850" y="113313"/>
                  </a:lnTo>
                  <a:lnTo>
                    <a:pt x="172918" y="96238"/>
                  </a:lnTo>
                  <a:lnTo>
                    <a:pt x="166709" y="73886"/>
                  </a:lnTo>
                  <a:lnTo>
                    <a:pt x="170745" y="72955"/>
                  </a:lnTo>
                  <a:lnTo>
                    <a:pt x="172918" y="68609"/>
                  </a:lnTo>
                  <a:lnTo>
                    <a:pt x="176023" y="66746"/>
                  </a:lnTo>
                  <a:lnTo>
                    <a:pt x="180059" y="65504"/>
                  </a:lnTo>
                  <a:lnTo>
                    <a:pt x="183163" y="66746"/>
                  </a:lnTo>
                  <a:lnTo>
                    <a:pt x="186267" y="68609"/>
                  </a:lnTo>
                  <a:lnTo>
                    <a:pt x="190614" y="73886"/>
                  </a:lnTo>
                  <a:lnTo>
                    <a:pt x="200858" y="68609"/>
                  </a:lnTo>
                  <a:lnTo>
                    <a:pt x="208309" y="61468"/>
                  </a:lnTo>
                  <a:lnTo>
                    <a:pt x="217622" y="54018"/>
                  </a:lnTo>
                  <a:lnTo>
                    <a:pt x="230040" y="50603"/>
                  </a:lnTo>
                  <a:lnTo>
                    <a:pt x="230040" y="44394"/>
                  </a:lnTo>
                  <a:lnTo>
                    <a:pt x="230040" y="41289"/>
                  </a:lnTo>
                  <a:lnTo>
                    <a:pt x="229109" y="36943"/>
                  </a:lnTo>
                  <a:lnTo>
                    <a:pt x="226936" y="33839"/>
                  </a:lnTo>
                  <a:lnTo>
                    <a:pt x="219796" y="28561"/>
                  </a:lnTo>
                  <a:lnTo>
                    <a:pt x="212345" y="24215"/>
                  </a:lnTo>
                  <a:lnTo>
                    <a:pt x="200858" y="21110"/>
                  </a:lnTo>
                  <a:lnTo>
                    <a:pt x="192476" y="13660"/>
                  </a:lnTo>
                  <a:lnTo>
                    <a:pt x="183163" y="0"/>
                  </a:lnTo>
                  <a:lnTo>
                    <a:pt x="173850" y="9624"/>
                  </a:lnTo>
                  <a:lnTo>
                    <a:pt x="170745" y="24215"/>
                  </a:lnTo>
                  <a:lnTo>
                    <a:pt x="170745" y="43462"/>
                  </a:lnTo>
                  <a:lnTo>
                    <a:pt x="166709" y="43462"/>
                  </a:lnTo>
                  <a:lnTo>
                    <a:pt x="163294" y="44394"/>
                  </a:lnTo>
                  <a:lnTo>
                    <a:pt x="158327" y="44394"/>
                  </a:lnTo>
                  <a:lnTo>
                    <a:pt x="150877" y="46567"/>
                  </a:lnTo>
                  <a:lnTo>
                    <a:pt x="150877" y="48740"/>
                  </a:lnTo>
                  <a:lnTo>
                    <a:pt x="150877" y="50603"/>
                  </a:lnTo>
                  <a:lnTo>
                    <a:pt x="149014" y="51844"/>
                  </a:lnTo>
                  <a:lnTo>
                    <a:pt x="146841" y="54018"/>
                  </a:lnTo>
                  <a:lnTo>
                    <a:pt x="146841" y="63331"/>
                  </a:lnTo>
                  <a:lnTo>
                    <a:pt x="146841" y="70782"/>
                  </a:lnTo>
                  <a:lnTo>
                    <a:pt x="149014" y="73886"/>
                  </a:lnTo>
                  <a:lnTo>
                    <a:pt x="150877" y="78232"/>
                  </a:lnTo>
                  <a:lnTo>
                    <a:pt x="156154" y="81337"/>
                  </a:lnTo>
                  <a:lnTo>
                    <a:pt x="163294" y="81337"/>
                  </a:lnTo>
                  <a:lnTo>
                    <a:pt x="152118" y="98411"/>
                  </a:lnTo>
                  <a:lnTo>
                    <a:pt x="146841" y="111140"/>
                  </a:lnTo>
                  <a:lnTo>
                    <a:pt x="143737" y="125731"/>
                  </a:lnTo>
                  <a:lnTo>
                    <a:pt x="139390" y="138459"/>
                  </a:lnTo>
                  <a:lnTo>
                    <a:pt x="130077" y="150256"/>
                  </a:lnTo>
                  <a:lnTo>
                    <a:pt x="115486" y="162984"/>
                  </a:lnTo>
                  <a:lnTo>
                    <a:pt x="114555" y="165157"/>
                  </a:lnTo>
                  <a:lnTo>
                    <a:pt x="112381" y="165157"/>
                  </a:lnTo>
                  <a:lnTo>
                    <a:pt x="110208" y="165157"/>
                  </a:lnTo>
                  <a:lnTo>
                    <a:pt x="108346" y="162984"/>
                  </a:lnTo>
                  <a:lnTo>
                    <a:pt x="107104" y="159880"/>
                  </a:lnTo>
                  <a:lnTo>
                    <a:pt x="100895" y="162984"/>
                  </a:lnTo>
                  <a:lnTo>
                    <a:pt x="97790" y="168262"/>
                  </a:lnTo>
                  <a:lnTo>
                    <a:pt x="95617" y="172297"/>
                  </a:lnTo>
                  <a:lnTo>
                    <a:pt x="93754" y="177886"/>
                  </a:lnTo>
                  <a:lnTo>
                    <a:pt x="90650" y="183163"/>
                  </a:lnTo>
                  <a:lnTo>
                    <a:pt x="86304" y="188441"/>
                  </a:lnTo>
                  <a:lnTo>
                    <a:pt x="83200" y="188441"/>
                  </a:lnTo>
                  <a:lnTo>
                    <a:pt x="80095" y="188441"/>
                  </a:lnTo>
                  <a:lnTo>
                    <a:pt x="73886" y="187199"/>
                  </a:lnTo>
                  <a:lnTo>
                    <a:pt x="66435" y="187199"/>
                  </a:lnTo>
                  <a:lnTo>
                    <a:pt x="59295" y="188441"/>
                  </a:lnTo>
                  <a:lnTo>
                    <a:pt x="39426" y="197754"/>
                  </a:lnTo>
                  <a:lnTo>
                    <a:pt x="22663" y="212655"/>
                  </a:lnTo>
                  <a:lnTo>
                    <a:pt x="10245" y="229730"/>
                  </a:lnTo>
                  <a:lnTo>
                    <a:pt x="0" y="229730"/>
                  </a:lnTo>
                  <a:lnTo>
                    <a:pt x="3104" y="240285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2035E94D-05F5-4276-90D3-9D8015F45827}"/>
                </a:ext>
              </a:extLst>
            </p:cNvPr>
            <p:cNvSpPr/>
            <p:nvPr/>
          </p:nvSpPr>
          <p:spPr>
            <a:xfrm>
              <a:off x="6968829" y="5832193"/>
              <a:ext cx="43462" cy="18627"/>
            </a:xfrm>
            <a:custGeom>
              <a:avLst/>
              <a:gdLst>
                <a:gd name="connsiteX0" fmla="*/ 0 w 43462"/>
                <a:gd name="connsiteY0" fmla="*/ 0 h 18626"/>
                <a:gd name="connsiteX1" fmla="*/ 0 w 43462"/>
                <a:gd name="connsiteY1" fmla="*/ 11797 h 18626"/>
                <a:gd name="connsiteX2" fmla="*/ 16764 w 43462"/>
                <a:gd name="connsiteY2" fmla="*/ 11797 h 18626"/>
                <a:gd name="connsiteX3" fmla="*/ 29182 w 43462"/>
                <a:gd name="connsiteY3" fmla="*/ 13970 h 18626"/>
                <a:gd name="connsiteX4" fmla="*/ 39737 w 43462"/>
                <a:gd name="connsiteY4" fmla="*/ 20179 h 18626"/>
                <a:gd name="connsiteX5" fmla="*/ 43773 w 43462"/>
                <a:gd name="connsiteY5" fmla="*/ 20179 h 18626"/>
                <a:gd name="connsiteX6" fmla="*/ 41910 w 43462"/>
                <a:gd name="connsiteY6" fmla="*/ 14901 h 18626"/>
                <a:gd name="connsiteX7" fmla="*/ 41910 w 43462"/>
                <a:gd name="connsiteY7" fmla="*/ 11797 h 18626"/>
                <a:gd name="connsiteX8" fmla="*/ 39737 w 43462"/>
                <a:gd name="connsiteY8" fmla="*/ 7451 h 18626"/>
                <a:gd name="connsiteX9" fmla="*/ 39737 w 43462"/>
                <a:gd name="connsiteY9" fmla="*/ 4346 h 18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462" h="18626">
                  <a:moveTo>
                    <a:pt x="0" y="0"/>
                  </a:moveTo>
                  <a:lnTo>
                    <a:pt x="0" y="11797"/>
                  </a:lnTo>
                  <a:lnTo>
                    <a:pt x="16764" y="11797"/>
                  </a:lnTo>
                  <a:lnTo>
                    <a:pt x="29182" y="13970"/>
                  </a:lnTo>
                  <a:lnTo>
                    <a:pt x="39737" y="20179"/>
                  </a:lnTo>
                  <a:lnTo>
                    <a:pt x="43773" y="20179"/>
                  </a:lnTo>
                  <a:lnTo>
                    <a:pt x="41910" y="14901"/>
                  </a:lnTo>
                  <a:lnTo>
                    <a:pt x="41910" y="11797"/>
                  </a:lnTo>
                  <a:lnTo>
                    <a:pt x="39737" y="7451"/>
                  </a:lnTo>
                  <a:lnTo>
                    <a:pt x="39737" y="4346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A2FA71CC-01C6-4094-B734-A7CE5848B9BA}"/>
                </a:ext>
              </a:extLst>
            </p:cNvPr>
            <p:cNvSpPr/>
            <p:nvPr/>
          </p:nvSpPr>
          <p:spPr>
            <a:xfrm>
              <a:off x="6983420" y="5324304"/>
              <a:ext cx="15522" cy="24836"/>
            </a:xfrm>
            <a:custGeom>
              <a:avLst/>
              <a:gdLst>
                <a:gd name="connsiteX0" fmla="*/ 10555 w 15522"/>
                <a:gd name="connsiteY0" fmla="*/ 22352 h 24835"/>
                <a:gd name="connsiteX1" fmla="*/ 14591 w 15522"/>
                <a:gd name="connsiteY1" fmla="*/ 17075 h 24835"/>
                <a:gd name="connsiteX2" fmla="*/ 16764 w 15522"/>
                <a:gd name="connsiteY2" fmla="*/ 11797 h 24835"/>
                <a:gd name="connsiteX3" fmla="*/ 16764 w 15522"/>
                <a:gd name="connsiteY3" fmla="*/ 7451 h 24835"/>
                <a:gd name="connsiteX4" fmla="*/ 14591 w 15522"/>
                <a:gd name="connsiteY4" fmla="*/ 4346 h 24835"/>
                <a:gd name="connsiteX5" fmla="*/ 14591 w 15522"/>
                <a:gd name="connsiteY5" fmla="*/ 2173 h 24835"/>
                <a:gd name="connsiteX6" fmla="*/ 12728 w 15522"/>
                <a:gd name="connsiteY6" fmla="*/ 2173 h 24835"/>
                <a:gd name="connsiteX7" fmla="*/ 9624 w 15522"/>
                <a:gd name="connsiteY7" fmla="*/ 0 h 24835"/>
                <a:gd name="connsiteX8" fmla="*/ 7451 w 15522"/>
                <a:gd name="connsiteY8" fmla="*/ 6519 h 24835"/>
                <a:gd name="connsiteX9" fmla="*/ 5277 w 15522"/>
                <a:gd name="connsiteY9" fmla="*/ 9624 h 24835"/>
                <a:gd name="connsiteX10" fmla="*/ 3415 w 15522"/>
                <a:gd name="connsiteY10" fmla="*/ 13660 h 24835"/>
                <a:gd name="connsiteX11" fmla="*/ 0 w 15522"/>
                <a:gd name="connsiteY11" fmla="*/ 14901 h 24835"/>
                <a:gd name="connsiteX12" fmla="*/ 0 w 15522"/>
                <a:gd name="connsiteY12" fmla="*/ 27630 h 24835"/>
                <a:gd name="connsiteX13" fmla="*/ 9624 w 15522"/>
                <a:gd name="connsiteY13" fmla="*/ 27630 h 24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522" h="24835">
                  <a:moveTo>
                    <a:pt x="10555" y="22352"/>
                  </a:moveTo>
                  <a:lnTo>
                    <a:pt x="14591" y="17075"/>
                  </a:lnTo>
                  <a:lnTo>
                    <a:pt x="16764" y="11797"/>
                  </a:lnTo>
                  <a:lnTo>
                    <a:pt x="16764" y="7451"/>
                  </a:lnTo>
                  <a:lnTo>
                    <a:pt x="14591" y="4346"/>
                  </a:lnTo>
                  <a:lnTo>
                    <a:pt x="14591" y="2173"/>
                  </a:lnTo>
                  <a:lnTo>
                    <a:pt x="12728" y="2173"/>
                  </a:lnTo>
                  <a:lnTo>
                    <a:pt x="9624" y="0"/>
                  </a:lnTo>
                  <a:lnTo>
                    <a:pt x="7451" y="6519"/>
                  </a:lnTo>
                  <a:lnTo>
                    <a:pt x="5277" y="9624"/>
                  </a:lnTo>
                  <a:lnTo>
                    <a:pt x="3415" y="13660"/>
                  </a:lnTo>
                  <a:lnTo>
                    <a:pt x="0" y="14901"/>
                  </a:lnTo>
                  <a:lnTo>
                    <a:pt x="0" y="27630"/>
                  </a:lnTo>
                  <a:lnTo>
                    <a:pt x="9624" y="27630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E3D63D9E-1660-45C7-B1DE-84C420AAB496}"/>
                </a:ext>
              </a:extLst>
            </p:cNvPr>
            <p:cNvSpPr/>
            <p:nvPr/>
          </p:nvSpPr>
          <p:spPr>
            <a:xfrm>
              <a:off x="6832543" y="5765758"/>
              <a:ext cx="99343" cy="108656"/>
            </a:xfrm>
            <a:custGeom>
              <a:avLst/>
              <a:gdLst>
                <a:gd name="connsiteX0" fmla="*/ 63641 w 99342"/>
                <a:gd name="connsiteY0" fmla="*/ 107725 h 108656"/>
                <a:gd name="connsiteX1" fmla="*/ 67677 w 99342"/>
                <a:gd name="connsiteY1" fmla="*/ 107725 h 108656"/>
                <a:gd name="connsiteX2" fmla="*/ 63641 w 99342"/>
                <a:gd name="connsiteY2" fmla="*/ 88787 h 108656"/>
                <a:gd name="connsiteX3" fmla="*/ 60537 w 99342"/>
                <a:gd name="connsiteY3" fmla="*/ 78232 h 108656"/>
                <a:gd name="connsiteX4" fmla="*/ 53086 w 99342"/>
                <a:gd name="connsiteY4" fmla="*/ 66435 h 108656"/>
                <a:gd name="connsiteX5" fmla="*/ 46877 w 99342"/>
                <a:gd name="connsiteY5" fmla="*/ 53707 h 108656"/>
                <a:gd name="connsiteX6" fmla="*/ 54017 w 99342"/>
                <a:gd name="connsiteY6" fmla="*/ 50603 h 108656"/>
                <a:gd name="connsiteX7" fmla="*/ 61468 w 99342"/>
                <a:gd name="connsiteY7" fmla="*/ 46567 h 108656"/>
                <a:gd name="connsiteX8" fmla="*/ 67677 w 99342"/>
                <a:gd name="connsiteY8" fmla="*/ 43152 h 108656"/>
                <a:gd name="connsiteX9" fmla="*/ 70781 w 99342"/>
                <a:gd name="connsiteY9" fmla="*/ 43152 h 108656"/>
                <a:gd name="connsiteX10" fmla="*/ 70781 w 99342"/>
                <a:gd name="connsiteY10" fmla="*/ 33838 h 108656"/>
                <a:gd name="connsiteX11" fmla="*/ 50913 w 99342"/>
                <a:gd name="connsiteY11" fmla="*/ 39116 h 108656"/>
                <a:gd name="connsiteX12" fmla="*/ 31355 w 99342"/>
                <a:gd name="connsiteY12" fmla="*/ 46567 h 108656"/>
                <a:gd name="connsiteX13" fmla="*/ 29182 w 99342"/>
                <a:gd name="connsiteY13" fmla="*/ 43152 h 108656"/>
                <a:gd name="connsiteX14" fmla="*/ 27009 w 99342"/>
                <a:gd name="connsiteY14" fmla="*/ 40979 h 108656"/>
                <a:gd name="connsiteX15" fmla="*/ 27009 w 99342"/>
                <a:gd name="connsiteY15" fmla="*/ 39116 h 108656"/>
                <a:gd name="connsiteX16" fmla="*/ 23904 w 99342"/>
                <a:gd name="connsiteY16" fmla="*/ 36943 h 108656"/>
                <a:gd name="connsiteX17" fmla="*/ 23904 w 99342"/>
                <a:gd name="connsiteY17" fmla="*/ 26388 h 108656"/>
                <a:gd name="connsiteX18" fmla="*/ 43773 w 99342"/>
                <a:gd name="connsiteY18" fmla="*/ 24215 h 108656"/>
                <a:gd name="connsiteX19" fmla="*/ 60537 w 99342"/>
                <a:gd name="connsiteY19" fmla="*/ 24215 h 108656"/>
                <a:gd name="connsiteX20" fmla="*/ 80095 w 99342"/>
                <a:gd name="connsiteY20" fmla="*/ 26388 h 108656"/>
                <a:gd name="connsiteX21" fmla="*/ 85373 w 99342"/>
                <a:gd name="connsiteY21" fmla="*/ 21110 h 108656"/>
                <a:gd name="connsiteX22" fmla="*/ 90650 w 99342"/>
                <a:gd name="connsiteY22" fmla="*/ 14591 h 108656"/>
                <a:gd name="connsiteX23" fmla="*/ 96859 w 99342"/>
                <a:gd name="connsiteY23" fmla="*/ 9313 h 108656"/>
                <a:gd name="connsiteX24" fmla="*/ 96859 w 99342"/>
                <a:gd name="connsiteY24" fmla="*/ 7140 h 108656"/>
                <a:gd name="connsiteX25" fmla="*/ 97790 w 99342"/>
                <a:gd name="connsiteY25" fmla="*/ 7140 h 108656"/>
                <a:gd name="connsiteX26" fmla="*/ 99963 w 99342"/>
                <a:gd name="connsiteY26" fmla="*/ 6209 h 108656"/>
                <a:gd name="connsiteX27" fmla="*/ 96859 w 99342"/>
                <a:gd name="connsiteY27" fmla="*/ 6209 h 108656"/>
                <a:gd name="connsiteX28" fmla="*/ 96859 w 99342"/>
                <a:gd name="connsiteY28" fmla="*/ 4036 h 108656"/>
                <a:gd name="connsiteX29" fmla="*/ 94686 w 99342"/>
                <a:gd name="connsiteY29" fmla="*/ 4036 h 108656"/>
                <a:gd name="connsiteX30" fmla="*/ 94686 w 99342"/>
                <a:gd name="connsiteY30" fmla="*/ 1863 h 108656"/>
                <a:gd name="connsiteX31" fmla="*/ 94686 w 99342"/>
                <a:gd name="connsiteY31" fmla="*/ 0 h 108656"/>
                <a:gd name="connsiteX32" fmla="*/ 92823 w 99342"/>
                <a:gd name="connsiteY32" fmla="*/ 0 h 108656"/>
                <a:gd name="connsiteX33" fmla="*/ 90650 w 99342"/>
                <a:gd name="connsiteY33" fmla="*/ 0 h 108656"/>
                <a:gd name="connsiteX34" fmla="*/ 80095 w 99342"/>
                <a:gd name="connsiteY34" fmla="*/ 6209 h 108656"/>
                <a:gd name="connsiteX35" fmla="*/ 68608 w 99342"/>
                <a:gd name="connsiteY35" fmla="*/ 9313 h 108656"/>
                <a:gd name="connsiteX36" fmla="*/ 60537 w 99342"/>
                <a:gd name="connsiteY36" fmla="*/ 11486 h 108656"/>
                <a:gd name="connsiteX37" fmla="*/ 49050 w 99342"/>
                <a:gd name="connsiteY37" fmla="*/ 11486 h 108656"/>
                <a:gd name="connsiteX38" fmla="*/ 31355 w 99342"/>
                <a:gd name="connsiteY38" fmla="*/ 6209 h 108656"/>
                <a:gd name="connsiteX39" fmla="*/ 27009 w 99342"/>
                <a:gd name="connsiteY39" fmla="*/ 11486 h 108656"/>
                <a:gd name="connsiteX40" fmla="*/ 19868 w 99342"/>
                <a:gd name="connsiteY40" fmla="*/ 22042 h 108656"/>
                <a:gd name="connsiteX41" fmla="*/ 12418 w 99342"/>
                <a:gd name="connsiteY41" fmla="*/ 35701 h 108656"/>
                <a:gd name="connsiteX42" fmla="*/ 5277 w 99342"/>
                <a:gd name="connsiteY42" fmla="*/ 50603 h 108656"/>
                <a:gd name="connsiteX43" fmla="*/ 0 w 99342"/>
                <a:gd name="connsiteY43" fmla="*/ 61158 h 108656"/>
                <a:gd name="connsiteX44" fmla="*/ 0 w 99342"/>
                <a:gd name="connsiteY44" fmla="*/ 70782 h 108656"/>
                <a:gd name="connsiteX45" fmla="*/ 4036 w 99342"/>
                <a:gd name="connsiteY45" fmla="*/ 80405 h 108656"/>
                <a:gd name="connsiteX46" fmla="*/ 7140 w 99342"/>
                <a:gd name="connsiteY46" fmla="*/ 86614 h 108656"/>
                <a:gd name="connsiteX47" fmla="*/ 9313 w 99342"/>
                <a:gd name="connsiteY47" fmla="*/ 94065 h 108656"/>
                <a:gd name="connsiteX48" fmla="*/ 7140 w 99342"/>
                <a:gd name="connsiteY48" fmla="*/ 107725 h 108656"/>
                <a:gd name="connsiteX49" fmla="*/ 9313 w 99342"/>
                <a:gd name="connsiteY49" fmla="*/ 107725 h 108656"/>
                <a:gd name="connsiteX50" fmla="*/ 9313 w 99342"/>
                <a:gd name="connsiteY50" fmla="*/ 108966 h 108656"/>
                <a:gd name="connsiteX51" fmla="*/ 11486 w 99342"/>
                <a:gd name="connsiteY51" fmla="*/ 108966 h 108656"/>
                <a:gd name="connsiteX52" fmla="*/ 11486 w 99342"/>
                <a:gd name="connsiteY52" fmla="*/ 110829 h 108656"/>
                <a:gd name="connsiteX53" fmla="*/ 27009 w 99342"/>
                <a:gd name="connsiteY53" fmla="*/ 110829 h 108656"/>
                <a:gd name="connsiteX54" fmla="*/ 27009 w 99342"/>
                <a:gd name="connsiteY54" fmla="*/ 70782 h 108656"/>
                <a:gd name="connsiteX55" fmla="*/ 36322 w 99342"/>
                <a:gd name="connsiteY55" fmla="*/ 83510 h 108656"/>
                <a:gd name="connsiteX56" fmla="*/ 45946 w 99342"/>
                <a:gd name="connsiteY56" fmla="*/ 96238 h 108656"/>
                <a:gd name="connsiteX57" fmla="*/ 56191 w 99342"/>
                <a:gd name="connsiteY57" fmla="*/ 107725 h 108656"/>
                <a:gd name="connsiteX58" fmla="*/ 58364 w 99342"/>
                <a:gd name="connsiteY58" fmla="*/ 107725 h 108656"/>
                <a:gd name="connsiteX59" fmla="*/ 58364 w 99342"/>
                <a:gd name="connsiteY59" fmla="*/ 108966 h 108656"/>
                <a:gd name="connsiteX60" fmla="*/ 60537 w 99342"/>
                <a:gd name="connsiteY60" fmla="*/ 108966 h 108656"/>
                <a:gd name="connsiteX61" fmla="*/ 63641 w 99342"/>
                <a:gd name="connsiteY61" fmla="*/ 110829 h 108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99342" h="108656">
                  <a:moveTo>
                    <a:pt x="63641" y="107725"/>
                  </a:moveTo>
                  <a:lnTo>
                    <a:pt x="67677" y="107725"/>
                  </a:lnTo>
                  <a:lnTo>
                    <a:pt x="63641" y="88787"/>
                  </a:lnTo>
                  <a:lnTo>
                    <a:pt x="60537" y="78232"/>
                  </a:lnTo>
                  <a:lnTo>
                    <a:pt x="53086" y="66435"/>
                  </a:lnTo>
                  <a:lnTo>
                    <a:pt x="46877" y="53707"/>
                  </a:lnTo>
                  <a:lnTo>
                    <a:pt x="54017" y="50603"/>
                  </a:lnTo>
                  <a:lnTo>
                    <a:pt x="61468" y="46567"/>
                  </a:lnTo>
                  <a:lnTo>
                    <a:pt x="67677" y="43152"/>
                  </a:lnTo>
                  <a:lnTo>
                    <a:pt x="70781" y="43152"/>
                  </a:lnTo>
                  <a:lnTo>
                    <a:pt x="70781" y="33838"/>
                  </a:lnTo>
                  <a:lnTo>
                    <a:pt x="50913" y="39116"/>
                  </a:lnTo>
                  <a:lnTo>
                    <a:pt x="31355" y="46567"/>
                  </a:lnTo>
                  <a:lnTo>
                    <a:pt x="29182" y="43152"/>
                  </a:lnTo>
                  <a:lnTo>
                    <a:pt x="27009" y="40979"/>
                  </a:lnTo>
                  <a:lnTo>
                    <a:pt x="27009" y="39116"/>
                  </a:lnTo>
                  <a:lnTo>
                    <a:pt x="23904" y="36943"/>
                  </a:lnTo>
                  <a:lnTo>
                    <a:pt x="23904" y="26388"/>
                  </a:lnTo>
                  <a:lnTo>
                    <a:pt x="43773" y="24215"/>
                  </a:lnTo>
                  <a:lnTo>
                    <a:pt x="60537" y="24215"/>
                  </a:lnTo>
                  <a:lnTo>
                    <a:pt x="80095" y="26388"/>
                  </a:lnTo>
                  <a:lnTo>
                    <a:pt x="85373" y="21110"/>
                  </a:lnTo>
                  <a:lnTo>
                    <a:pt x="90650" y="14591"/>
                  </a:lnTo>
                  <a:lnTo>
                    <a:pt x="96859" y="9313"/>
                  </a:lnTo>
                  <a:lnTo>
                    <a:pt x="96859" y="7140"/>
                  </a:lnTo>
                  <a:lnTo>
                    <a:pt x="97790" y="7140"/>
                  </a:lnTo>
                  <a:lnTo>
                    <a:pt x="99963" y="6209"/>
                  </a:lnTo>
                  <a:lnTo>
                    <a:pt x="96859" y="6209"/>
                  </a:lnTo>
                  <a:lnTo>
                    <a:pt x="96859" y="4036"/>
                  </a:lnTo>
                  <a:lnTo>
                    <a:pt x="94686" y="4036"/>
                  </a:lnTo>
                  <a:lnTo>
                    <a:pt x="94686" y="1863"/>
                  </a:lnTo>
                  <a:lnTo>
                    <a:pt x="94686" y="0"/>
                  </a:lnTo>
                  <a:lnTo>
                    <a:pt x="92823" y="0"/>
                  </a:lnTo>
                  <a:lnTo>
                    <a:pt x="90650" y="0"/>
                  </a:lnTo>
                  <a:lnTo>
                    <a:pt x="80095" y="6209"/>
                  </a:lnTo>
                  <a:lnTo>
                    <a:pt x="68608" y="9313"/>
                  </a:lnTo>
                  <a:lnTo>
                    <a:pt x="60537" y="11486"/>
                  </a:lnTo>
                  <a:lnTo>
                    <a:pt x="49050" y="11486"/>
                  </a:lnTo>
                  <a:lnTo>
                    <a:pt x="31355" y="6209"/>
                  </a:lnTo>
                  <a:lnTo>
                    <a:pt x="27009" y="11486"/>
                  </a:lnTo>
                  <a:lnTo>
                    <a:pt x="19868" y="22042"/>
                  </a:lnTo>
                  <a:lnTo>
                    <a:pt x="12418" y="35701"/>
                  </a:lnTo>
                  <a:lnTo>
                    <a:pt x="5277" y="50603"/>
                  </a:lnTo>
                  <a:lnTo>
                    <a:pt x="0" y="61158"/>
                  </a:lnTo>
                  <a:lnTo>
                    <a:pt x="0" y="70782"/>
                  </a:lnTo>
                  <a:lnTo>
                    <a:pt x="4036" y="80405"/>
                  </a:lnTo>
                  <a:lnTo>
                    <a:pt x="7140" y="86614"/>
                  </a:lnTo>
                  <a:lnTo>
                    <a:pt x="9313" y="94065"/>
                  </a:lnTo>
                  <a:lnTo>
                    <a:pt x="7140" y="107725"/>
                  </a:lnTo>
                  <a:lnTo>
                    <a:pt x="9313" y="107725"/>
                  </a:lnTo>
                  <a:lnTo>
                    <a:pt x="9313" y="108966"/>
                  </a:lnTo>
                  <a:lnTo>
                    <a:pt x="11486" y="108966"/>
                  </a:lnTo>
                  <a:lnTo>
                    <a:pt x="11486" y="110829"/>
                  </a:lnTo>
                  <a:lnTo>
                    <a:pt x="27009" y="110829"/>
                  </a:lnTo>
                  <a:lnTo>
                    <a:pt x="27009" y="70782"/>
                  </a:lnTo>
                  <a:lnTo>
                    <a:pt x="36322" y="83510"/>
                  </a:lnTo>
                  <a:lnTo>
                    <a:pt x="45946" y="96238"/>
                  </a:lnTo>
                  <a:lnTo>
                    <a:pt x="56191" y="107725"/>
                  </a:lnTo>
                  <a:lnTo>
                    <a:pt x="58364" y="107725"/>
                  </a:lnTo>
                  <a:lnTo>
                    <a:pt x="58364" y="108966"/>
                  </a:lnTo>
                  <a:lnTo>
                    <a:pt x="60537" y="108966"/>
                  </a:lnTo>
                  <a:lnTo>
                    <a:pt x="63641" y="110829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B2BD67C8-EFC0-45A9-A9E0-CD596D30D3D0}"/>
                </a:ext>
              </a:extLst>
            </p:cNvPr>
            <p:cNvSpPr/>
            <p:nvPr/>
          </p:nvSpPr>
          <p:spPr>
            <a:xfrm>
              <a:off x="7352229" y="5852372"/>
              <a:ext cx="21731" cy="34149"/>
            </a:xfrm>
            <a:custGeom>
              <a:avLst/>
              <a:gdLst>
                <a:gd name="connsiteX0" fmla="*/ 18937 w 21731"/>
                <a:gd name="connsiteY0" fmla="*/ 18937 h 34149"/>
                <a:gd name="connsiteX1" fmla="*/ 11487 w 21731"/>
                <a:gd name="connsiteY1" fmla="*/ 7451 h 34149"/>
                <a:gd name="connsiteX2" fmla="*/ 0 w 21731"/>
                <a:gd name="connsiteY2" fmla="*/ 0 h 34149"/>
                <a:gd name="connsiteX3" fmla="*/ 2173 w 21731"/>
                <a:gd name="connsiteY3" fmla="*/ 13660 h 34149"/>
                <a:gd name="connsiteX4" fmla="*/ 4346 w 21731"/>
                <a:gd name="connsiteY4" fmla="*/ 22352 h 34149"/>
                <a:gd name="connsiteX5" fmla="*/ 7451 w 21731"/>
                <a:gd name="connsiteY5" fmla="*/ 31666 h 34149"/>
                <a:gd name="connsiteX6" fmla="*/ 20800 w 21731"/>
                <a:gd name="connsiteY6" fmla="*/ 36943 h 34149"/>
                <a:gd name="connsiteX7" fmla="*/ 20800 w 21731"/>
                <a:gd name="connsiteY7" fmla="*/ 31666 h 34149"/>
                <a:gd name="connsiteX8" fmla="*/ 24215 w 21731"/>
                <a:gd name="connsiteY8" fmla="*/ 31666 h 3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731" h="34149">
                  <a:moveTo>
                    <a:pt x="18937" y="18937"/>
                  </a:moveTo>
                  <a:lnTo>
                    <a:pt x="11487" y="7451"/>
                  </a:lnTo>
                  <a:lnTo>
                    <a:pt x="0" y="0"/>
                  </a:lnTo>
                  <a:lnTo>
                    <a:pt x="2173" y="13660"/>
                  </a:lnTo>
                  <a:lnTo>
                    <a:pt x="4346" y="22352"/>
                  </a:lnTo>
                  <a:lnTo>
                    <a:pt x="7451" y="31666"/>
                  </a:lnTo>
                  <a:lnTo>
                    <a:pt x="20800" y="36943"/>
                  </a:lnTo>
                  <a:lnTo>
                    <a:pt x="20800" y="31666"/>
                  </a:lnTo>
                  <a:lnTo>
                    <a:pt x="24215" y="31666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31C65042-1EAA-475B-8187-CE0B8511B4E5}"/>
                </a:ext>
              </a:extLst>
            </p:cNvPr>
            <p:cNvSpPr/>
            <p:nvPr/>
          </p:nvSpPr>
          <p:spPr>
            <a:xfrm>
              <a:off x="6269084" y="5666105"/>
              <a:ext cx="24836" cy="55880"/>
            </a:xfrm>
            <a:custGeom>
              <a:avLst/>
              <a:gdLst>
                <a:gd name="connsiteX0" fmla="*/ 23904 w 24835"/>
                <a:gd name="connsiteY0" fmla="*/ 41289 h 55880"/>
                <a:gd name="connsiteX1" fmla="*/ 23904 w 24835"/>
                <a:gd name="connsiteY1" fmla="*/ 39116 h 55880"/>
                <a:gd name="connsiteX2" fmla="*/ 23904 w 24835"/>
                <a:gd name="connsiteY2" fmla="*/ 20179 h 55880"/>
                <a:gd name="connsiteX3" fmla="*/ 17695 w 24835"/>
                <a:gd name="connsiteY3" fmla="*/ 7451 h 55880"/>
                <a:gd name="connsiteX4" fmla="*/ 7140 w 24835"/>
                <a:gd name="connsiteY4" fmla="*/ 0 h 55880"/>
                <a:gd name="connsiteX5" fmla="*/ 4967 w 24835"/>
                <a:gd name="connsiteY5" fmla="*/ 5278 h 55880"/>
                <a:gd name="connsiteX6" fmla="*/ 4036 w 24835"/>
                <a:gd name="connsiteY6" fmla="*/ 9624 h 55880"/>
                <a:gd name="connsiteX7" fmla="*/ 1863 w 24835"/>
                <a:gd name="connsiteY7" fmla="*/ 11797 h 55880"/>
                <a:gd name="connsiteX8" fmla="*/ 0 w 24835"/>
                <a:gd name="connsiteY8" fmla="*/ 14901 h 55880"/>
                <a:gd name="connsiteX9" fmla="*/ 0 w 24835"/>
                <a:gd name="connsiteY9" fmla="*/ 36943 h 55880"/>
                <a:gd name="connsiteX10" fmla="*/ 7140 w 24835"/>
                <a:gd name="connsiteY10" fmla="*/ 51844 h 55880"/>
                <a:gd name="connsiteX11" fmla="*/ 9313 w 24835"/>
                <a:gd name="connsiteY11" fmla="*/ 54018 h 55880"/>
                <a:gd name="connsiteX12" fmla="*/ 10244 w 24835"/>
                <a:gd name="connsiteY12" fmla="*/ 54018 h 55880"/>
                <a:gd name="connsiteX13" fmla="*/ 12418 w 24835"/>
                <a:gd name="connsiteY13" fmla="*/ 56191 h 55880"/>
                <a:gd name="connsiteX14" fmla="*/ 14591 w 24835"/>
                <a:gd name="connsiteY14" fmla="*/ 56191 h 55880"/>
                <a:gd name="connsiteX15" fmla="*/ 17695 w 24835"/>
                <a:gd name="connsiteY15" fmla="*/ 54018 h 55880"/>
                <a:gd name="connsiteX16" fmla="*/ 19558 w 24835"/>
                <a:gd name="connsiteY16" fmla="*/ 49671 h 55880"/>
                <a:gd name="connsiteX17" fmla="*/ 23904 w 24835"/>
                <a:gd name="connsiteY17" fmla="*/ 48740 h 55880"/>
                <a:gd name="connsiteX18" fmla="*/ 27009 w 24835"/>
                <a:gd name="connsiteY18" fmla="*/ 48740 h 55880"/>
                <a:gd name="connsiteX19" fmla="*/ 27009 w 24835"/>
                <a:gd name="connsiteY19" fmla="*/ 44394 h 55880"/>
                <a:gd name="connsiteX20" fmla="*/ 27009 w 24835"/>
                <a:gd name="connsiteY20" fmla="*/ 42221 h 55880"/>
                <a:gd name="connsiteX21" fmla="*/ 24836 w 24835"/>
                <a:gd name="connsiteY21" fmla="*/ 41289 h 55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4835" h="55880">
                  <a:moveTo>
                    <a:pt x="23904" y="41289"/>
                  </a:moveTo>
                  <a:lnTo>
                    <a:pt x="23904" y="39116"/>
                  </a:lnTo>
                  <a:lnTo>
                    <a:pt x="23904" y="20179"/>
                  </a:lnTo>
                  <a:lnTo>
                    <a:pt x="17695" y="7451"/>
                  </a:lnTo>
                  <a:lnTo>
                    <a:pt x="7140" y="0"/>
                  </a:lnTo>
                  <a:lnTo>
                    <a:pt x="4967" y="5278"/>
                  </a:lnTo>
                  <a:lnTo>
                    <a:pt x="4036" y="9624"/>
                  </a:lnTo>
                  <a:lnTo>
                    <a:pt x="1863" y="11797"/>
                  </a:lnTo>
                  <a:lnTo>
                    <a:pt x="0" y="14901"/>
                  </a:lnTo>
                  <a:lnTo>
                    <a:pt x="0" y="36943"/>
                  </a:lnTo>
                  <a:lnTo>
                    <a:pt x="7140" y="51844"/>
                  </a:lnTo>
                  <a:lnTo>
                    <a:pt x="9313" y="54018"/>
                  </a:lnTo>
                  <a:lnTo>
                    <a:pt x="10244" y="54018"/>
                  </a:lnTo>
                  <a:lnTo>
                    <a:pt x="12418" y="56191"/>
                  </a:lnTo>
                  <a:lnTo>
                    <a:pt x="14591" y="56191"/>
                  </a:lnTo>
                  <a:lnTo>
                    <a:pt x="17695" y="54018"/>
                  </a:lnTo>
                  <a:lnTo>
                    <a:pt x="19558" y="49671"/>
                  </a:lnTo>
                  <a:lnTo>
                    <a:pt x="23904" y="48740"/>
                  </a:lnTo>
                  <a:lnTo>
                    <a:pt x="27009" y="48740"/>
                  </a:lnTo>
                  <a:lnTo>
                    <a:pt x="27009" y="44394"/>
                  </a:lnTo>
                  <a:lnTo>
                    <a:pt x="27009" y="42221"/>
                  </a:lnTo>
                  <a:lnTo>
                    <a:pt x="24836" y="41289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4532871A-6788-4F3C-9F0D-249B2562D050}"/>
                </a:ext>
              </a:extLst>
            </p:cNvPr>
            <p:cNvSpPr/>
            <p:nvPr/>
          </p:nvSpPr>
          <p:spPr>
            <a:xfrm>
              <a:off x="6752448" y="5941160"/>
              <a:ext cx="599160" cy="468773"/>
            </a:xfrm>
            <a:custGeom>
              <a:avLst/>
              <a:gdLst>
                <a:gd name="connsiteX0" fmla="*/ 587363 w 599160"/>
                <a:gd name="connsiteY0" fmla="*/ 227557 h 468773"/>
                <a:gd name="connsiteX1" fmla="*/ 578050 w 599160"/>
                <a:gd name="connsiteY1" fmla="*/ 214828 h 468773"/>
                <a:gd name="connsiteX2" fmla="*/ 567495 w 599160"/>
                <a:gd name="connsiteY2" fmla="*/ 202100 h 468773"/>
                <a:gd name="connsiteX3" fmla="*/ 560355 w 599160"/>
                <a:gd name="connsiteY3" fmla="*/ 183163 h 468773"/>
                <a:gd name="connsiteX4" fmla="*/ 540486 w 599160"/>
                <a:gd name="connsiteY4" fmla="*/ 183163 h 468773"/>
                <a:gd name="connsiteX5" fmla="*/ 536450 w 599160"/>
                <a:gd name="connsiteY5" fmla="*/ 165157 h 468773"/>
                <a:gd name="connsiteX6" fmla="*/ 526826 w 599160"/>
                <a:gd name="connsiteY6" fmla="*/ 151498 h 468773"/>
                <a:gd name="connsiteX7" fmla="*/ 523722 w 599160"/>
                <a:gd name="connsiteY7" fmla="*/ 146220 h 468773"/>
                <a:gd name="connsiteX8" fmla="*/ 520617 w 599160"/>
                <a:gd name="connsiteY8" fmla="*/ 143115 h 468773"/>
                <a:gd name="connsiteX9" fmla="*/ 514408 w 599160"/>
                <a:gd name="connsiteY9" fmla="*/ 140942 h 468773"/>
                <a:gd name="connsiteX10" fmla="*/ 509131 w 599160"/>
                <a:gd name="connsiteY10" fmla="*/ 138769 h 468773"/>
                <a:gd name="connsiteX11" fmla="*/ 499818 w 599160"/>
                <a:gd name="connsiteY11" fmla="*/ 138769 h 468773"/>
                <a:gd name="connsiteX12" fmla="*/ 496713 w 599160"/>
                <a:gd name="connsiteY12" fmla="*/ 129145 h 468773"/>
                <a:gd name="connsiteX13" fmla="*/ 492677 w 599160"/>
                <a:gd name="connsiteY13" fmla="*/ 116417 h 468773"/>
                <a:gd name="connsiteX14" fmla="*/ 487400 w 599160"/>
                <a:gd name="connsiteY14" fmla="*/ 98411 h 468773"/>
                <a:gd name="connsiteX15" fmla="*/ 484295 w 599160"/>
                <a:gd name="connsiteY15" fmla="*/ 83820 h 468773"/>
                <a:gd name="connsiteX16" fmla="*/ 479949 w 599160"/>
                <a:gd name="connsiteY16" fmla="*/ 71092 h 468773"/>
                <a:gd name="connsiteX17" fmla="*/ 479949 w 599160"/>
                <a:gd name="connsiteY17" fmla="*/ 64573 h 468773"/>
                <a:gd name="connsiteX18" fmla="*/ 476845 w 599160"/>
                <a:gd name="connsiteY18" fmla="*/ 63641 h 468773"/>
                <a:gd name="connsiteX19" fmla="*/ 472809 w 599160"/>
                <a:gd name="connsiteY19" fmla="*/ 63641 h 468773"/>
                <a:gd name="connsiteX20" fmla="*/ 467531 w 599160"/>
                <a:gd name="connsiteY20" fmla="*/ 61468 h 468773"/>
                <a:gd name="connsiteX21" fmla="*/ 463496 w 599160"/>
                <a:gd name="connsiteY21" fmla="*/ 61468 h 468773"/>
                <a:gd name="connsiteX22" fmla="*/ 458218 w 599160"/>
                <a:gd name="connsiteY22" fmla="*/ 59295 h 468773"/>
                <a:gd name="connsiteX23" fmla="*/ 456045 w 599160"/>
                <a:gd name="connsiteY23" fmla="*/ 57122 h 468773"/>
                <a:gd name="connsiteX24" fmla="*/ 452940 w 599160"/>
                <a:gd name="connsiteY24" fmla="*/ 49982 h 468773"/>
                <a:gd name="connsiteX25" fmla="*/ 448905 w 599160"/>
                <a:gd name="connsiteY25" fmla="*/ 37253 h 468773"/>
                <a:gd name="connsiteX26" fmla="*/ 443627 w 599160"/>
                <a:gd name="connsiteY26" fmla="*/ 22352 h 468773"/>
                <a:gd name="connsiteX27" fmla="*/ 441454 w 599160"/>
                <a:gd name="connsiteY27" fmla="*/ 9624 h 468773"/>
                <a:gd name="connsiteX28" fmla="*/ 440523 w 599160"/>
                <a:gd name="connsiteY28" fmla="*/ 0 h 468773"/>
                <a:gd name="connsiteX29" fmla="*/ 436487 w 599160"/>
                <a:gd name="connsiteY29" fmla="*/ 0 h 468773"/>
                <a:gd name="connsiteX30" fmla="*/ 431209 w 599160"/>
                <a:gd name="connsiteY30" fmla="*/ 19247 h 468773"/>
                <a:gd name="connsiteX31" fmla="*/ 426863 w 599160"/>
                <a:gd name="connsiteY31" fmla="*/ 42531 h 468773"/>
                <a:gd name="connsiteX32" fmla="*/ 425931 w 599160"/>
                <a:gd name="connsiteY32" fmla="*/ 66746 h 468773"/>
                <a:gd name="connsiteX33" fmla="*/ 420654 w 599160"/>
                <a:gd name="connsiteY33" fmla="*/ 91271 h 468773"/>
                <a:gd name="connsiteX34" fmla="*/ 411341 w 599160"/>
                <a:gd name="connsiteY34" fmla="*/ 105862 h 468773"/>
                <a:gd name="connsiteX35" fmla="*/ 398923 w 599160"/>
                <a:gd name="connsiteY35" fmla="*/ 105862 h 468773"/>
                <a:gd name="connsiteX36" fmla="*/ 382159 w 599160"/>
                <a:gd name="connsiteY36" fmla="*/ 100584 h 468773"/>
                <a:gd name="connsiteX37" fmla="*/ 365395 w 599160"/>
                <a:gd name="connsiteY37" fmla="*/ 91271 h 468773"/>
                <a:gd name="connsiteX38" fmla="*/ 348941 w 599160"/>
                <a:gd name="connsiteY38" fmla="*/ 81647 h 468773"/>
                <a:gd name="connsiteX39" fmla="*/ 336213 w 599160"/>
                <a:gd name="connsiteY39" fmla="*/ 74196 h 468773"/>
                <a:gd name="connsiteX40" fmla="*/ 343663 w 599160"/>
                <a:gd name="connsiteY40" fmla="*/ 49982 h 468773"/>
                <a:gd name="connsiteX41" fmla="*/ 356081 w 599160"/>
                <a:gd name="connsiteY41" fmla="*/ 33838 h 468773"/>
                <a:gd name="connsiteX42" fmla="*/ 356081 w 599160"/>
                <a:gd name="connsiteY42" fmla="*/ 24525 h 468773"/>
                <a:gd name="connsiteX43" fmla="*/ 338386 w 599160"/>
                <a:gd name="connsiteY43" fmla="*/ 26698 h 468773"/>
                <a:gd name="connsiteX44" fmla="*/ 321622 w 599160"/>
                <a:gd name="connsiteY44" fmla="*/ 26698 h 468773"/>
                <a:gd name="connsiteX45" fmla="*/ 306099 w 599160"/>
                <a:gd name="connsiteY45" fmla="*/ 24525 h 468773"/>
                <a:gd name="connsiteX46" fmla="*/ 291509 w 599160"/>
                <a:gd name="connsiteY46" fmla="*/ 17075 h 468773"/>
                <a:gd name="connsiteX47" fmla="*/ 276917 w 599160"/>
                <a:gd name="connsiteY47" fmla="*/ 17075 h 468773"/>
                <a:gd name="connsiteX48" fmla="*/ 277849 w 599160"/>
                <a:gd name="connsiteY48" fmla="*/ 19247 h 468773"/>
                <a:gd name="connsiteX49" fmla="*/ 280022 w 599160"/>
                <a:gd name="connsiteY49" fmla="*/ 20179 h 468773"/>
                <a:gd name="connsiteX50" fmla="*/ 280022 w 599160"/>
                <a:gd name="connsiteY50" fmla="*/ 22352 h 468773"/>
                <a:gd name="connsiteX51" fmla="*/ 284368 w 599160"/>
                <a:gd name="connsiteY51" fmla="*/ 24525 h 468773"/>
                <a:gd name="connsiteX52" fmla="*/ 274745 w 599160"/>
                <a:gd name="connsiteY52" fmla="*/ 33838 h 468773"/>
                <a:gd name="connsiteX53" fmla="*/ 265431 w 599160"/>
                <a:gd name="connsiteY53" fmla="*/ 37253 h 468773"/>
                <a:gd name="connsiteX54" fmla="*/ 256118 w 599160"/>
                <a:gd name="connsiteY54" fmla="*/ 42531 h 468773"/>
                <a:gd name="connsiteX55" fmla="*/ 248977 w 599160"/>
                <a:gd name="connsiteY55" fmla="*/ 48740 h 468773"/>
                <a:gd name="connsiteX56" fmla="*/ 243700 w 599160"/>
                <a:gd name="connsiteY56" fmla="*/ 57122 h 468773"/>
                <a:gd name="connsiteX57" fmla="*/ 240595 w 599160"/>
                <a:gd name="connsiteY57" fmla="*/ 74196 h 468773"/>
                <a:gd name="connsiteX58" fmla="*/ 234387 w 599160"/>
                <a:gd name="connsiteY58" fmla="*/ 72023 h 468773"/>
                <a:gd name="connsiteX59" fmla="*/ 230972 w 599160"/>
                <a:gd name="connsiteY59" fmla="*/ 71092 h 468773"/>
                <a:gd name="connsiteX60" fmla="*/ 226005 w 599160"/>
                <a:gd name="connsiteY60" fmla="*/ 71092 h 468773"/>
                <a:gd name="connsiteX61" fmla="*/ 220727 w 599160"/>
                <a:gd name="connsiteY61" fmla="*/ 68919 h 468773"/>
                <a:gd name="connsiteX62" fmla="*/ 218554 w 599160"/>
                <a:gd name="connsiteY62" fmla="*/ 63641 h 468773"/>
                <a:gd name="connsiteX63" fmla="*/ 218554 w 599160"/>
                <a:gd name="connsiteY63" fmla="*/ 59295 h 468773"/>
                <a:gd name="connsiteX64" fmla="*/ 218554 w 599160"/>
                <a:gd name="connsiteY64" fmla="*/ 56191 h 468773"/>
                <a:gd name="connsiteX65" fmla="*/ 216381 w 599160"/>
                <a:gd name="connsiteY65" fmla="*/ 54017 h 468773"/>
                <a:gd name="connsiteX66" fmla="*/ 209241 w 599160"/>
                <a:gd name="connsiteY66" fmla="*/ 49982 h 468773"/>
                <a:gd name="connsiteX67" fmla="*/ 198685 w 599160"/>
                <a:gd name="connsiteY67" fmla="*/ 56191 h 468773"/>
                <a:gd name="connsiteX68" fmla="*/ 187509 w 599160"/>
                <a:gd name="connsiteY68" fmla="*/ 63641 h 468773"/>
                <a:gd name="connsiteX69" fmla="*/ 176954 w 599160"/>
                <a:gd name="connsiteY69" fmla="*/ 72023 h 468773"/>
                <a:gd name="connsiteX70" fmla="*/ 167641 w 599160"/>
                <a:gd name="connsiteY70" fmla="*/ 81647 h 468773"/>
                <a:gd name="connsiteX71" fmla="*/ 160190 w 599160"/>
                <a:gd name="connsiteY71" fmla="*/ 85683 h 468773"/>
                <a:gd name="connsiteX72" fmla="*/ 160190 w 599160"/>
                <a:gd name="connsiteY72" fmla="*/ 98411 h 468773"/>
                <a:gd name="connsiteX73" fmla="*/ 145599 w 599160"/>
                <a:gd name="connsiteY73" fmla="*/ 103689 h 468773"/>
                <a:gd name="connsiteX74" fmla="*/ 134112 w 599160"/>
                <a:gd name="connsiteY74" fmla="*/ 114554 h 468773"/>
                <a:gd name="connsiteX75" fmla="*/ 126041 w 599160"/>
                <a:gd name="connsiteY75" fmla="*/ 129145 h 468773"/>
                <a:gd name="connsiteX76" fmla="*/ 120763 w 599160"/>
                <a:gd name="connsiteY76" fmla="*/ 143115 h 468773"/>
                <a:gd name="connsiteX77" fmla="*/ 106172 w 599160"/>
                <a:gd name="connsiteY77" fmla="*/ 146220 h 468773"/>
                <a:gd name="connsiteX78" fmla="*/ 89409 w 599160"/>
                <a:gd name="connsiteY78" fmla="*/ 150256 h 468773"/>
                <a:gd name="connsiteX79" fmla="*/ 70782 w 599160"/>
                <a:gd name="connsiteY79" fmla="*/ 153671 h 468773"/>
                <a:gd name="connsiteX80" fmla="*/ 56191 w 599160"/>
                <a:gd name="connsiteY80" fmla="*/ 155533 h 468773"/>
                <a:gd name="connsiteX81" fmla="*/ 47809 w 599160"/>
                <a:gd name="connsiteY81" fmla="*/ 155533 h 468773"/>
                <a:gd name="connsiteX82" fmla="*/ 34149 w 599160"/>
                <a:gd name="connsiteY82" fmla="*/ 161121 h 468773"/>
                <a:gd name="connsiteX83" fmla="*/ 23904 w 599160"/>
                <a:gd name="connsiteY83" fmla="*/ 170435 h 468773"/>
                <a:gd name="connsiteX84" fmla="*/ 16454 w 599160"/>
                <a:gd name="connsiteY84" fmla="*/ 180990 h 468773"/>
                <a:gd name="connsiteX85" fmla="*/ 9313 w 599160"/>
                <a:gd name="connsiteY85" fmla="*/ 192787 h 468773"/>
                <a:gd name="connsiteX86" fmla="*/ 0 w 599160"/>
                <a:gd name="connsiteY86" fmla="*/ 203342 h 468773"/>
                <a:gd name="connsiteX87" fmla="*/ 4036 w 599160"/>
                <a:gd name="connsiteY87" fmla="*/ 216070 h 468773"/>
                <a:gd name="connsiteX88" fmla="*/ 7140 w 599160"/>
                <a:gd name="connsiteY88" fmla="*/ 227557 h 468773"/>
                <a:gd name="connsiteX89" fmla="*/ 16454 w 599160"/>
                <a:gd name="connsiteY89" fmla="*/ 237180 h 468773"/>
                <a:gd name="connsiteX90" fmla="*/ 14591 w 599160"/>
                <a:gd name="connsiteY90" fmla="*/ 240285 h 468773"/>
                <a:gd name="connsiteX91" fmla="*/ 13349 w 599160"/>
                <a:gd name="connsiteY91" fmla="*/ 242458 h 468773"/>
                <a:gd name="connsiteX92" fmla="*/ 11176 w 599160"/>
                <a:gd name="connsiteY92" fmla="*/ 244631 h 468773"/>
                <a:gd name="connsiteX93" fmla="*/ 9313 w 599160"/>
                <a:gd name="connsiteY93" fmla="*/ 242458 h 468773"/>
                <a:gd name="connsiteX94" fmla="*/ 7140 w 599160"/>
                <a:gd name="connsiteY94" fmla="*/ 242458 h 468773"/>
                <a:gd name="connsiteX95" fmla="*/ 4036 w 599160"/>
                <a:gd name="connsiteY95" fmla="*/ 240285 h 468773"/>
                <a:gd name="connsiteX96" fmla="*/ 0 w 599160"/>
                <a:gd name="connsiteY96" fmla="*/ 240285 h 468773"/>
                <a:gd name="connsiteX97" fmla="*/ 4036 w 599160"/>
                <a:gd name="connsiteY97" fmla="*/ 253013 h 468773"/>
                <a:gd name="connsiteX98" fmla="*/ 9313 w 599160"/>
                <a:gd name="connsiteY98" fmla="*/ 270088 h 468773"/>
                <a:gd name="connsiteX99" fmla="*/ 18627 w 599160"/>
                <a:gd name="connsiteY99" fmla="*/ 289025 h 468773"/>
                <a:gd name="connsiteX100" fmla="*/ 25767 w 599160"/>
                <a:gd name="connsiteY100" fmla="*/ 309204 h 468773"/>
                <a:gd name="connsiteX101" fmla="*/ 33218 w 599160"/>
                <a:gd name="connsiteY101" fmla="*/ 327210 h 468773"/>
                <a:gd name="connsiteX102" fmla="*/ 34149 w 599160"/>
                <a:gd name="connsiteY102" fmla="*/ 346147 h 468773"/>
                <a:gd name="connsiteX103" fmla="*/ 33218 w 599160"/>
                <a:gd name="connsiteY103" fmla="*/ 361980 h 468773"/>
                <a:gd name="connsiteX104" fmla="*/ 23904 w 599160"/>
                <a:gd name="connsiteY104" fmla="*/ 375639 h 468773"/>
                <a:gd name="connsiteX105" fmla="*/ 27009 w 599160"/>
                <a:gd name="connsiteY105" fmla="*/ 381227 h 468773"/>
                <a:gd name="connsiteX106" fmla="*/ 33218 w 599160"/>
                <a:gd name="connsiteY106" fmla="*/ 386505 h 468773"/>
                <a:gd name="connsiteX107" fmla="*/ 36322 w 599160"/>
                <a:gd name="connsiteY107" fmla="*/ 391782 h 468773"/>
                <a:gd name="connsiteX108" fmla="*/ 40358 w 599160"/>
                <a:gd name="connsiteY108" fmla="*/ 398923 h 468773"/>
                <a:gd name="connsiteX109" fmla="*/ 54949 w 599160"/>
                <a:gd name="connsiteY109" fmla="*/ 398923 h 468773"/>
                <a:gd name="connsiteX110" fmla="*/ 67677 w 599160"/>
                <a:gd name="connsiteY110" fmla="*/ 397991 h 468773"/>
                <a:gd name="connsiteX111" fmla="*/ 77922 w 599160"/>
                <a:gd name="connsiteY111" fmla="*/ 391782 h 468773"/>
                <a:gd name="connsiteX112" fmla="*/ 91582 w 599160"/>
                <a:gd name="connsiteY112" fmla="*/ 386505 h 468773"/>
                <a:gd name="connsiteX113" fmla="*/ 103999 w 599160"/>
                <a:gd name="connsiteY113" fmla="*/ 383090 h 468773"/>
                <a:gd name="connsiteX114" fmla="*/ 121695 w 599160"/>
                <a:gd name="connsiteY114" fmla="*/ 381227 h 468773"/>
                <a:gd name="connsiteX115" fmla="*/ 138459 w 599160"/>
                <a:gd name="connsiteY115" fmla="*/ 383090 h 468773"/>
                <a:gd name="connsiteX116" fmla="*/ 156154 w 599160"/>
                <a:gd name="connsiteY116" fmla="*/ 383090 h 468773"/>
                <a:gd name="connsiteX117" fmla="*/ 163294 w 599160"/>
                <a:gd name="connsiteY117" fmla="*/ 358875 h 468773"/>
                <a:gd name="connsiteX118" fmla="*/ 176954 w 599160"/>
                <a:gd name="connsiteY118" fmla="*/ 354529 h 468773"/>
                <a:gd name="connsiteX119" fmla="*/ 194649 w 599160"/>
                <a:gd name="connsiteY119" fmla="*/ 351425 h 468773"/>
                <a:gd name="connsiteX120" fmla="*/ 214518 w 599160"/>
                <a:gd name="connsiteY120" fmla="*/ 347078 h 468773"/>
                <a:gd name="connsiteX121" fmla="*/ 234387 w 599160"/>
                <a:gd name="connsiteY121" fmla="*/ 346147 h 468773"/>
                <a:gd name="connsiteX122" fmla="*/ 255186 w 599160"/>
                <a:gd name="connsiteY122" fmla="*/ 343974 h 468773"/>
                <a:gd name="connsiteX123" fmla="*/ 269777 w 599160"/>
                <a:gd name="connsiteY123" fmla="*/ 346147 h 468773"/>
                <a:gd name="connsiteX124" fmla="*/ 280022 w 599160"/>
                <a:gd name="connsiteY124" fmla="*/ 349252 h 468773"/>
                <a:gd name="connsiteX125" fmla="*/ 296786 w 599160"/>
                <a:gd name="connsiteY125" fmla="*/ 351425 h 468773"/>
                <a:gd name="connsiteX126" fmla="*/ 309204 w 599160"/>
                <a:gd name="connsiteY126" fmla="*/ 358875 h 468773"/>
                <a:gd name="connsiteX127" fmla="*/ 318517 w 599160"/>
                <a:gd name="connsiteY127" fmla="*/ 368499 h 468773"/>
                <a:gd name="connsiteX128" fmla="*/ 325968 w 599160"/>
                <a:gd name="connsiteY128" fmla="*/ 379054 h 468773"/>
                <a:gd name="connsiteX129" fmla="*/ 331245 w 599160"/>
                <a:gd name="connsiteY129" fmla="*/ 390541 h 468773"/>
                <a:gd name="connsiteX130" fmla="*/ 345837 w 599160"/>
                <a:gd name="connsiteY130" fmla="*/ 384332 h 468773"/>
                <a:gd name="connsiteX131" fmla="*/ 355150 w 599160"/>
                <a:gd name="connsiteY131" fmla="*/ 379054 h 468773"/>
                <a:gd name="connsiteX132" fmla="*/ 363532 w 599160"/>
                <a:gd name="connsiteY132" fmla="*/ 369431 h 468773"/>
                <a:gd name="connsiteX133" fmla="*/ 363532 w 599160"/>
                <a:gd name="connsiteY133" fmla="*/ 375639 h 468773"/>
                <a:gd name="connsiteX134" fmla="*/ 367568 w 599160"/>
                <a:gd name="connsiteY134" fmla="*/ 375639 h 468773"/>
                <a:gd name="connsiteX135" fmla="*/ 363532 w 599160"/>
                <a:gd name="connsiteY135" fmla="*/ 381227 h 468773"/>
                <a:gd name="connsiteX136" fmla="*/ 358254 w 599160"/>
                <a:gd name="connsiteY136" fmla="*/ 386505 h 468773"/>
                <a:gd name="connsiteX137" fmla="*/ 350804 w 599160"/>
                <a:gd name="connsiteY137" fmla="*/ 390541 h 468773"/>
                <a:gd name="connsiteX138" fmla="*/ 350804 w 599160"/>
                <a:gd name="connsiteY138" fmla="*/ 393645 h 468773"/>
                <a:gd name="connsiteX139" fmla="*/ 356081 w 599160"/>
                <a:gd name="connsiteY139" fmla="*/ 393645 h 468773"/>
                <a:gd name="connsiteX140" fmla="*/ 356081 w 599160"/>
                <a:gd name="connsiteY140" fmla="*/ 398923 h 468773"/>
                <a:gd name="connsiteX141" fmla="*/ 358254 w 599160"/>
                <a:gd name="connsiteY141" fmla="*/ 398923 h 468773"/>
                <a:gd name="connsiteX142" fmla="*/ 360427 w 599160"/>
                <a:gd name="connsiteY142" fmla="*/ 398923 h 468773"/>
                <a:gd name="connsiteX143" fmla="*/ 362290 w 599160"/>
                <a:gd name="connsiteY143" fmla="*/ 397991 h 468773"/>
                <a:gd name="connsiteX144" fmla="*/ 362290 w 599160"/>
                <a:gd name="connsiteY144" fmla="*/ 395818 h 468773"/>
                <a:gd name="connsiteX145" fmla="*/ 363532 w 599160"/>
                <a:gd name="connsiteY145" fmla="*/ 393645 h 468773"/>
                <a:gd name="connsiteX146" fmla="*/ 369741 w 599160"/>
                <a:gd name="connsiteY146" fmla="*/ 395818 h 468773"/>
                <a:gd name="connsiteX147" fmla="*/ 370672 w 599160"/>
                <a:gd name="connsiteY147" fmla="*/ 397991 h 468773"/>
                <a:gd name="connsiteX148" fmla="*/ 372845 w 599160"/>
                <a:gd name="connsiteY148" fmla="*/ 398923 h 468773"/>
                <a:gd name="connsiteX149" fmla="*/ 372845 w 599160"/>
                <a:gd name="connsiteY149" fmla="*/ 401096 h 468773"/>
                <a:gd name="connsiteX150" fmla="*/ 372845 w 599160"/>
                <a:gd name="connsiteY150" fmla="*/ 403269 h 468773"/>
                <a:gd name="connsiteX151" fmla="*/ 370672 w 599160"/>
                <a:gd name="connsiteY151" fmla="*/ 405442 h 468773"/>
                <a:gd name="connsiteX152" fmla="*/ 370672 w 599160"/>
                <a:gd name="connsiteY152" fmla="*/ 406373 h 468773"/>
                <a:gd name="connsiteX153" fmla="*/ 372845 w 599160"/>
                <a:gd name="connsiteY153" fmla="*/ 408547 h 468773"/>
                <a:gd name="connsiteX154" fmla="*/ 376881 w 599160"/>
                <a:gd name="connsiteY154" fmla="*/ 410720 h 468773"/>
                <a:gd name="connsiteX155" fmla="*/ 379986 w 599160"/>
                <a:gd name="connsiteY155" fmla="*/ 413824 h 468773"/>
                <a:gd name="connsiteX156" fmla="*/ 385263 w 599160"/>
                <a:gd name="connsiteY156" fmla="*/ 415997 h 468773"/>
                <a:gd name="connsiteX157" fmla="*/ 391472 w 599160"/>
                <a:gd name="connsiteY157" fmla="*/ 418170 h 468773"/>
                <a:gd name="connsiteX158" fmla="*/ 396750 w 599160"/>
                <a:gd name="connsiteY158" fmla="*/ 419102 h 468773"/>
                <a:gd name="connsiteX159" fmla="*/ 403890 w 599160"/>
                <a:gd name="connsiteY159" fmla="*/ 456355 h 468773"/>
                <a:gd name="connsiteX160" fmla="*/ 420654 w 599160"/>
                <a:gd name="connsiteY160" fmla="*/ 458218 h 468773"/>
                <a:gd name="connsiteX161" fmla="*/ 434314 w 599160"/>
                <a:gd name="connsiteY161" fmla="*/ 460391 h 468773"/>
                <a:gd name="connsiteX162" fmla="*/ 447663 w 599160"/>
                <a:gd name="connsiteY162" fmla="*/ 462564 h 468773"/>
                <a:gd name="connsiteX163" fmla="*/ 458218 w 599160"/>
                <a:gd name="connsiteY163" fmla="*/ 458218 h 468773"/>
                <a:gd name="connsiteX164" fmla="*/ 467531 w 599160"/>
                <a:gd name="connsiteY164" fmla="*/ 451078 h 468773"/>
                <a:gd name="connsiteX165" fmla="*/ 479949 w 599160"/>
                <a:gd name="connsiteY165" fmla="*/ 462564 h 468773"/>
                <a:gd name="connsiteX166" fmla="*/ 491436 w 599160"/>
                <a:gd name="connsiteY166" fmla="*/ 470946 h 468773"/>
                <a:gd name="connsiteX167" fmla="*/ 499818 w 599160"/>
                <a:gd name="connsiteY167" fmla="*/ 467842 h 468773"/>
                <a:gd name="connsiteX168" fmla="*/ 513477 w 599160"/>
                <a:gd name="connsiteY168" fmla="*/ 462564 h 468773"/>
                <a:gd name="connsiteX169" fmla="*/ 525895 w 599160"/>
                <a:gd name="connsiteY169" fmla="*/ 456355 h 468773"/>
                <a:gd name="connsiteX170" fmla="*/ 536450 w 599160"/>
                <a:gd name="connsiteY170" fmla="*/ 451078 h 468773"/>
                <a:gd name="connsiteX171" fmla="*/ 545764 w 599160"/>
                <a:gd name="connsiteY171" fmla="*/ 441454 h 468773"/>
                <a:gd name="connsiteX172" fmla="*/ 551041 w 599160"/>
                <a:gd name="connsiteY172" fmla="*/ 428726 h 468773"/>
                <a:gd name="connsiteX173" fmla="*/ 555077 w 599160"/>
                <a:gd name="connsiteY173" fmla="*/ 412893 h 468773"/>
                <a:gd name="connsiteX174" fmla="*/ 560355 w 599160"/>
                <a:gd name="connsiteY174" fmla="*/ 397991 h 468773"/>
                <a:gd name="connsiteX175" fmla="*/ 563459 w 599160"/>
                <a:gd name="connsiteY175" fmla="*/ 383090 h 468773"/>
                <a:gd name="connsiteX176" fmla="*/ 574945 w 599160"/>
                <a:gd name="connsiteY176" fmla="*/ 358875 h 468773"/>
                <a:gd name="connsiteX177" fmla="*/ 584259 w 599160"/>
                <a:gd name="connsiteY177" fmla="*/ 336523 h 468773"/>
                <a:gd name="connsiteX178" fmla="*/ 592641 w 599160"/>
                <a:gd name="connsiteY178" fmla="*/ 316655 h 468773"/>
                <a:gd name="connsiteX179" fmla="*/ 598850 w 599160"/>
                <a:gd name="connsiteY179" fmla="*/ 294303 h 468773"/>
                <a:gd name="connsiteX180" fmla="*/ 599781 w 599160"/>
                <a:gd name="connsiteY180" fmla="*/ 271950 h 468773"/>
                <a:gd name="connsiteX181" fmla="*/ 596677 w 599160"/>
                <a:gd name="connsiteY181" fmla="*/ 244631 h 468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</a:cxnLst>
              <a:rect l="l" t="t" r="r" b="b"/>
              <a:pathLst>
                <a:path w="599160" h="468773">
                  <a:moveTo>
                    <a:pt x="587363" y="227557"/>
                  </a:moveTo>
                  <a:lnTo>
                    <a:pt x="578050" y="214828"/>
                  </a:lnTo>
                  <a:lnTo>
                    <a:pt x="567495" y="202100"/>
                  </a:lnTo>
                  <a:lnTo>
                    <a:pt x="560355" y="183163"/>
                  </a:lnTo>
                  <a:lnTo>
                    <a:pt x="540486" y="183163"/>
                  </a:lnTo>
                  <a:lnTo>
                    <a:pt x="536450" y="165157"/>
                  </a:lnTo>
                  <a:lnTo>
                    <a:pt x="526826" y="151498"/>
                  </a:lnTo>
                  <a:lnTo>
                    <a:pt x="523722" y="146220"/>
                  </a:lnTo>
                  <a:lnTo>
                    <a:pt x="520617" y="143115"/>
                  </a:lnTo>
                  <a:lnTo>
                    <a:pt x="514408" y="140942"/>
                  </a:lnTo>
                  <a:lnTo>
                    <a:pt x="509131" y="138769"/>
                  </a:lnTo>
                  <a:lnTo>
                    <a:pt x="499818" y="138769"/>
                  </a:lnTo>
                  <a:lnTo>
                    <a:pt x="496713" y="129145"/>
                  </a:lnTo>
                  <a:lnTo>
                    <a:pt x="492677" y="116417"/>
                  </a:lnTo>
                  <a:lnTo>
                    <a:pt x="487400" y="98411"/>
                  </a:lnTo>
                  <a:lnTo>
                    <a:pt x="484295" y="83820"/>
                  </a:lnTo>
                  <a:lnTo>
                    <a:pt x="479949" y="71092"/>
                  </a:lnTo>
                  <a:lnTo>
                    <a:pt x="479949" y="64573"/>
                  </a:lnTo>
                  <a:lnTo>
                    <a:pt x="476845" y="63641"/>
                  </a:lnTo>
                  <a:lnTo>
                    <a:pt x="472809" y="63641"/>
                  </a:lnTo>
                  <a:lnTo>
                    <a:pt x="467531" y="61468"/>
                  </a:lnTo>
                  <a:lnTo>
                    <a:pt x="463496" y="61468"/>
                  </a:lnTo>
                  <a:lnTo>
                    <a:pt x="458218" y="59295"/>
                  </a:lnTo>
                  <a:lnTo>
                    <a:pt x="456045" y="57122"/>
                  </a:lnTo>
                  <a:lnTo>
                    <a:pt x="452940" y="49982"/>
                  </a:lnTo>
                  <a:lnTo>
                    <a:pt x="448905" y="37253"/>
                  </a:lnTo>
                  <a:lnTo>
                    <a:pt x="443627" y="22352"/>
                  </a:lnTo>
                  <a:lnTo>
                    <a:pt x="441454" y="9624"/>
                  </a:lnTo>
                  <a:lnTo>
                    <a:pt x="440523" y="0"/>
                  </a:lnTo>
                  <a:lnTo>
                    <a:pt x="436487" y="0"/>
                  </a:lnTo>
                  <a:lnTo>
                    <a:pt x="431209" y="19247"/>
                  </a:lnTo>
                  <a:lnTo>
                    <a:pt x="426863" y="42531"/>
                  </a:lnTo>
                  <a:lnTo>
                    <a:pt x="425931" y="66746"/>
                  </a:lnTo>
                  <a:lnTo>
                    <a:pt x="420654" y="91271"/>
                  </a:lnTo>
                  <a:lnTo>
                    <a:pt x="411341" y="105862"/>
                  </a:lnTo>
                  <a:lnTo>
                    <a:pt x="398923" y="105862"/>
                  </a:lnTo>
                  <a:lnTo>
                    <a:pt x="382159" y="100584"/>
                  </a:lnTo>
                  <a:lnTo>
                    <a:pt x="365395" y="91271"/>
                  </a:lnTo>
                  <a:lnTo>
                    <a:pt x="348941" y="81647"/>
                  </a:lnTo>
                  <a:lnTo>
                    <a:pt x="336213" y="74196"/>
                  </a:lnTo>
                  <a:lnTo>
                    <a:pt x="343663" y="49982"/>
                  </a:lnTo>
                  <a:lnTo>
                    <a:pt x="356081" y="33838"/>
                  </a:lnTo>
                  <a:lnTo>
                    <a:pt x="356081" y="24525"/>
                  </a:lnTo>
                  <a:lnTo>
                    <a:pt x="338386" y="26698"/>
                  </a:lnTo>
                  <a:lnTo>
                    <a:pt x="321622" y="26698"/>
                  </a:lnTo>
                  <a:lnTo>
                    <a:pt x="306099" y="24525"/>
                  </a:lnTo>
                  <a:lnTo>
                    <a:pt x="291509" y="17075"/>
                  </a:lnTo>
                  <a:lnTo>
                    <a:pt x="276917" y="17075"/>
                  </a:lnTo>
                  <a:lnTo>
                    <a:pt x="277849" y="19247"/>
                  </a:lnTo>
                  <a:lnTo>
                    <a:pt x="280022" y="20179"/>
                  </a:lnTo>
                  <a:lnTo>
                    <a:pt x="280022" y="22352"/>
                  </a:lnTo>
                  <a:lnTo>
                    <a:pt x="284368" y="24525"/>
                  </a:lnTo>
                  <a:lnTo>
                    <a:pt x="274745" y="33838"/>
                  </a:lnTo>
                  <a:lnTo>
                    <a:pt x="265431" y="37253"/>
                  </a:lnTo>
                  <a:lnTo>
                    <a:pt x="256118" y="42531"/>
                  </a:lnTo>
                  <a:lnTo>
                    <a:pt x="248977" y="48740"/>
                  </a:lnTo>
                  <a:lnTo>
                    <a:pt x="243700" y="57122"/>
                  </a:lnTo>
                  <a:lnTo>
                    <a:pt x="240595" y="74196"/>
                  </a:lnTo>
                  <a:lnTo>
                    <a:pt x="234387" y="72023"/>
                  </a:lnTo>
                  <a:lnTo>
                    <a:pt x="230972" y="71092"/>
                  </a:lnTo>
                  <a:lnTo>
                    <a:pt x="226005" y="71092"/>
                  </a:lnTo>
                  <a:lnTo>
                    <a:pt x="220727" y="68919"/>
                  </a:lnTo>
                  <a:lnTo>
                    <a:pt x="218554" y="63641"/>
                  </a:lnTo>
                  <a:lnTo>
                    <a:pt x="218554" y="59295"/>
                  </a:lnTo>
                  <a:lnTo>
                    <a:pt x="218554" y="56191"/>
                  </a:lnTo>
                  <a:lnTo>
                    <a:pt x="216381" y="54017"/>
                  </a:lnTo>
                  <a:lnTo>
                    <a:pt x="209241" y="49982"/>
                  </a:lnTo>
                  <a:lnTo>
                    <a:pt x="198685" y="56191"/>
                  </a:lnTo>
                  <a:lnTo>
                    <a:pt x="187509" y="63641"/>
                  </a:lnTo>
                  <a:lnTo>
                    <a:pt x="176954" y="72023"/>
                  </a:lnTo>
                  <a:lnTo>
                    <a:pt x="167641" y="81647"/>
                  </a:lnTo>
                  <a:lnTo>
                    <a:pt x="160190" y="85683"/>
                  </a:lnTo>
                  <a:lnTo>
                    <a:pt x="160190" y="98411"/>
                  </a:lnTo>
                  <a:lnTo>
                    <a:pt x="145599" y="103689"/>
                  </a:lnTo>
                  <a:lnTo>
                    <a:pt x="134112" y="114554"/>
                  </a:lnTo>
                  <a:lnTo>
                    <a:pt x="126041" y="129145"/>
                  </a:lnTo>
                  <a:lnTo>
                    <a:pt x="120763" y="143115"/>
                  </a:lnTo>
                  <a:lnTo>
                    <a:pt x="106172" y="146220"/>
                  </a:lnTo>
                  <a:lnTo>
                    <a:pt x="89409" y="150256"/>
                  </a:lnTo>
                  <a:lnTo>
                    <a:pt x="70782" y="153671"/>
                  </a:lnTo>
                  <a:lnTo>
                    <a:pt x="56191" y="155533"/>
                  </a:lnTo>
                  <a:lnTo>
                    <a:pt x="47809" y="155533"/>
                  </a:lnTo>
                  <a:lnTo>
                    <a:pt x="34149" y="161121"/>
                  </a:lnTo>
                  <a:lnTo>
                    <a:pt x="23904" y="170435"/>
                  </a:lnTo>
                  <a:lnTo>
                    <a:pt x="16454" y="180990"/>
                  </a:lnTo>
                  <a:lnTo>
                    <a:pt x="9313" y="192787"/>
                  </a:lnTo>
                  <a:lnTo>
                    <a:pt x="0" y="203342"/>
                  </a:lnTo>
                  <a:lnTo>
                    <a:pt x="4036" y="216070"/>
                  </a:lnTo>
                  <a:lnTo>
                    <a:pt x="7140" y="227557"/>
                  </a:lnTo>
                  <a:lnTo>
                    <a:pt x="16454" y="237180"/>
                  </a:lnTo>
                  <a:lnTo>
                    <a:pt x="14591" y="240285"/>
                  </a:lnTo>
                  <a:lnTo>
                    <a:pt x="13349" y="242458"/>
                  </a:lnTo>
                  <a:lnTo>
                    <a:pt x="11176" y="244631"/>
                  </a:lnTo>
                  <a:lnTo>
                    <a:pt x="9313" y="242458"/>
                  </a:lnTo>
                  <a:lnTo>
                    <a:pt x="7140" y="242458"/>
                  </a:lnTo>
                  <a:lnTo>
                    <a:pt x="4036" y="240285"/>
                  </a:lnTo>
                  <a:lnTo>
                    <a:pt x="0" y="240285"/>
                  </a:lnTo>
                  <a:lnTo>
                    <a:pt x="4036" y="253013"/>
                  </a:lnTo>
                  <a:lnTo>
                    <a:pt x="9313" y="270088"/>
                  </a:lnTo>
                  <a:lnTo>
                    <a:pt x="18627" y="289025"/>
                  </a:lnTo>
                  <a:lnTo>
                    <a:pt x="25767" y="309204"/>
                  </a:lnTo>
                  <a:lnTo>
                    <a:pt x="33218" y="327210"/>
                  </a:lnTo>
                  <a:lnTo>
                    <a:pt x="34149" y="346147"/>
                  </a:lnTo>
                  <a:lnTo>
                    <a:pt x="33218" y="361980"/>
                  </a:lnTo>
                  <a:lnTo>
                    <a:pt x="23904" y="375639"/>
                  </a:lnTo>
                  <a:lnTo>
                    <a:pt x="27009" y="381227"/>
                  </a:lnTo>
                  <a:lnTo>
                    <a:pt x="33218" y="386505"/>
                  </a:lnTo>
                  <a:lnTo>
                    <a:pt x="36322" y="391782"/>
                  </a:lnTo>
                  <a:lnTo>
                    <a:pt x="40358" y="398923"/>
                  </a:lnTo>
                  <a:lnTo>
                    <a:pt x="54949" y="398923"/>
                  </a:lnTo>
                  <a:lnTo>
                    <a:pt x="67677" y="397991"/>
                  </a:lnTo>
                  <a:lnTo>
                    <a:pt x="77922" y="391782"/>
                  </a:lnTo>
                  <a:lnTo>
                    <a:pt x="91582" y="386505"/>
                  </a:lnTo>
                  <a:lnTo>
                    <a:pt x="103999" y="383090"/>
                  </a:lnTo>
                  <a:lnTo>
                    <a:pt x="121695" y="381227"/>
                  </a:lnTo>
                  <a:lnTo>
                    <a:pt x="138459" y="383090"/>
                  </a:lnTo>
                  <a:lnTo>
                    <a:pt x="156154" y="383090"/>
                  </a:lnTo>
                  <a:lnTo>
                    <a:pt x="163294" y="358875"/>
                  </a:lnTo>
                  <a:lnTo>
                    <a:pt x="176954" y="354529"/>
                  </a:lnTo>
                  <a:lnTo>
                    <a:pt x="194649" y="351425"/>
                  </a:lnTo>
                  <a:lnTo>
                    <a:pt x="214518" y="347078"/>
                  </a:lnTo>
                  <a:lnTo>
                    <a:pt x="234387" y="346147"/>
                  </a:lnTo>
                  <a:lnTo>
                    <a:pt x="255186" y="343974"/>
                  </a:lnTo>
                  <a:lnTo>
                    <a:pt x="269777" y="346147"/>
                  </a:lnTo>
                  <a:lnTo>
                    <a:pt x="280022" y="349252"/>
                  </a:lnTo>
                  <a:lnTo>
                    <a:pt x="296786" y="351425"/>
                  </a:lnTo>
                  <a:lnTo>
                    <a:pt x="309204" y="358875"/>
                  </a:lnTo>
                  <a:lnTo>
                    <a:pt x="318517" y="368499"/>
                  </a:lnTo>
                  <a:lnTo>
                    <a:pt x="325968" y="379054"/>
                  </a:lnTo>
                  <a:lnTo>
                    <a:pt x="331245" y="390541"/>
                  </a:lnTo>
                  <a:lnTo>
                    <a:pt x="345837" y="384332"/>
                  </a:lnTo>
                  <a:lnTo>
                    <a:pt x="355150" y="379054"/>
                  </a:lnTo>
                  <a:lnTo>
                    <a:pt x="363532" y="369431"/>
                  </a:lnTo>
                  <a:lnTo>
                    <a:pt x="363532" y="375639"/>
                  </a:lnTo>
                  <a:lnTo>
                    <a:pt x="367568" y="375639"/>
                  </a:lnTo>
                  <a:lnTo>
                    <a:pt x="363532" y="381227"/>
                  </a:lnTo>
                  <a:lnTo>
                    <a:pt x="358254" y="386505"/>
                  </a:lnTo>
                  <a:lnTo>
                    <a:pt x="350804" y="390541"/>
                  </a:lnTo>
                  <a:lnTo>
                    <a:pt x="350804" y="393645"/>
                  </a:lnTo>
                  <a:lnTo>
                    <a:pt x="356081" y="393645"/>
                  </a:lnTo>
                  <a:lnTo>
                    <a:pt x="356081" y="398923"/>
                  </a:lnTo>
                  <a:lnTo>
                    <a:pt x="358254" y="398923"/>
                  </a:lnTo>
                  <a:lnTo>
                    <a:pt x="360427" y="398923"/>
                  </a:lnTo>
                  <a:lnTo>
                    <a:pt x="362290" y="397991"/>
                  </a:lnTo>
                  <a:lnTo>
                    <a:pt x="362290" y="395818"/>
                  </a:lnTo>
                  <a:lnTo>
                    <a:pt x="363532" y="393645"/>
                  </a:lnTo>
                  <a:lnTo>
                    <a:pt x="369741" y="395818"/>
                  </a:lnTo>
                  <a:lnTo>
                    <a:pt x="370672" y="397991"/>
                  </a:lnTo>
                  <a:lnTo>
                    <a:pt x="372845" y="398923"/>
                  </a:lnTo>
                  <a:lnTo>
                    <a:pt x="372845" y="401096"/>
                  </a:lnTo>
                  <a:lnTo>
                    <a:pt x="372845" y="403269"/>
                  </a:lnTo>
                  <a:lnTo>
                    <a:pt x="370672" y="405442"/>
                  </a:lnTo>
                  <a:lnTo>
                    <a:pt x="370672" y="406373"/>
                  </a:lnTo>
                  <a:lnTo>
                    <a:pt x="372845" y="408547"/>
                  </a:lnTo>
                  <a:lnTo>
                    <a:pt x="376881" y="410720"/>
                  </a:lnTo>
                  <a:lnTo>
                    <a:pt x="379986" y="413824"/>
                  </a:lnTo>
                  <a:lnTo>
                    <a:pt x="385263" y="415997"/>
                  </a:lnTo>
                  <a:lnTo>
                    <a:pt x="391472" y="418170"/>
                  </a:lnTo>
                  <a:lnTo>
                    <a:pt x="396750" y="419102"/>
                  </a:lnTo>
                  <a:lnTo>
                    <a:pt x="403890" y="456355"/>
                  </a:lnTo>
                  <a:lnTo>
                    <a:pt x="420654" y="458218"/>
                  </a:lnTo>
                  <a:lnTo>
                    <a:pt x="434314" y="460391"/>
                  </a:lnTo>
                  <a:lnTo>
                    <a:pt x="447663" y="462564"/>
                  </a:lnTo>
                  <a:lnTo>
                    <a:pt x="458218" y="458218"/>
                  </a:lnTo>
                  <a:lnTo>
                    <a:pt x="467531" y="451078"/>
                  </a:lnTo>
                  <a:lnTo>
                    <a:pt x="479949" y="462564"/>
                  </a:lnTo>
                  <a:lnTo>
                    <a:pt x="491436" y="470946"/>
                  </a:lnTo>
                  <a:lnTo>
                    <a:pt x="499818" y="467842"/>
                  </a:lnTo>
                  <a:lnTo>
                    <a:pt x="513477" y="462564"/>
                  </a:lnTo>
                  <a:lnTo>
                    <a:pt x="525895" y="456355"/>
                  </a:lnTo>
                  <a:lnTo>
                    <a:pt x="536450" y="451078"/>
                  </a:lnTo>
                  <a:lnTo>
                    <a:pt x="545764" y="441454"/>
                  </a:lnTo>
                  <a:lnTo>
                    <a:pt x="551041" y="428726"/>
                  </a:lnTo>
                  <a:lnTo>
                    <a:pt x="555077" y="412893"/>
                  </a:lnTo>
                  <a:lnTo>
                    <a:pt x="560355" y="397991"/>
                  </a:lnTo>
                  <a:lnTo>
                    <a:pt x="563459" y="383090"/>
                  </a:lnTo>
                  <a:lnTo>
                    <a:pt x="574945" y="358875"/>
                  </a:lnTo>
                  <a:lnTo>
                    <a:pt x="584259" y="336523"/>
                  </a:lnTo>
                  <a:lnTo>
                    <a:pt x="592641" y="316655"/>
                  </a:lnTo>
                  <a:lnTo>
                    <a:pt x="598850" y="294303"/>
                  </a:lnTo>
                  <a:lnTo>
                    <a:pt x="599781" y="271950"/>
                  </a:lnTo>
                  <a:lnTo>
                    <a:pt x="596677" y="244631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FD4604E7-C129-4A0E-8F4A-C45D871ACF71}"/>
                </a:ext>
              </a:extLst>
            </p:cNvPr>
            <p:cNvSpPr/>
            <p:nvPr/>
          </p:nvSpPr>
          <p:spPr>
            <a:xfrm>
              <a:off x="7376444" y="5893661"/>
              <a:ext cx="15522" cy="9313"/>
            </a:xfrm>
            <a:custGeom>
              <a:avLst/>
              <a:gdLst>
                <a:gd name="connsiteX0" fmla="*/ 9313 w 15522"/>
                <a:gd name="connsiteY0" fmla="*/ 5278 h 9313"/>
                <a:gd name="connsiteX1" fmla="*/ 9313 w 15522"/>
                <a:gd name="connsiteY1" fmla="*/ 3104 h 9313"/>
                <a:gd name="connsiteX2" fmla="*/ 7140 w 15522"/>
                <a:gd name="connsiteY2" fmla="*/ 2173 h 9313"/>
                <a:gd name="connsiteX3" fmla="*/ 4967 w 15522"/>
                <a:gd name="connsiteY3" fmla="*/ 2173 h 9313"/>
                <a:gd name="connsiteX4" fmla="*/ 3104 w 15522"/>
                <a:gd name="connsiteY4" fmla="*/ 0 h 9313"/>
                <a:gd name="connsiteX5" fmla="*/ 0 w 15522"/>
                <a:gd name="connsiteY5" fmla="*/ 0 h 9313"/>
                <a:gd name="connsiteX6" fmla="*/ 3104 w 15522"/>
                <a:gd name="connsiteY6" fmla="*/ 3104 h 9313"/>
                <a:gd name="connsiteX7" fmla="*/ 4967 w 15522"/>
                <a:gd name="connsiteY7" fmla="*/ 5278 h 9313"/>
                <a:gd name="connsiteX8" fmla="*/ 7140 w 15522"/>
                <a:gd name="connsiteY8" fmla="*/ 7451 h 9313"/>
                <a:gd name="connsiteX9" fmla="*/ 10245 w 15522"/>
                <a:gd name="connsiteY9" fmla="*/ 9624 h 9313"/>
                <a:gd name="connsiteX10" fmla="*/ 16454 w 15522"/>
                <a:gd name="connsiteY10" fmla="*/ 10555 h 9313"/>
                <a:gd name="connsiteX11" fmla="*/ 16454 w 15522"/>
                <a:gd name="connsiteY11" fmla="*/ 7451 h 9313"/>
                <a:gd name="connsiteX12" fmla="*/ 12418 w 15522"/>
                <a:gd name="connsiteY12" fmla="*/ 7451 h 9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522" h="9313">
                  <a:moveTo>
                    <a:pt x="9313" y="5278"/>
                  </a:moveTo>
                  <a:lnTo>
                    <a:pt x="9313" y="3104"/>
                  </a:lnTo>
                  <a:lnTo>
                    <a:pt x="7140" y="2173"/>
                  </a:lnTo>
                  <a:lnTo>
                    <a:pt x="4967" y="2173"/>
                  </a:lnTo>
                  <a:lnTo>
                    <a:pt x="3104" y="0"/>
                  </a:lnTo>
                  <a:lnTo>
                    <a:pt x="0" y="0"/>
                  </a:lnTo>
                  <a:lnTo>
                    <a:pt x="3104" y="3104"/>
                  </a:lnTo>
                  <a:lnTo>
                    <a:pt x="4967" y="5278"/>
                  </a:lnTo>
                  <a:lnTo>
                    <a:pt x="7140" y="7451"/>
                  </a:lnTo>
                  <a:lnTo>
                    <a:pt x="10245" y="9624"/>
                  </a:lnTo>
                  <a:lnTo>
                    <a:pt x="16454" y="10555"/>
                  </a:lnTo>
                  <a:lnTo>
                    <a:pt x="16454" y="7451"/>
                  </a:lnTo>
                  <a:lnTo>
                    <a:pt x="12418" y="7451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F3C04DD6-A7F8-4990-BAA2-FDD78FB3172E}"/>
                </a:ext>
              </a:extLst>
            </p:cNvPr>
            <p:cNvSpPr/>
            <p:nvPr/>
          </p:nvSpPr>
          <p:spPr>
            <a:xfrm>
              <a:off x="2900127" y="5457796"/>
              <a:ext cx="55880" cy="37253"/>
            </a:xfrm>
            <a:custGeom>
              <a:avLst/>
              <a:gdLst>
                <a:gd name="connsiteX0" fmla="*/ 29182 w 55880"/>
                <a:gd name="connsiteY0" fmla="*/ 5278 h 37253"/>
                <a:gd name="connsiteX1" fmla="*/ 12418 w 55880"/>
                <a:gd name="connsiteY1" fmla="*/ 0 h 37253"/>
                <a:gd name="connsiteX2" fmla="*/ 10245 w 55880"/>
                <a:gd name="connsiteY2" fmla="*/ 1863 h 37253"/>
                <a:gd name="connsiteX3" fmla="*/ 8072 w 55880"/>
                <a:gd name="connsiteY3" fmla="*/ 1863 h 37253"/>
                <a:gd name="connsiteX4" fmla="*/ 8072 w 55880"/>
                <a:gd name="connsiteY4" fmla="*/ 3104 h 37253"/>
                <a:gd name="connsiteX5" fmla="*/ 7140 w 55880"/>
                <a:gd name="connsiteY5" fmla="*/ 3104 h 37253"/>
                <a:gd name="connsiteX6" fmla="*/ 3104 w 55880"/>
                <a:gd name="connsiteY6" fmla="*/ 5278 h 37253"/>
                <a:gd name="connsiteX7" fmla="*/ 3104 w 55880"/>
                <a:gd name="connsiteY7" fmla="*/ 18006 h 37253"/>
                <a:gd name="connsiteX8" fmla="*/ 3104 w 55880"/>
                <a:gd name="connsiteY8" fmla="*/ 27319 h 37253"/>
                <a:gd name="connsiteX9" fmla="*/ 0 w 55880"/>
                <a:gd name="connsiteY9" fmla="*/ 36943 h 37253"/>
                <a:gd name="connsiteX10" fmla="*/ 3104 w 55880"/>
                <a:gd name="connsiteY10" fmla="*/ 36943 h 37253"/>
                <a:gd name="connsiteX11" fmla="*/ 3104 w 55880"/>
                <a:gd name="connsiteY11" fmla="*/ 40047 h 37253"/>
                <a:gd name="connsiteX12" fmla="*/ 15522 w 55880"/>
                <a:gd name="connsiteY12" fmla="*/ 36943 h 37253"/>
                <a:gd name="connsiteX13" fmla="*/ 27009 w 55880"/>
                <a:gd name="connsiteY13" fmla="*/ 34770 h 37253"/>
                <a:gd name="connsiteX14" fmla="*/ 39427 w 55880"/>
                <a:gd name="connsiteY14" fmla="*/ 32597 h 37253"/>
                <a:gd name="connsiteX15" fmla="*/ 51844 w 55880"/>
                <a:gd name="connsiteY15" fmla="*/ 24215 h 37253"/>
                <a:gd name="connsiteX16" fmla="*/ 56191 w 55880"/>
                <a:gd name="connsiteY16" fmla="*/ 24215 h 37253"/>
                <a:gd name="connsiteX17" fmla="*/ 56191 w 55880"/>
                <a:gd name="connsiteY17" fmla="*/ 19868 h 37253"/>
                <a:gd name="connsiteX18" fmla="*/ 41600 w 55880"/>
                <a:gd name="connsiteY18" fmla="*/ 12418 h 37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5880" h="37253">
                  <a:moveTo>
                    <a:pt x="29182" y="5278"/>
                  </a:moveTo>
                  <a:lnTo>
                    <a:pt x="12418" y="0"/>
                  </a:lnTo>
                  <a:lnTo>
                    <a:pt x="10245" y="1863"/>
                  </a:lnTo>
                  <a:lnTo>
                    <a:pt x="8072" y="1863"/>
                  </a:lnTo>
                  <a:lnTo>
                    <a:pt x="8072" y="3104"/>
                  </a:lnTo>
                  <a:lnTo>
                    <a:pt x="7140" y="3104"/>
                  </a:lnTo>
                  <a:lnTo>
                    <a:pt x="3104" y="5278"/>
                  </a:lnTo>
                  <a:lnTo>
                    <a:pt x="3104" y="18006"/>
                  </a:lnTo>
                  <a:lnTo>
                    <a:pt x="3104" y="27319"/>
                  </a:lnTo>
                  <a:lnTo>
                    <a:pt x="0" y="36943"/>
                  </a:lnTo>
                  <a:lnTo>
                    <a:pt x="3104" y="36943"/>
                  </a:lnTo>
                  <a:lnTo>
                    <a:pt x="3104" y="40047"/>
                  </a:lnTo>
                  <a:lnTo>
                    <a:pt x="15522" y="36943"/>
                  </a:lnTo>
                  <a:lnTo>
                    <a:pt x="27009" y="34770"/>
                  </a:lnTo>
                  <a:lnTo>
                    <a:pt x="39427" y="32597"/>
                  </a:lnTo>
                  <a:lnTo>
                    <a:pt x="51844" y="24215"/>
                  </a:lnTo>
                  <a:lnTo>
                    <a:pt x="56191" y="24215"/>
                  </a:lnTo>
                  <a:lnTo>
                    <a:pt x="56191" y="19868"/>
                  </a:lnTo>
                  <a:lnTo>
                    <a:pt x="41600" y="12418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D2FF064C-16A1-4D8F-AEDE-E7371C9351F2}"/>
                </a:ext>
              </a:extLst>
            </p:cNvPr>
            <p:cNvSpPr/>
            <p:nvPr/>
          </p:nvSpPr>
          <p:spPr>
            <a:xfrm>
              <a:off x="6488880" y="5710498"/>
              <a:ext cx="301132" cy="207999"/>
            </a:xfrm>
            <a:custGeom>
              <a:avLst/>
              <a:gdLst>
                <a:gd name="connsiteX0" fmla="*/ 284368 w 301132"/>
                <a:gd name="connsiteY0" fmla="*/ 210793 h 207998"/>
                <a:gd name="connsiteX1" fmla="*/ 294613 w 301132"/>
                <a:gd name="connsiteY1" fmla="*/ 207378 h 207998"/>
                <a:gd name="connsiteX2" fmla="*/ 297718 w 301132"/>
                <a:gd name="connsiteY2" fmla="*/ 205515 h 207998"/>
                <a:gd name="connsiteX3" fmla="*/ 299891 w 301132"/>
                <a:gd name="connsiteY3" fmla="*/ 205515 h 207998"/>
                <a:gd name="connsiteX4" fmla="*/ 302064 w 301132"/>
                <a:gd name="connsiteY4" fmla="*/ 203342 h 207998"/>
                <a:gd name="connsiteX5" fmla="*/ 303926 w 301132"/>
                <a:gd name="connsiteY5" fmla="*/ 203342 h 207998"/>
                <a:gd name="connsiteX6" fmla="*/ 287473 w 301132"/>
                <a:gd name="connsiteY6" fmla="*/ 195891 h 207998"/>
                <a:gd name="connsiteX7" fmla="*/ 269777 w 301132"/>
                <a:gd name="connsiteY7" fmla="*/ 186267 h 207998"/>
                <a:gd name="connsiteX8" fmla="*/ 250840 w 301132"/>
                <a:gd name="connsiteY8" fmla="*/ 178817 h 207998"/>
                <a:gd name="connsiteX9" fmla="*/ 234387 w 301132"/>
                <a:gd name="connsiteY9" fmla="*/ 173539 h 207998"/>
                <a:gd name="connsiteX10" fmla="*/ 226936 w 301132"/>
                <a:gd name="connsiteY10" fmla="*/ 175712 h 207998"/>
                <a:gd name="connsiteX11" fmla="*/ 219796 w 301132"/>
                <a:gd name="connsiteY11" fmla="*/ 178817 h 207998"/>
                <a:gd name="connsiteX12" fmla="*/ 211413 w 301132"/>
                <a:gd name="connsiteY12" fmla="*/ 183163 h 207998"/>
                <a:gd name="connsiteX13" fmla="*/ 199927 w 301132"/>
                <a:gd name="connsiteY13" fmla="*/ 183163 h 207998"/>
                <a:gd name="connsiteX14" fmla="*/ 190614 w 301132"/>
                <a:gd name="connsiteY14" fmla="*/ 177886 h 207998"/>
                <a:gd name="connsiteX15" fmla="*/ 184094 w 301132"/>
                <a:gd name="connsiteY15" fmla="*/ 171366 h 207998"/>
                <a:gd name="connsiteX16" fmla="*/ 174781 w 301132"/>
                <a:gd name="connsiteY16" fmla="*/ 168262 h 207998"/>
                <a:gd name="connsiteX17" fmla="*/ 160190 w 301132"/>
                <a:gd name="connsiteY17" fmla="*/ 166089 h 207998"/>
                <a:gd name="connsiteX18" fmla="*/ 160190 w 301132"/>
                <a:gd name="connsiteY18" fmla="*/ 144047 h 207998"/>
                <a:gd name="connsiteX19" fmla="*/ 163294 w 301132"/>
                <a:gd name="connsiteY19" fmla="*/ 126041 h 207998"/>
                <a:gd name="connsiteX20" fmla="*/ 145599 w 301132"/>
                <a:gd name="connsiteY20" fmla="*/ 111140 h 207998"/>
                <a:gd name="connsiteX21" fmla="*/ 133181 w 301132"/>
                <a:gd name="connsiteY21" fmla="*/ 92202 h 207998"/>
                <a:gd name="connsiteX22" fmla="*/ 121695 w 301132"/>
                <a:gd name="connsiteY22" fmla="*/ 76370 h 207998"/>
                <a:gd name="connsiteX23" fmla="*/ 109277 w 301132"/>
                <a:gd name="connsiteY23" fmla="*/ 61468 h 207998"/>
                <a:gd name="connsiteX24" fmla="*/ 101826 w 301132"/>
                <a:gd name="connsiteY24" fmla="*/ 54018 h 207998"/>
                <a:gd name="connsiteX25" fmla="*/ 99964 w 301132"/>
                <a:gd name="connsiteY25" fmla="*/ 54018 h 207998"/>
                <a:gd name="connsiteX26" fmla="*/ 99964 w 301132"/>
                <a:gd name="connsiteY26" fmla="*/ 51844 h 207998"/>
                <a:gd name="connsiteX27" fmla="*/ 94686 w 301132"/>
                <a:gd name="connsiteY27" fmla="*/ 47809 h 207998"/>
                <a:gd name="connsiteX28" fmla="*/ 76991 w 301132"/>
                <a:gd name="connsiteY28" fmla="*/ 39116 h 207998"/>
                <a:gd name="connsiteX29" fmla="*/ 62400 w 301132"/>
                <a:gd name="connsiteY29" fmla="*/ 29803 h 207998"/>
                <a:gd name="connsiteX30" fmla="*/ 47809 w 301132"/>
                <a:gd name="connsiteY30" fmla="*/ 20179 h 207998"/>
                <a:gd name="connsiteX31" fmla="*/ 34149 w 301132"/>
                <a:gd name="connsiteY31" fmla="*/ 4346 h 207998"/>
                <a:gd name="connsiteX32" fmla="*/ 0 w 301132"/>
                <a:gd name="connsiteY32" fmla="*/ 0 h 207998"/>
                <a:gd name="connsiteX33" fmla="*/ 4967 w 301132"/>
                <a:gd name="connsiteY33" fmla="*/ 17075 h 207998"/>
                <a:gd name="connsiteX34" fmla="*/ 16454 w 301132"/>
                <a:gd name="connsiteY34" fmla="*/ 27630 h 207998"/>
                <a:gd name="connsiteX35" fmla="*/ 29182 w 301132"/>
                <a:gd name="connsiteY35" fmla="*/ 39116 h 207998"/>
                <a:gd name="connsiteX36" fmla="*/ 40358 w 301132"/>
                <a:gd name="connsiteY36" fmla="*/ 47809 h 207998"/>
                <a:gd name="connsiteX37" fmla="*/ 50913 w 301132"/>
                <a:gd name="connsiteY37" fmla="*/ 61468 h 207998"/>
                <a:gd name="connsiteX38" fmla="*/ 62400 w 301132"/>
                <a:gd name="connsiteY38" fmla="*/ 77301 h 207998"/>
                <a:gd name="connsiteX39" fmla="*/ 72644 w 301132"/>
                <a:gd name="connsiteY39" fmla="*/ 98411 h 207998"/>
                <a:gd name="connsiteX40" fmla="*/ 85373 w 301132"/>
                <a:gd name="connsiteY40" fmla="*/ 118590 h 207998"/>
                <a:gd name="connsiteX41" fmla="*/ 97790 w 301132"/>
                <a:gd name="connsiteY41" fmla="*/ 136596 h 207998"/>
                <a:gd name="connsiteX42" fmla="*/ 114555 w 301132"/>
                <a:gd name="connsiteY42" fmla="*/ 153671 h 207998"/>
                <a:gd name="connsiteX43" fmla="*/ 133181 w 301132"/>
                <a:gd name="connsiteY43" fmla="*/ 164226 h 207998"/>
                <a:gd name="connsiteX44" fmla="*/ 155223 w 301132"/>
                <a:gd name="connsiteY44" fmla="*/ 170435 h 207998"/>
                <a:gd name="connsiteX45" fmla="*/ 153050 w 301132"/>
                <a:gd name="connsiteY45" fmla="*/ 173539 h 207998"/>
                <a:gd name="connsiteX46" fmla="*/ 150877 w 301132"/>
                <a:gd name="connsiteY46" fmla="*/ 175712 h 207998"/>
                <a:gd name="connsiteX47" fmla="*/ 147772 w 301132"/>
                <a:gd name="connsiteY47" fmla="*/ 178817 h 207998"/>
                <a:gd name="connsiteX48" fmla="*/ 155223 w 301132"/>
                <a:gd name="connsiteY48" fmla="*/ 183163 h 207998"/>
                <a:gd name="connsiteX49" fmla="*/ 170745 w 301132"/>
                <a:gd name="connsiteY49" fmla="*/ 190614 h 207998"/>
                <a:gd name="connsiteX50" fmla="*/ 190614 w 301132"/>
                <a:gd name="connsiteY50" fmla="*/ 195891 h 207998"/>
                <a:gd name="connsiteX51" fmla="*/ 216691 w 301132"/>
                <a:gd name="connsiteY51" fmla="*/ 201169 h 207998"/>
                <a:gd name="connsiteX52" fmla="*/ 240595 w 301132"/>
                <a:gd name="connsiteY52" fmla="*/ 207378 h 207998"/>
                <a:gd name="connsiteX53" fmla="*/ 263569 w 301132"/>
                <a:gd name="connsiteY53" fmla="*/ 210793 h 207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301132" h="207998">
                  <a:moveTo>
                    <a:pt x="284368" y="210793"/>
                  </a:moveTo>
                  <a:lnTo>
                    <a:pt x="294613" y="207378"/>
                  </a:lnTo>
                  <a:lnTo>
                    <a:pt x="297718" y="205515"/>
                  </a:lnTo>
                  <a:lnTo>
                    <a:pt x="299891" y="205515"/>
                  </a:lnTo>
                  <a:lnTo>
                    <a:pt x="302064" y="203342"/>
                  </a:lnTo>
                  <a:lnTo>
                    <a:pt x="303926" y="203342"/>
                  </a:lnTo>
                  <a:lnTo>
                    <a:pt x="287473" y="195891"/>
                  </a:lnTo>
                  <a:lnTo>
                    <a:pt x="269777" y="186267"/>
                  </a:lnTo>
                  <a:lnTo>
                    <a:pt x="250840" y="178817"/>
                  </a:lnTo>
                  <a:lnTo>
                    <a:pt x="234387" y="173539"/>
                  </a:lnTo>
                  <a:lnTo>
                    <a:pt x="226936" y="175712"/>
                  </a:lnTo>
                  <a:lnTo>
                    <a:pt x="219796" y="178817"/>
                  </a:lnTo>
                  <a:lnTo>
                    <a:pt x="211413" y="183163"/>
                  </a:lnTo>
                  <a:lnTo>
                    <a:pt x="199927" y="183163"/>
                  </a:lnTo>
                  <a:lnTo>
                    <a:pt x="190614" y="177886"/>
                  </a:lnTo>
                  <a:lnTo>
                    <a:pt x="184094" y="171366"/>
                  </a:lnTo>
                  <a:lnTo>
                    <a:pt x="174781" y="168262"/>
                  </a:lnTo>
                  <a:lnTo>
                    <a:pt x="160190" y="166089"/>
                  </a:lnTo>
                  <a:lnTo>
                    <a:pt x="160190" y="144047"/>
                  </a:lnTo>
                  <a:lnTo>
                    <a:pt x="163294" y="126041"/>
                  </a:lnTo>
                  <a:lnTo>
                    <a:pt x="145599" y="111140"/>
                  </a:lnTo>
                  <a:lnTo>
                    <a:pt x="133181" y="92202"/>
                  </a:lnTo>
                  <a:lnTo>
                    <a:pt x="121695" y="76370"/>
                  </a:lnTo>
                  <a:lnTo>
                    <a:pt x="109277" y="61468"/>
                  </a:lnTo>
                  <a:lnTo>
                    <a:pt x="101826" y="54018"/>
                  </a:lnTo>
                  <a:lnTo>
                    <a:pt x="99964" y="54018"/>
                  </a:lnTo>
                  <a:lnTo>
                    <a:pt x="99964" y="51844"/>
                  </a:lnTo>
                  <a:lnTo>
                    <a:pt x="94686" y="47809"/>
                  </a:lnTo>
                  <a:lnTo>
                    <a:pt x="76991" y="39116"/>
                  </a:lnTo>
                  <a:lnTo>
                    <a:pt x="62400" y="29803"/>
                  </a:lnTo>
                  <a:lnTo>
                    <a:pt x="47809" y="20179"/>
                  </a:lnTo>
                  <a:lnTo>
                    <a:pt x="34149" y="4346"/>
                  </a:lnTo>
                  <a:lnTo>
                    <a:pt x="0" y="0"/>
                  </a:lnTo>
                  <a:lnTo>
                    <a:pt x="4967" y="17075"/>
                  </a:lnTo>
                  <a:lnTo>
                    <a:pt x="16454" y="27630"/>
                  </a:lnTo>
                  <a:lnTo>
                    <a:pt x="29182" y="39116"/>
                  </a:lnTo>
                  <a:lnTo>
                    <a:pt x="40358" y="47809"/>
                  </a:lnTo>
                  <a:lnTo>
                    <a:pt x="50913" y="61468"/>
                  </a:lnTo>
                  <a:lnTo>
                    <a:pt x="62400" y="77301"/>
                  </a:lnTo>
                  <a:lnTo>
                    <a:pt x="72644" y="98411"/>
                  </a:lnTo>
                  <a:lnTo>
                    <a:pt x="85373" y="118590"/>
                  </a:lnTo>
                  <a:lnTo>
                    <a:pt x="97790" y="136596"/>
                  </a:lnTo>
                  <a:lnTo>
                    <a:pt x="114555" y="153671"/>
                  </a:lnTo>
                  <a:lnTo>
                    <a:pt x="133181" y="164226"/>
                  </a:lnTo>
                  <a:lnTo>
                    <a:pt x="155223" y="170435"/>
                  </a:lnTo>
                  <a:lnTo>
                    <a:pt x="153050" y="173539"/>
                  </a:lnTo>
                  <a:lnTo>
                    <a:pt x="150877" y="175712"/>
                  </a:lnTo>
                  <a:lnTo>
                    <a:pt x="147772" y="178817"/>
                  </a:lnTo>
                  <a:lnTo>
                    <a:pt x="155223" y="183163"/>
                  </a:lnTo>
                  <a:lnTo>
                    <a:pt x="170745" y="190614"/>
                  </a:lnTo>
                  <a:lnTo>
                    <a:pt x="190614" y="195891"/>
                  </a:lnTo>
                  <a:lnTo>
                    <a:pt x="216691" y="201169"/>
                  </a:lnTo>
                  <a:lnTo>
                    <a:pt x="240595" y="207378"/>
                  </a:lnTo>
                  <a:lnTo>
                    <a:pt x="263569" y="210793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7649DAD-924F-4978-B589-839C61C35036}"/>
                </a:ext>
              </a:extLst>
            </p:cNvPr>
            <p:cNvSpPr/>
            <p:nvPr/>
          </p:nvSpPr>
          <p:spPr>
            <a:xfrm>
              <a:off x="7403453" y="5901112"/>
              <a:ext cx="24836" cy="21731"/>
            </a:xfrm>
            <a:custGeom>
              <a:avLst/>
              <a:gdLst>
                <a:gd name="connsiteX0" fmla="*/ 26078 w 24835"/>
                <a:gd name="connsiteY0" fmla="*/ 24215 h 21731"/>
                <a:gd name="connsiteX1" fmla="*/ 21731 w 24835"/>
                <a:gd name="connsiteY1" fmla="*/ 18006 h 21731"/>
                <a:gd name="connsiteX2" fmla="*/ 19869 w 24835"/>
                <a:gd name="connsiteY2" fmla="*/ 12728 h 21731"/>
                <a:gd name="connsiteX3" fmla="*/ 16454 w 24835"/>
                <a:gd name="connsiteY3" fmla="*/ 9624 h 21731"/>
                <a:gd name="connsiteX4" fmla="*/ 11487 w 24835"/>
                <a:gd name="connsiteY4" fmla="*/ 5278 h 21731"/>
                <a:gd name="connsiteX5" fmla="*/ 7140 w 24835"/>
                <a:gd name="connsiteY5" fmla="*/ 3104 h 21731"/>
                <a:gd name="connsiteX6" fmla="*/ 0 w 24835"/>
                <a:gd name="connsiteY6" fmla="*/ 0 h 21731"/>
                <a:gd name="connsiteX7" fmla="*/ 4036 w 24835"/>
                <a:gd name="connsiteY7" fmla="*/ 7451 h 21731"/>
                <a:gd name="connsiteX8" fmla="*/ 7140 w 24835"/>
                <a:gd name="connsiteY8" fmla="*/ 12728 h 21731"/>
                <a:gd name="connsiteX9" fmla="*/ 11487 w 24835"/>
                <a:gd name="connsiteY9" fmla="*/ 16764 h 21731"/>
                <a:gd name="connsiteX10" fmla="*/ 16454 w 24835"/>
                <a:gd name="connsiteY10" fmla="*/ 20179 h 21731"/>
                <a:gd name="connsiteX11" fmla="*/ 19869 w 24835"/>
                <a:gd name="connsiteY11" fmla="*/ 24215 h 21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835" h="21731">
                  <a:moveTo>
                    <a:pt x="26078" y="24215"/>
                  </a:moveTo>
                  <a:lnTo>
                    <a:pt x="21731" y="18006"/>
                  </a:lnTo>
                  <a:lnTo>
                    <a:pt x="19869" y="12728"/>
                  </a:lnTo>
                  <a:lnTo>
                    <a:pt x="16454" y="9624"/>
                  </a:lnTo>
                  <a:lnTo>
                    <a:pt x="11487" y="5278"/>
                  </a:lnTo>
                  <a:lnTo>
                    <a:pt x="7140" y="3104"/>
                  </a:lnTo>
                  <a:lnTo>
                    <a:pt x="0" y="0"/>
                  </a:lnTo>
                  <a:lnTo>
                    <a:pt x="4036" y="7451"/>
                  </a:lnTo>
                  <a:lnTo>
                    <a:pt x="7140" y="12728"/>
                  </a:lnTo>
                  <a:lnTo>
                    <a:pt x="11487" y="16764"/>
                  </a:lnTo>
                  <a:lnTo>
                    <a:pt x="16454" y="20179"/>
                  </a:lnTo>
                  <a:lnTo>
                    <a:pt x="19869" y="24215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5EACE396-7E37-42D5-A938-DEE13CE3E9C5}"/>
                </a:ext>
              </a:extLst>
            </p:cNvPr>
            <p:cNvSpPr/>
            <p:nvPr/>
          </p:nvSpPr>
          <p:spPr>
            <a:xfrm>
              <a:off x="7568921" y="6290411"/>
              <a:ext cx="93134" cy="145910"/>
            </a:xfrm>
            <a:custGeom>
              <a:avLst/>
              <a:gdLst>
                <a:gd name="connsiteX0" fmla="*/ 89719 w 93133"/>
                <a:gd name="connsiteY0" fmla="*/ 63641 h 145909"/>
                <a:gd name="connsiteX1" fmla="*/ 87546 w 93133"/>
                <a:gd name="connsiteY1" fmla="*/ 66746 h 145909"/>
                <a:gd name="connsiteX2" fmla="*/ 83510 w 93133"/>
                <a:gd name="connsiteY2" fmla="*/ 69850 h 145909"/>
                <a:gd name="connsiteX3" fmla="*/ 80406 w 93133"/>
                <a:gd name="connsiteY3" fmla="*/ 69850 h 145909"/>
                <a:gd name="connsiteX4" fmla="*/ 78232 w 93133"/>
                <a:gd name="connsiteY4" fmla="*/ 69850 h 145909"/>
                <a:gd name="connsiteX5" fmla="*/ 75128 w 93133"/>
                <a:gd name="connsiteY5" fmla="*/ 69850 h 145909"/>
                <a:gd name="connsiteX6" fmla="*/ 68919 w 93133"/>
                <a:gd name="connsiteY6" fmla="*/ 69850 h 145909"/>
                <a:gd name="connsiteX7" fmla="*/ 63641 w 93133"/>
                <a:gd name="connsiteY7" fmla="*/ 69850 h 145909"/>
                <a:gd name="connsiteX8" fmla="*/ 53086 w 93133"/>
                <a:gd name="connsiteY8" fmla="*/ 48740 h 145909"/>
                <a:gd name="connsiteX9" fmla="*/ 38495 w 93133"/>
                <a:gd name="connsiteY9" fmla="*/ 31976 h 145909"/>
                <a:gd name="connsiteX10" fmla="*/ 23904 w 93133"/>
                <a:gd name="connsiteY10" fmla="*/ 17075 h 145909"/>
                <a:gd name="connsiteX11" fmla="*/ 7451 w 93133"/>
                <a:gd name="connsiteY11" fmla="*/ 0 h 145909"/>
                <a:gd name="connsiteX12" fmla="*/ 0 w 93133"/>
                <a:gd name="connsiteY12" fmla="*/ 0 h 145909"/>
                <a:gd name="connsiteX13" fmla="*/ 4346 w 93133"/>
                <a:gd name="connsiteY13" fmla="*/ 11797 h 145909"/>
                <a:gd name="connsiteX14" fmla="*/ 9313 w 93133"/>
                <a:gd name="connsiteY14" fmla="*/ 26388 h 145909"/>
                <a:gd name="connsiteX15" fmla="*/ 17695 w 93133"/>
                <a:gd name="connsiteY15" fmla="*/ 42531 h 145909"/>
                <a:gd name="connsiteX16" fmla="*/ 29182 w 93133"/>
                <a:gd name="connsiteY16" fmla="*/ 61468 h 145909"/>
                <a:gd name="connsiteX17" fmla="*/ 36633 w 93133"/>
                <a:gd name="connsiteY17" fmla="*/ 74196 h 145909"/>
                <a:gd name="connsiteX18" fmla="*/ 43773 w 93133"/>
                <a:gd name="connsiteY18" fmla="*/ 81647 h 145909"/>
                <a:gd name="connsiteX19" fmla="*/ 38495 w 93133"/>
                <a:gd name="connsiteY19" fmla="*/ 86925 h 145909"/>
                <a:gd name="connsiteX20" fmla="*/ 32286 w 93133"/>
                <a:gd name="connsiteY20" fmla="*/ 92202 h 145909"/>
                <a:gd name="connsiteX21" fmla="*/ 27319 w 93133"/>
                <a:gd name="connsiteY21" fmla="*/ 96238 h 145909"/>
                <a:gd name="connsiteX22" fmla="*/ 23904 w 93133"/>
                <a:gd name="connsiteY22" fmla="*/ 101826 h 145909"/>
                <a:gd name="connsiteX23" fmla="*/ 22042 w 93133"/>
                <a:gd name="connsiteY23" fmla="*/ 103689 h 145909"/>
                <a:gd name="connsiteX24" fmla="*/ 22042 w 93133"/>
                <a:gd name="connsiteY24" fmla="*/ 105862 h 145909"/>
                <a:gd name="connsiteX25" fmla="*/ 23904 w 93133"/>
                <a:gd name="connsiteY25" fmla="*/ 107104 h 145909"/>
                <a:gd name="connsiteX26" fmla="*/ 27319 w 93133"/>
                <a:gd name="connsiteY26" fmla="*/ 108966 h 145909"/>
                <a:gd name="connsiteX27" fmla="*/ 31355 w 93133"/>
                <a:gd name="connsiteY27" fmla="*/ 111140 h 145909"/>
                <a:gd name="connsiteX28" fmla="*/ 34459 w 93133"/>
                <a:gd name="connsiteY28" fmla="*/ 113313 h 145909"/>
                <a:gd name="connsiteX29" fmla="*/ 38495 w 93133"/>
                <a:gd name="connsiteY29" fmla="*/ 114244 h 145909"/>
                <a:gd name="connsiteX30" fmla="*/ 41910 w 93133"/>
                <a:gd name="connsiteY30" fmla="*/ 116417 h 145909"/>
                <a:gd name="connsiteX31" fmla="*/ 43773 w 93133"/>
                <a:gd name="connsiteY31" fmla="*/ 118590 h 145909"/>
                <a:gd name="connsiteX32" fmla="*/ 43773 w 93133"/>
                <a:gd name="connsiteY32" fmla="*/ 121695 h 145909"/>
                <a:gd name="connsiteX33" fmla="*/ 43773 w 93133"/>
                <a:gd name="connsiteY33" fmla="*/ 126041 h 145909"/>
                <a:gd name="connsiteX34" fmla="*/ 41910 w 93133"/>
                <a:gd name="connsiteY34" fmla="*/ 129145 h 145909"/>
                <a:gd name="connsiteX35" fmla="*/ 41910 w 93133"/>
                <a:gd name="connsiteY35" fmla="*/ 135665 h 145909"/>
                <a:gd name="connsiteX36" fmla="*/ 41910 w 93133"/>
                <a:gd name="connsiteY36" fmla="*/ 138769 h 145909"/>
                <a:gd name="connsiteX37" fmla="*/ 43773 w 93133"/>
                <a:gd name="connsiteY37" fmla="*/ 142805 h 145909"/>
                <a:gd name="connsiteX38" fmla="*/ 43773 w 93133"/>
                <a:gd name="connsiteY38" fmla="*/ 148083 h 145909"/>
                <a:gd name="connsiteX39" fmla="*/ 54328 w 93133"/>
                <a:gd name="connsiteY39" fmla="*/ 136596 h 145909"/>
                <a:gd name="connsiteX40" fmla="*/ 63641 w 93133"/>
                <a:gd name="connsiteY40" fmla="*/ 126041 h 145909"/>
                <a:gd name="connsiteX41" fmla="*/ 75128 w 93133"/>
                <a:gd name="connsiteY41" fmla="*/ 114244 h 145909"/>
                <a:gd name="connsiteX42" fmla="*/ 75128 w 93133"/>
                <a:gd name="connsiteY42" fmla="*/ 101826 h 145909"/>
                <a:gd name="connsiteX43" fmla="*/ 87546 w 93133"/>
                <a:gd name="connsiteY43" fmla="*/ 101826 h 145909"/>
                <a:gd name="connsiteX44" fmla="*/ 89719 w 93133"/>
                <a:gd name="connsiteY44" fmla="*/ 98411 h 145909"/>
                <a:gd name="connsiteX45" fmla="*/ 90650 w 93133"/>
                <a:gd name="connsiteY45" fmla="*/ 92202 h 145909"/>
                <a:gd name="connsiteX46" fmla="*/ 92823 w 93133"/>
                <a:gd name="connsiteY46" fmla="*/ 86925 h 145909"/>
                <a:gd name="connsiteX47" fmla="*/ 94996 w 93133"/>
                <a:gd name="connsiteY47" fmla="*/ 81647 h 145909"/>
                <a:gd name="connsiteX48" fmla="*/ 94996 w 93133"/>
                <a:gd name="connsiteY48" fmla="*/ 57122 h 145909"/>
                <a:gd name="connsiteX49" fmla="*/ 90650 w 93133"/>
                <a:gd name="connsiteY49" fmla="*/ 57122 h 145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93133" h="145909">
                  <a:moveTo>
                    <a:pt x="89719" y="63641"/>
                  </a:moveTo>
                  <a:lnTo>
                    <a:pt x="87546" y="66746"/>
                  </a:lnTo>
                  <a:lnTo>
                    <a:pt x="83510" y="69850"/>
                  </a:lnTo>
                  <a:lnTo>
                    <a:pt x="80406" y="69850"/>
                  </a:lnTo>
                  <a:lnTo>
                    <a:pt x="78232" y="69850"/>
                  </a:lnTo>
                  <a:lnTo>
                    <a:pt x="75128" y="69850"/>
                  </a:lnTo>
                  <a:lnTo>
                    <a:pt x="68919" y="69850"/>
                  </a:lnTo>
                  <a:lnTo>
                    <a:pt x="63641" y="69850"/>
                  </a:lnTo>
                  <a:lnTo>
                    <a:pt x="53086" y="48740"/>
                  </a:lnTo>
                  <a:lnTo>
                    <a:pt x="38495" y="31976"/>
                  </a:lnTo>
                  <a:lnTo>
                    <a:pt x="23904" y="17075"/>
                  </a:lnTo>
                  <a:lnTo>
                    <a:pt x="7451" y="0"/>
                  </a:lnTo>
                  <a:lnTo>
                    <a:pt x="0" y="0"/>
                  </a:lnTo>
                  <a:lnTo>
                    <a:pt x="4346" y="11797"/>
                  </a:lnTo>
                  <a:lnTo>
                    <a:pt x="9313" y="26388"/>
                  </a:lnTo>
                  <a:lnTo>
                    <a:pt x="17695" y="42531"/>
                  </a:lnTo>
                  <a:lnTo>
                    <a:pt x="29182" y="61468"/>
                  </a:lnTo>
                  <a:lnTo>
                    <a:pt x="36633" y="74196"/>
                  </a:lnTo>
                  <a:lnTo>
                    <a:pt x="43773" y="81647"/>
                  </a:lnTo>
                  <a:lnTo>
                    <a:pt x="38495" y="86925"/>
                  </a:lnTo>
                  <a:lnTo>
                    <a:pt x="32286" y="92202"/>
                  </a:lnTo>
                  <a:lnTo>
                    <a:pt x="27319" y="96238"/>
                  </a:lnTo>
                  <a:lnTo>
                    <a:pt x="23904" y="101826"/>
                  </a:lnTo>
                  <a:lnTo>
                    <a:pt x="22042" y="103689"/>
                  </a:lnTo>
                  <a:lnTo>
                    <a:pt x="22042" y="105862"/>
                  </a:lnTo>
                  <a:lnTo>
                    <a:pt x="23904" y="107104"/>
                  </a:lnTo>
                  <a:lnTo>
                    <a:pt x="27319" y="108966"/>
                  </a:lnTo>
                  <a:lnTo>
                    <a:pt x="31355" y="111140"/>
                  </a:lnTo>
                  <a:lnTo>
                    <a:pt x="34459" y="113313"/>
                  </a:lnTo>
                  <a:lnTo>
                    <a:pt x="38495" y="114244"/>
                  </a:lnTo>
                  <a:lnTo>
                    <a:pt x="41910" y="116417"/>
                  </a:lnTo>
                  <a:lnTo>
                    <a:pt x="43773" y="118590"/>
                  </a:lnTo>
                  <a:lnTo>
                    <a:pt x="43773" y="121695"/>
                  </a:lnTo>
                  <a:lnTo>
                    <a:pt x="43773" y="126041"/>
                  </a:lnTo>
                  <a:lnTo>
                    <a:pt x="41910" y="129145"/>
                  </a:lnTo>
                  <a:lnTo>
                    <a:pt x="41910" y="135665"/>
                  </a:lnTo>
                  <a:lnTo>
                    <a:pt x="41910" y="138769"/>
                  </a:lnTo>
                  <a:lnTo>
                    <a:pt x="43773" y="142805"/>
                  </a:lnTo>
                  <a:lnTo>
                    <a:pt x="43773" y="148083"/>
                  </a:lnTo>
                  <a:lnTo>
                    <a:pt x="54328" y="136596"/>
                  </a:lnTo>
                  <a:lnTo>
                    <a:pt x="63641" y="126041"/>
                  </a:lnTo>
                  <a:lnTo>
                    <a:pt x="75128" y="114244"/>
                  </a:lnTo>
                  <a:lnTo>
                    <a:pt x="75128" y="101826"/>
                  </a:lnTo>
                  <a:lnTo>
                    <a:pt x="87546" y="101826"/>
                  </a:lnTo>
                  <a:lnTo>
                    <a:pt x="89719" y="98411"/>
                  </a:lnTo>
                  <a:lnTo>
                    <a:pt x="90650" y="92202"/>
                  </a:lnTo>
                  <a:lnTo>
                    <a:pt x="92823" y="86925"/>
                  </a:lnTo>
                  <a:lnTo>
                    <a:pt x="94996" y="81647"/>
                  </a:lnTo>
                  <a:lnTo>
                    <a:pt x="94996" y="57122"/>
                  </a:lnTo>
                  <a:lnTo>
                    <a:pt x="90650" y="57122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34671294-7E82-4368-8E60-1BCF376D9EC7}"/>
                </a:ext>
              </a:extLst>
            </p:cNvPr>
            <p:cNvSpPr/>
            <p:nvPr/>
          </p:nvSpPr>
          <p:spPr>
            <a:xfrm>
              <a:off x="7483548" y="6426076"/>
              <a:ext cx="117969" cy="136596"/>
            </a:xfrm>
            <a:custGeom>
              <a:avLst/>
              <a:gdLst>
                <a:gd name="connsiteX0" fmla="*/ 116728 w 117969"/>
                <a:gd name="connsiteY0" fmla="*/ 7140 h 136596"/>
                <a:gd name="connsiteX1" fmla="*/ 116728 w 117969"/>
                <a:gd name="connsiteY1" fmla="*/ 3104 h 136596"/>
                <a:gd name="connsiteX2" fmla="*/ 114555 w 117969"/>
                <a:gd name="connsiteY2" fmla="*/ 3104 h 136596"/>
                <a:gd name="connsiteX3" fmla="*/ 112692 w 117969"/>
                <a:gd name="connsiteY3" fmla="*/ 3104 h 136596"/>
                <a:gd name="connsiteX4" fmla="*/ 112692 w 117969"/>
                <a:gd name="connsiteY4" fmla="*/ 5278 h 136596"/>
                <a:gd name="connsiteX5" fmla="*/ 110519 w 117969"/>
                <a:gd name="connsiteY5" fmla="*/ 8382 h 136596"/>
                <a:gd name="connsiteX6" fmla="*/ 109277 w 117969"/>
                <a:gd name="connsiteY6" fmla="*/ 10555 h 136596"/>
                <a:gd name="connsiteX7" fmla="*/ 109277 w 117969"/>
                <a:gd name="connsiteY7" fmla="*/ 12418 h 136596"/>
                <a:gd name="connsiteX8" fmla="*/ 105241 w 117969"/>
                <a:gd name="connsiteY8" fmla="*/ 8382 h 136596"/>
                <a:gd name="connsiteX9" fmla="*/ 103068 w 117969"/>
                <a:gd name="connsiteY9" fmla="*/ 7140 h 136596"/>
                <a:gd name="connsiteX10" fmla="*/ 102137 w 117969"/>
                <a:gd name="connsiteY10" fmla="*/ 5278 h 136596"/>
                <a:gd name="connsiteX11" fmla="*/ 99963 w 117969"/>
                <a:gd name="connsiteY11" fmla="*/ 3104 h 136596"/>
                <a:gd name="connsiteX12" fmla="*/ 95928 w 117969"/>
                <a:gd name="connsiteY12" fmla="*/ 931 h 136596"/>
                <a:gd name="connsiteX13" fmla="*/ 92823 w 117969"/>
                <a:gd name="connsiteY13" fmla="*/ 0 h 136596"/>
                <a:gd name="connsiteX14" fmla="*/ 87546 w 117969"/>
                <a:gd name="connsiteY14" fmla="*/ 8382 h 136596"/>
                <a:gd name="connsiteX15" fmla="*/ 80406 w 117969"/>
                <a:gd name="connsiteY15" fmla="*/ 23283 h 136596"/>
                <a:gd name="connsiteX16" fmla="*/ 70782 w 117969"/>
                <a:gd name="connsiteY16" fmla="*/ 37874 h 136596"/>
                <a:gd name="connsiteX17" fmla="*/ 63641 w 117969"/>
                <a:gd name="connsiteY17" fmla="*/ 52776 h 136596"/>
                <a:gd name="connsiteX18" fmla="*/ 54328 w 117969"/>
                <a:gd name="connsiteY18" fmla="*/ 65504 h 136596"/>
                <a:gd name="connsiteX19" fmla="*/ 49051 w 117969"/>
                <a:gd name="connsiteY19" fmla="*/ 71713 h 136596"/>
                <a:gd name="connsiteX20" fmla="*/ 38495 w 117969"/>
                <a:gd name="connsiteY20" fmla="*/ 75128 h 136596"/>
                <a:gd name="connsiteX21" fmla="*/ 27009 w 117969"/>
                <a:gd name="connsiteY21" fmla="*/ 76991 h 136596"/>
                <a:gd name="connsiteX22" fmla="*/ 16764 w 117969"/>
                <a:gd name="connsiteY22" fmla="*/ 80406 h 136596"/>
                <a:gd name="connsiteX23" fmla="*/ 12418 w 117969"/>
                <a:gd name="connsiteY23" fmla="*/ 84441 h 136596"/>
                <a:gd name="connsiteX24" fmla="*/ 10555 w 117969"/>
                <a:gd name="connsiteY24" fmla="*/ 89719 h 136596"/>
                <a:gd name="connsiteX25" fmla="*/ 9313 w 117969"/>
                <a:gd name="connsiteY25" fmla="*/ 94997 h 136596"/>
                <a:gd name="connsiteX26" fmla="*/ 7451 w 117969"/>
                <a:gd name="connsiteY26" fmla="*/ 99343 h 136596"/>
                <a:gd name="connsiteX27" fmla="*/ 5277 w 117969"/>
                <a:gd name="connsiteY27" fmla="*/ 104620 h 136596"/>
                <a:gd name="connsiteX28" fmla="*/ 0 w 117969"/>
                <a:gd name="connsiteY28" fmla="*/ 108967 h 136596"/>
                <a:gd name="connsiteX29" fmla="*/ 7451 w 117969"/>
                <a:gd name="connsiteY29" fmla="*/ 119522 h 136596"/>
                <a:gd name="connsiteX30" fmla="*/ 14591 w 117969"/>
                <a:gd name="connsiteY30" fmla="*/ 124799 h 136596"/>
                <a:gd name="connsiteX31" fmla="*/ 23904 w 117969"/>
                <a:gd name="connsiteY31" fmla="*/ 131008 h 136596"/>
                <a:gd name="connsiteX32" fmla="*/ 32286 w 117969"/>
                <a:gd name="connsiteY32" fmla="*/ 137528 h 136596"/>
                <a:gd name="connsiteX33" fmla="*/ 39737 w 117969"/>
                <a:gd name="connsiteY33" fmla="*/ 137528 h 136596"/>
                <a:gd name="connsiteX34" fmla="*/ 45946 w 117969"/>
                <a:gd name="connsiteY34" fmla="*/ 132250 h 136596"/>
                <a:gd name="connsiteX35" fmla="*/ 51224 w 117969"/>
                <a:gd name="connsiteY35" fmla="*/ 128835 h 136596"/>
                <a:gd name="connsiteX36" fmla="*/ 56191 w 117969"/>
                <a:gd name="connsiteY36" fmla="*/ 124799 h 136596"/>
                <a:gd name="connsiteX37" fmla="*/ 61468 w 117969"/>
                <a:gd name="connsiteY37" fmla="*/ 121695 h 136596"/>
                <a:gd name="connsiteX38" fmla="*/ 65814 w 117969"/>
                <a:gd name="connsiteY38" fmla="*/ 117349 h 136596"/>
                <a:gd name="connsiteX39" fmla="*/ 67677 w 117969"/>
                <a:gd name="connsiteY39" fmla="*/ 109898 h 136596"/>
                <a:gd name="connsiteX40" fmla="*/ 67677 w 117969"/>
                <a:gd name="connsiteY40" fmla="*/ 104620 h 136596"/>
                <a:gd name="connsiteX41" fmla="*/ 68919 w 117969"/>
                <a:gd name="connsiteY41" fmla="*/ 99343 h 136596"/>
                <a:gd name="connsiteX42" fmla="*/ 68919 w 117969"/>
                <a:gd name="connsiteY42" fmla="*/ 94065 h 136596"/>
                <a:gd name="connsiteX43" fmla="*/ 72955 w 117969"/>
                <a:gd name="connsiteY43" fmla="*/ 87856 h 136596"/>
                <a:gd name="connsiteX44" fmla="*/ 76059 w 117969"/>
                <a:gd name="connsiteY44" fmla="*/ 86614 h 136596"/>
                <a:gd name="connsiteX45" fmla="*/ 82268 w 117969"/>
                <a:gd name="connsiteY45" fmla="*/ 82268 h 136596"/>
                <a:gd name="connsiteX46" fmla="*/ 87546 w 117969"/>
                <a:gd name="connsiteY46" fmla="*/ 80406 h 136596"/>
                <a:gd name="connsiteX47" fmla="*/ 92823 w 117969"/>
                <a:gd name="connsiteY47" fmla="*/ 79164 h 136596"/>
                <a:gd name="connsiteX48" fmla="*/ 98101 w 117969"/>
                <a:gd name="connsiteY48" fmla="*/ 75128 h 136596"/>
                <a:gd name="connsiteX49" fmla="*/ 99963 w 117969"/>
                <a:gd name="connsiteY49" fmla="*/ 71713 h 136596"/>
                <a:gd name="connsiteX50" fmla="*/ 95928 w 117969"/>
                <a:gd name="connsiteY50" fmla="*/ 60227 h 136596"/>
                <a:gd name="connsiteX51" fmla="*/ 107414 w 117969"/>
                <a:gd name="connsiteY51" fmla="*/ 42221 h 136596"/>
                <a:gd name="connsiteX52" fmla="*/ 119832 w 117969"/>
                <a:gd name="connsiteY52" fmla="*/ 27319 h 136596"/>
                <a:gd name="connsiteX53" fmla="*/ 119832 w 117969"/>
                <a:gd name="connsiteY53" fmla="*/ 22042 h 136596"/>
                <a:gd name="connsiteX54" fmla="*/ 119832 w 117969"/>
                <a:gd name="connsiteY54" fmla="*/ 15833 h 136596"/>
                <a:gd name="connsiteX55" fmla="*/ 117659 w 117969"/>
                <a:gd name="connsiteY55" fmla="*/ 10555 h 13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117969" h="136596">
                  <a:moveTo>
                    <a:pt x="116728" y="7140"/>
                  </a:moveTo>
                  <a:lnTo>
                    <a:pt x="116728" y="3104"/>
                  </a:lnTo>
                  <a:lnTo>
                    <a:pt x="114555" y="3104"/>
                  </a:lnTo>
                  <a:lnTo>
                    <a:pt x="112692" y="3104"/>
                  </a:lnTo>
                  <a:lnTo>
                    <a:pt x="112692" y="5278"/>
                  </a:lnTo>
                  <a:lnTo>
                    <a:pt x="110519" y="8382"/>
                  </a:lnTo>
                  <a:lnTo>
                    <a:pt x="109277" y="10555"/>
                  </a:lnTo>
                  <a:lnTo>
                    <a:pt x="109277" y="12418"/>
                  </a:lnTo>
                  <a:lnTo>
                    <a:pt x="105241" y="8382"/>
                  </a:lnTo>
                  <a:lnTo>
                    <a:pt x="103068" y="7140"/>
                  </a:lnTo>
                  <a:lnTo>
                    <a:pt x="102137" y="5278"/>
                  </a:lnTo>
                  <a:lnTo>
                    <a:pt x="99963" y="3104"/>
                  </a:lnTo>
                  <a:lnTo>
                    <a:pt x="95928" y="931"/>
                  </a:lnTo>
                  <a:lnTo>
                    <a:pt x="92823" y="0"/>
                  </a:lnTo>
                  <a:lnTo>
                    <a:pt x="87546" y="8382"/>
                  </a:lnTo>
                  <a:lnTo>
                    <a:pt x="80406" y="23283"/>
                  </a:lnTo>
                  <a:lnTo>
                    <a:pt x="70782" y="37874"/>
                  </a:lnTo>
                  <a:lnTo>
                    <a:pt x="63641" y="52776"/>
                  </a:lnTo>
                  <a:lnTo>
                    <a:pt x="54328" y="65504"/>
                  </a:lnTo>
                  <a:lnTo>
                    <a:pt x="49051" y="71713"/>
                  </a:lnTo>
                  <a:lnTo>
                    <a:pt x="38495" y="75128"/>
                  </a:lnTo>
                  <a:lnTo>
                    <a:pt x="27009" y="76991"/>
                  </a:lnTo>
                  <a:lnTo>
                    <a:pt x="16764" y="80406"/>
                  </a:lnTo>
                  <a:lnTo>
                    <a:pt x="12418" y="84441"/>
                  </a:lnTo>
                  <a:lnTo>
                    <a:pt x="10555" y="89719"/>
                  </a:lnTo>
                  <a:lnTo>
                    <a:pt x="9313" y="94997"/>
                  </a:lnTo>
                  <a:lnTo>
                    <a:pt x="7451" y="99343"/>
                  </a:lnTo>
                  <a:lnTo>
                    <a:pt x="5277" y="104620"/>
                  </a:lnTo>
                  <a:lnTo>
                    <a:pt x="0" y="108967"/>
                  </a:lnTo>
                  <a:lnTo>
                    <a:pt x="7451" y="119522"/>
                  </a:lnTo>
                  <a:lnTo>
                    <a:pt x="14591" y="124799"/>
                  </a:lnTo>
                  <a:lnTo>
                    <a:pt x="23904" y="131008"/>
                  </a:lnTo>
                  <a:lnTo>
                    <a:pt x="32286" y="137528"/>
                  </a:lnTo>
                  <a:lnTo>
                    <a:pt x="39737" y="137528"/>
                  </a:lnTo>
                  <a:lnTo>
                    <a:pt x="45946" y="132250"/>
                  </a:lnTo>
                  <a:lnTo>
                    <a:pt x="51224" y="128835"/>
                  </a:lnTo>
                  <a:lnTo>
                    <a:pt x="56191" y="124799"/>
                  </a:lnTo>
                  <a:lnTo>
                    <a:pt x="61468" y="121695"/>
                  </a:lnTo>
                  <a:lnTo>
                    <a:pt x="65814" y="117349"/>
                  </a:lnTo>
                  <a:lnTo>
                    <a:pt x="67677" y="109898"/>
                  </a:lnTo>
                  <a:lnTo>
                    <a:pt x="67677" y="104620"/>
                  </a:lnTo>
                  <a:lnTo>
                    <a:pt x="68919" y="99343"/>
                  </a:lnTo>
                  <a:lnTo>
                    <a:pt x="68919" y="94065"/>
                  </a:lnTo>
                  <a:lnTo>
                    <a:pt x="72955" y="87856"/>
                  </a:lnTo>
                  <a:lnTo>
                    <a:pt x="76059" y="86614"/>
                  </a:lnTo>
                  <a:lnTo>
                    <a:pt x="82268" y="82268"/>
                  </a:lnTo>
                  <a:lnTo>
                    <a:pt x="87546" y="80406"/>
                  </a:lnTo>
                  <a:lnTo>
                    <a:pt x="92823" y="79164"/>
                  </a:lnTo>
                  <a:lnTo>
                    <a:pt x="98101" y="75128"/>
                  </a:lnTo>
                  <a:lnTo>
                    <a:pt x="99963" y="71713"/>
                  </a:lnTo>
                  <a:lnTo>
                    <a:pt x="95928" y="60227"/>
                  </a:lnTo>
                  <a:lnTo>
                    <a:pt x="107414" y="42221"/>
                  </a:lnTo>
                  <a:lnTo>
                    <a:pt x="119832" y="27319"/>
                  </a:lnTo>
                  <a:lnTo>
                    <a:pt x="119832" y="22042"/>
                  </a:lnTo>
                  <a:lnTo>
                    <a:pt x="119832" y="15833"/>
                  </a:lnTo>
                  <a:lnTo>
                    <a:pt x="117659" y="10555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B80D0372-7355-4FE1-B50E-8D5C36549D9E}"/>
                </a:ext>
              </a:extLst>
            </p:cNvPr>
            <p:cNvSpPr/>
            <p:nvPr/>
          </p:nvSpPr>
          <p:spPr>
            <a:xfrm>
              <a:off x="7696203" y="6032431"/>
              <a:ext cx="18627" cy="27940"/>
            </a:xfrm>
            <a:custGeom>
              <a:avLst/>
              <a:gdLst>
                <a:gd name="connsiteX0" fmla="*/ 19558 w 18626"/>
                <a:gd name="connsiteY0" fmla="*/ 30424 h 27940"/>
                <a:gd name="connsiteX1" fmla="*/ 18627 w 18626"/>
                <a:gd name="connsiteY1" fmla="*/ 23283 h 27940"/>
                <a:gd name="connsiteX2" fmla="*/ 16454 w 18626"/>
                <a:gd name="connsiteY2" fmla="*/ 16764 h 27940"/>
                <a:gd name="connsiteX3" fmla="*/ 12418 w 18626"/>
                <a:gd name="connsiteY3" fmla="*/ 10555 h 27940"/>
                <a:gd name="connsiteX4" fmla="*/ 11486 w 18626"/>
                <a:gd name="connsiteY4" fmla="*/ 7140 h 27940"/>
                <a:gd name="connsiteX5" fmla="*/ 9313 w 18626"/>
                <a:gd name="connsiteY5" fmla="*/ 5278 h 27940"/>
                <a:gd name="connsiteX6" fmla="*/ 9313 w 18626"/>
                <a:gd name="connsiteY6" fmla="*/ 3104 h 27940"/>
                <a:gd name="connsiteX7" fmla="*/ 7140 w 18626"/>
                <a:gd name="connsiteY7" fmla="*/ 1863 h 27940"/>
                <a:gd name="connsiteX8" fmla="*/ 4036 w 18626"/>
                <a:gd name="connsiteY8" fmla="*/ 0 h 27940"/>
                <a:gd name="connsiteX9" fmla="*/ 0 w 18626"/>
                <a:gd name="connsiteY9" fmla="*/ 0 h 27940"/>
                <a:gd name="connsiteX10" fmla="*/ 1863 w 18626"/>
                <a:gd name="connsiteY10" fmla="*/ 5278 h 27940"/>
                <a:gd name="connsiteX11" fmla="*/ 4036 w 18626"/>
                <a:gd name="connsiteY11" fmla="*/ 10555 h 27940"/>
                <a:gd name="connsiteX12" fmla="*/ 4967 w 18626"/>
                <a:gd name="connsiteY12" fmla="*/ 14591 h 27940"/>
                <a:gd name="connsiteX13" fmla="*/ 7140 w 18626"/>
                <a:gd name="connsiteY13" fmla="*/ 19869 h 27940"/>
                <a:gd name="connsiteX14" fmla="*/ 12418 w 18626"/>
                <a:gd name="connsiteY14" fmla="*/ 23283 h 27940"/>
                <a:gd name="connsiteX15" fmla="*/ 12418 w 18626"/>
                <a:gd name="connsiteY15" fmla="*/ 30424 h 27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626" h="27940">
                  <a:moveTo>
                    <a:pt x="19558" y="30424"/>
                  </a:moveTo>
                  <a:lnTo>
                    <a:pt x="18627" y="23283"/>
                  </a:lnTo>
                  <a:lnTo>
                    <a:pt x="16454" y="16764"/>
                  </a:lnTo>
                  <a:lnTo>
                    <a:pt x="12418" y="10555"/>
                  </a:lnTo>
                  <a:lnTo>
                    <a:pt x="11486" y="7140"/>
                  </a:lnTo>
                  <a:lnTo>
                    <a:pt x="9313" y="5278"/>
                  </a:lnTo>
                  <a:lnTo>
                    <a:pt x="9313" y="3104"/>
                  </a:lnTo>
                  <a:lnTo>
                    <a:pt x="7140" y="1863"/>
                  </a:lnTo>
                  <a:lnTo>
                    <a:pt x="4036" y="0"/>
                  </a:lnTo>
                  <a:lnTo>
                    <a:pt x="0" y="0"/>
                  </a:lnTo>
                  <a:lnTo>
                    <a:pt x="1863" y="5278"/>
                  </a:lnTo>
                  <a:lnTo>
                    <a:pt x="4036" y="10555"/>
                  </a:lnTo>
                  <a:lnTo>
                    <a:pt x="4967" y="14591"/>
                  </a:lnTo>
                  <a:lnTo>
                    <a:pt x="7140" y="19869"/>
                  </a:lnTo>
                  <a:lnTo>
                    <a:pt x="12418" y="23283"/>
                  </a:lnTo>
                  <a:lnTo>
                    <a:pt x="12418" y="30424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0AA7774F-5345-489F-9C74-AAC4165476A2}"/>
                </a:ext>
              </a:extLst>
            </p:cNvPr>
            <p:cNvSpPr/>
            <p:nvPr/>
          </p:nvSpPr>
          <p:spPr>
            <a:xfrm>
              <a:off x="7436671" y="5917876"/>
              <a:ext cx="18627" cy="21731"/>
            </a:xfrm>
            <a:custGeom>
              <a:avLst/>
              <a:gdLst>
                <a:gd name="connsiteX0" fmla="*/ 12418 w 18626"/>
                <a:gd name="connsiteY0" fmla="*/ 23283 h 21731"/>
                <a:gd name="connsiteX1" fmla="*/ 19869 w 18626"/>
                <a:gd name="connsiteY1" fmla="*/ 23283 h 21731"/>
                <a:gd name="connsiteX2" fmla="*/ 12418 w 18626"/>
                <a:gd name="connsiteY2" fmla="*/ 0 h 21731"/>
                <a:gd name="connsiteX3" fmla="*/ 0 w 18626"/>
                <a:gd name="connsiteY3" fmla="*/ 0 h 21731"/>
                <a:gd name="connsiteX4" fmla="*/ 931 w 18626"/>
                <a:gd name="connsiteY4" fmla="*/ 5277 h 21731"/>
                <a:gd name="connsiteX5" fmla="*/ 3104 w 18626"/>
                <a:gd name="connsiteY5" fmla="*/ 8692 h 21731"/>
                <a:gd name="connsiteX6" fmla="*/ 5277 w 18626"/>
                <a:gd name="connsiteY6" fmla="*/ 12728 h 21731"/>
                <a:gd name="connsiteX7" fmla="*/ 7451 w 18626"/>
                <a:gd name="connsiteY7" fmla="*/ 16143 h 21731"/>
                <a:gd name="connsiteX8" fmla="*/ 12418 w 18626"/>
                <a:gd name="connsiteY8" fmla="*/ 20179 h 21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626" h="21731">
                  <a:moveTo>
                    <a:pt x="12418" y="23283"/>
                  </a:moveTo>
                  <a:lnTo>
                    <a:pt x="19869" y="23283"/>
                  </a:lnTo>
                  <a:lnTo>
                    <a:pt x="12418" y="0"/>
                  </a:lnTo>
                  <a:lnTo>
                    <a:pt x="0" y="0"/>
                  </a:lnTo>
                  <a:lnTo>
                    <a:pt x="931" y="5277"/>
                  </a:lnTo>
                  <a:lnTo>
                    <a:pt x="3104" y="8692"/>
                  </a:lnTo>
                  <a:lnTo>
                    <a:pt x="5277" y="12728"/>
                  </a:lnTo>
                  <a:lnTo>
                    <a:pt x="7451" y="16143"/>
                  </a:lnTo>
                  <a:lnTo>
                    <a:pt x="12418" y="20179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97FF40A2-B21E-40B6-83CB-6EEF18341A78}"/>
                </a:ext>
              </a:extLst>
            </p:cNvPr>
            <p:cNvSpPr/>
            <p:nvPr/>
          </p:nvSpPr>
          <p:spPr>
            <a:xfrm>
              <a:off x="7423321" y="5928431"/>
              <a:ext cx="18627" cy="15522"/>
            </a:xfrm>
            <a:custGeom>
              <a:avLst/>
              <a:gdLst>
                <a:gd name="connsiteX0" fmla="*/ 13349 w 18626"/>
                <a:gd name="connsiteY0" fmla="*/ 4346 h 15522"/>
                <a:gd name="connsiteX1" fmla="*/ 9313 w 18626"/>
                <a:gd name="connsiteY1" fmla="*/ 0 h 15522"/>
                <a:gd name="connsiteX2" fmla="*/ 6209 w 18626"/>
                <a:gd name="connsiteY2" fmla="*/ 4346 h 15522"/>
                <a:gd name="connsiteX3" fmla="*/ 4036 w 18626"/>
                <a:gd name="connsiteY3" fmla="*/ 4346 h 15522"/>
                <a:gd name="connsiteX4" fmla="*/ 1863 w 18626"/>
                <a:gd name="connsiteY4" fmla="*/ 4346 h 15522"/>
                <a:gd name="connsiteX5" fmla="*/ 1863 w 18626"/>
                <a:gd name="connsiteY5" fmla="*/ 5588 h 15522"/>
                <a:gd name="connsiteX6" fmla="*/ 1863 w 18626"/>
                <a:gd name="connsiteY6" fmla="*/ 9624 h 15522"/>
                <a:gd name="connsiteX7" fmla="*/ 0 w 18626"/>
                <a:gd name="connsiteY7" fmla="*/ 12728 h 15522"/>
                <a:gd name="connsiteX8" fmla="*/ 6209 w 18626"/>
                <a:gd name="connsiteY8" fmla="*/ 14901 h 15522"/>
                <a:gd name="connsiteX9" fmla="*/ 7140 w 18626"/>
                <a:gd name="connsiteY9" fmla="*/ 14901 h 15522"/>
                <a:gd name="connsiteX10" fmla="*/ 9313 w 18626"/>
                <a:gd name="connsiteY10" fmla="*/ 14901 h 15522"/>
                <a:gd name="connsiteX11" fmla="*/ 11176 w 18626"/>
                <a:gd name="connsiteY11" fmla="*/ 17075 h 15522"/>
                <a:gd name="connsiteX12" fmla="*/ 13349 w 18626"/>
                <a:gd name="connsiteY12" fmla="*/ 17075 h 15522"/>
                <a:gd name="connsiteX13" fmla="*/ 20800 w 18626"/>
                <a:gd name="connsiteY13" fmla="*/ 17075 h 15522"/>
                <a:gd name="connsiteX14" fmla="*/ 20800 w 18626"/>
                <a:gd name="connsiteY14" fmla="*/ 9624 h 15522"/>
                <a:gd name="connsiteX15" fmla="*/ 16454 w 18626"/>
                <a:gd name="connsiteY15" fmla="*/ 7451 h 15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626" h="15522">
                  <a:moveTo>
                    <a:pt x="13349" y="4346"/>
                  </a:moveTo>
                  <a:lnTo>
                    <a:pt x="9313" y="0"/>
                  </a:lnTo>
                  <a:lnTo>
                    <a:pt x="6209" y="4346"/>
                  </a:lnTo>
                  <a:lnTo>
                    <a:pt x="4036" y="4346"/>
                  </a:lnTo>
                  <a:lnTo>
                    <a:pt x="1863" y="4346"/>
                  </a:lnTo>
                  <a:lnTo>
                    <a:pt x="1863" y="5588"/>
                  </a:lnTo>
                  <a:lnTo>
                    <a:pt x="1863" y="9624"/>
                  </a:lnTo>
                  <a:lnTo>
                    <a:pt x="0" y="12728"/>
                  </a:lnTo>
                  <a:lnTo>
                    <a:pt x="6209" y="14901"/>
                  </a:lnTo>
                  <a:lnTo>
                    <a:pt x="7140" y="14901"/>
                  </a:lnTo>
                  <a:lnTo>
                    <a:pt x="9313" y="14901"/>
                  </a:lnTo>
                  <a:lnTo>
                    <a:pt x="11176" y="17075"/>
                  </a:lnTo>
                  <a:lnTo>
                    <a:pt x="13349" y="17075"/>
                  </a:lnTo>
                  <a:lnTo>
                    <a:pt x="20800" y="17075"/>
                  </a:lnTo>
                  <a:lnTo>
                    <a:pt x="20800" y="9624"/>
                  </a:lnTo>
                  <a:lnTo>
                    <a:pt x="16454" y="7451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9EF280FA-EC23-4824-82E4-9427D38370AA}"/>
                </a:ext>
              </a:extLst>
            </p:cNvPr>
            <p:cNvSpPr/>
            <p:nvPr/>
          </p:nvSpPr>
          <p:spPr>
            <a:xfrm>
              <a:off x="7449089" y="5945506"/>
              <a:ext cx="12418" cy="12418"/>
            </a:xfrm>
            <a:custGeom>
              <a:avLst/>
              <a:gdLst>
                <a:gd name="connsiteX0" fmla="*/ 0 w 12417"/>
                <a:gd name="connsiteY0" fmla="*/ 3104 h 12417"/>
                <a:gd name="connsiteX1" fmla="*/ 0 w 12417"/>
                <a:gd name="connsiteY1" fmla="*/ 5278 h 12417"/>
                <a:gd name="connsiteX2" fmla="*/ 2173 w 12417"/>
                <a:gd name="connsiteY2" fmla="*/ 5278 h 12417"/>
                <a:gd name="connsiteX3" fmla="*/ 2173 w 12417"/>
                <a:gd name="connsiteY3" fmla="*/ 7451 h 12417"/>
                <a:gd name="connsiteX4" fmla="*/ 3104 w 12417"/>
                <a:gd name="connsiteY4" fmla="*/ 8382 h 12417"/>
                <a:gd name="connsiteX5" fmla="*/ 3104 w 12417"/>
                <a:gd name="connsiteY5" fmla="*/ 12728 h 12417"/>
                <a:gd name="connsiteX6" fmla="*/ 14591 w 12417"/>
                <a:gd name="connsiteY6" fmla="*/ 12728 h 12417"/>
                <a:gd name="connsiteX7" fmla="*/ 14591 w 12417"/>
                <a:gd name="connsiteY7" fmla="*/ 5278 h 12417"/>
                <a:gd name="connsiteX8" fmla="*/ 0 w 12417"/>
                <a:gd name="connsiteY8" fmla="*/ 0 h 12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17" h="12417">
                  <a:moveTo>
                    <a:pt x="0" y="3104"/>
                  </a:moveTo>
                  <a:lnTo>
                    <a:pt x="0" y="5278"/>
                  </a:lnTo>
                  <a:lnTo>
                    <a:pt x="2173" y="5278"/>
                  </a:lnTo>
                  <a:lnTo>
                    <a:pt x="2173" y="7451"/>
                  </a:lnTo>
                  <a:lnTo>
                    <a:pt x="3104" y="8382"/>
                  </a:lnTo>
                  <a:lnTo>
                    <a:pt x="3104" y="12728"/>
                  </a:lnTo>
                  <a:lnTo>
                    <a:pt x="14591" y="12728"/>
                  </a:lnTo>
                  <a:lnTo>
                    <a:pt x="14591" y="527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3B890F48-7B56-4215-9664-088A2F8CE2CA}"/>
                </a:ext>
              </a:extLst>
            </p:cNvPr>
            <p:cNvSpPr/>
            <p:nvPr/>
          </p:nvSpPr>
          <p:spPr>
            <a:xfrm>
              <a:off x="7229293" y="6429180"/>
              <a:ext cx="52776" cy="68298"/>
            </a:xfrm>
            <a:custGeom>
              <a:avLst/>
              <a:gdLst>
                <a:gd name="connsiteX0" fmla="*/ 46877 w 52775"/>
                <a:gd name="connsiteY0" fmla="*/ 0 h 68298"/>
                <a:gd name="connsiteX1" fmla="*/ 37564 w 52775"/>
                <a:gd name="connsiteY1" fmla="*/ 9313 h 68298"/>
                <a:gd name="connsiteX2" fmla="*/ 27319 w 52775"/>
                <a:gd name="connsiteY2" fmla="*/ 11487 h 68298"/>
                <a:gd name="connsiteX3" fmla="*/ 14591 w 52775"/>
                <a:gd name="connsiteY3" fmla="*/ 4036 h 68298"/>
                <a:gd name="connsiteX4" fmla="*/ 0 w 52775"/>
                <a:gd name="connsiteY4" fmla="*/ 4036 h 68298"/>
                <a:gd name="connsiteX5" fmla="*/ 7451 w 52775"/>
                <a:gd name="connsiteY5" fmla="*/ 24215 h 68298"/>
                <a:gd name="connsiteX6" fmla="*/ 14591 w 52775"/>
                <a:gd name="connsiteY6" fmla="*/ 46567 h 68298"/>
                <a:gd name="connsiteX7" fmla="*/ 19869 w 52775"/>
                <a:gd name="connsiteY7" fmla="*/ 68609 h 68298"/>
                <a:gd name="connsiteX8" fmla="*/ 32286 w 52775"/>
                <a:gd name="connsiteY8" fmla="*/ 62400 h 68298"/>
                <a:gd name="connsiteX9" fmla="*/ 41910 w 52775"/>
                <a:gd name="connsiteY9" fmla="*/ 57122 h 68298"/>
                <a:gd name="connsiteX10" fmla="*/ 49982 w 52775"/>
                <a:gd name="connsiteY10" fmla="*/ 47498 h 68298"/>
                <a:gd name="connsiteX11" fmla="*/ 54328 w 52775"/>
                <a:gd name="connsiteY11" fmla="*/ 31666 h 68298"/>
                <a:gd name="connsiteX12" fmla="*/ 52155 w 52775"/>
                <a:gd name="connsiteY12" fmla="*/ 14902 h 68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2775" h="68298">
                  <a:moveTo>
                    <a:pt x="46877" y="0"/>
                  </a:moveTo>
                  <a:lnTo>
                    <a:pt x="37564" y="9313"/>
                  </a:lnTo>
                  <a:lnTo>
                    <a:pt x="27319" y="11487"/>
                  </a:lnTo>
                  <a:lnTo>
                    <a:pt x="14591" y="4036"/>
                  </a:lnTo>
                  <a:lnTo>
                    <a:pt x="0" y="4036"/>
                  </a:lnTo>
                  <a:lnTo>
                    <a:pt x="7451" y="24215"/>
                  </a:lnTo>
                  <a:lnTo>
                    <a:pt x="14591" y="46567"/>
                  </a:lnTo>
                  <a:lnTo>
                    <a:pt x="19869" y="68609"/>
                  </a:lnTo>
                  <a:lnTo>
                    <a:pt x="32286" y="62400"/>
                  </a:lnTo>
                  <a:lnTo>
                    <a:pt x="41910" y="57122"/>
                  </a:lnTo>
                  <a:lnTo>
                    <a:pt x="49982" y="47498"/>
                  </a:lnTo>
                  <a:lnTo>
                    <a:pt x="54328" y="31666"/>
                  </a:lnTo>
                  <a:lnTo>
                    <a:pt x="52155" y="14902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42D1E6C3-9E45-46B8-ABA8-87C505AF7B41}"/>
                </a:ext>
              </a:extLst>
            </p:cNvPr>
            <p:cNvSpPr/>
            <p:nvPr/>
          </p:nvSpPr>
          <p:spPr>
            <a:xfrm>
              <a:off x="4103104" y="5644063"/>
              <a:ext cx="9313" cy="12418"/>
            </a:xfrm>
            <a:custGeom>
              <a:avLst/>
              <a:gdLst>
                <a:gd name="connsiteX0" fmla="*/ 2173 w 9313"/>
                <a:gd name="connsiteY0" fmla="*/ 5278 h 12417"/>
                <a:gd name="connsiteX1" fmla="*/ 2173 w 9313"/>
                <a:gd name="connsiteY1" fmla="*/ 7140 h 12417"/>
                <a:gd name="connsiteX2" fmla="*/ 2173 w 9313"/>
                <a:gd name="connsiteY2" fmla="*/ 9313 h 12417"/>
                <a:gd name="connsiteX3" fmla="*/ 4346 w 9313"/>
                <a:gd name="connsiteY3" fmla="*/ 11487 h 12417"/>
                <a:gd name="connsiteX4" fmla="*/ 5278 w 9313"/>
                <a:gd name="connsiteY4" fmla="*/ 11487 h 12417"/>
                <a:gd name="connsiteX5" fmla="*/ 9624 w 9313"/>
                <a:gd name="connsiteY5" fmla="*/ 12418 h 12417"/>
                <a:gd name="connsiteX6" fmla="*/ 9624 w 9313"/>
                <a:gd name="connsiteY6" fmla="*/ 5278 h 12417"/>
                <a:gd name="connsiteX7" fmla="*/ 0 w 9313"/>
                <a:gd name="connsiteY7" fmla="*/ 0 h 12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13" h="12417">
                  <a:moveTo>
                    <a:pt x="2173" y="5278"/>
                  </a:moveTo>
                  <a:lnTo>
                    <a:pt x="2173" y="7140"/>
                  </a:lnTo>
                  <a:lnTo>
                    <a:pt x="2173" y="9313"/>
                  </a:lnTo>
                  <a:lnTo>
                    <a:pt x="4346" y="11487"/>
                  </a:lnTo>
                  <a:lnTo>
                    <a:pt x="5278" y="11487"/>
                  </a:lnTo>
                  <a:lnTo>
                    <a:pt x="9624" y="12418"/>
                  </a:lnTo>
                  <a:lnTo>
                    <a:pt x="9624" y="527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DADCF56E-6B3B-4197-AE2A-469863BFA591}"/>
                </a:ext>
              </a:extLst>
            </p:cNvPr>
            <p:cNvSpPr/>
            <p:nvPr/>
          </p:nvSpPr>
          <p:spPr>
            <a:xfrm>
              <a:off x="4008418" y="5514917"/>
              <a:ext cx="34149" cy="18627"/>
            </a:xfrm>
            <a:custGeom>
              <a:avLst/>
              <a:gdLst>
                <a:gd name="connsiteX0" fmla="*/ 21731 w 34149"/>
                <a:gd name="connsiteY0" fmla="*/ 5278 h 18626"/>
                <a:gd name="connsiteX1" fmla="*/ 16764 w 34149"/>
                <a:gd name="connsiteY1" fmla="*/ 1863 h 18626"/>
                <a:gd name="connsiteX2" fmla="*/ 7140 w 34149"/>
                <a:gd name="connsiteY2" fmla="*/ 0 h 18626"/>
                <a:gd name="connsiteX3" fmla="*/ 6209 w 34149"/>
                <a:gd name="connsiteY3" fmla="*/ 1863 h 18626"/>
                <a:gd name="connsiteX4" fmla="*/ 4036 w 34149"/>
                <a:gd name="connsiteY4" fmla="*/ 1863 h 18626"/>
                <a:gd name="connsiteX5" fmla="*/ 2173 w 34149"/>
                <a:gd name="connsiteY5" fmla="*/ 4036 h 18626"/>
                <a:gd name="connsiteX6" fmla="*/ 0 w 34149"/>
                <a:gd name="connsiteY6" fmla="*/ 4036 h 18626"/>
                <a:gd name="connsiteX7" fmla="*/ 0 w 34149"/>
                <a:gd name="connsiteY7" fmla="*/ 16764 h 18626"/>
                <a:gd name="connsiteX8" fmla="*/ 6209 w 34149"/>
                <a:gd name="connsiteY8" fmla="*/ 18937 h 18626"/>
                <a:gd name="connsiteX9" fmla="*/ 13660 w 34149"/>
                <a:gd name="connsiteY9" fmla="*/ 18937 h 18626"/>
                <a:gd name="connsiteX10" fmla="*/ 16764 w 34149"/>
                <a:gd name="connsiteY10" fmla="*/ 19869 h 18626"/>
                <a:gd name="connsiteX11" fmla="*/ 21731 w 34149"/>
                <a:gd name="connsiteY11" fmla="*/ 18937 h 18626"/>
                <a:gd name="connsiteX12" fmla="*/ 28251 w 34149"/>
                <a:gd name="connsiteY12" fmla="*/ 16764 h 18626"/>
                <a:gd name="connsiteX13" fmla="*/ 35391 w 34149"/>
                <a:gd name="connsiteY13" fmla="*/ 16764 h 18626"/>
                <a:gd name="connsiteX14" fmla="*/ 35391 w 34149"/>
                <a:gd name="connsiteY14" fmla="*/ 12728 h 18626"/>
                <a:gd name="connsiteX15" fmla="*/ 29182 w 34149"/>
                <a:gd name="connsiteY15" fmla="*/ 9313 h 18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4149" h="18626">
                  <a:moveTo>
                    <a:pt x="21731" y="5278"/>
                  </a:moveTo>
                  <a:lnTo>
                    <a:pt x="16764" y="1863"/>
                  </a:lnTo>
                  <a:lnTo>
                    <a:pt x="7140" y="0"/>
                  </a:lnTo>
                  <a:lnTo>
                    <a:pt x="6209" y="1863"/>
                  </a:lnTo>
                  <a:lnTo>
                    <a:pt x="4036" y="1863"/>
                  </a:lnTo>
                  <a:lnTo>
                    <a:pt x="2173" y="4036"/>
                  </a:lnTo>
                  <a:lnTo>
                    <a:pt x="0" y="4036"/>
                  </a:lnTo>
                  <a:lnTo>
                    <a:pt x="0" y="16764"/>
                  </a:lnTo>
                  <a:lnTo>
                    <a:pt x="6209" y="18937"/>
                  </a:lnTo>
                  <a:lnTo>
                    <a:pt x="13660" y="18937"/>
                  </a:lnTo>
                  <a:lnTo>
                    <a:pt x="16764" y="19869"/>
                  </a:lnTo>
                  <a:lnTo>
                    <a:pt x="21731" y="18937"/>
                  </a:lnTo>
                  <a:lnTo>
                    <a:pt x="28251" y="16764"/>
                  </a:lnTo>
                  <a:lnTo>
                    <a:pt x="35391" y="16764"/>
                  </a:lnTo>
                  <a:lnTo>
                    <a:pt x="35391" y="12728"/>
                  </a:lnTo>
                  <a:lnTo>
                    <a:pt x="29182" y="9313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734A58F4-E8A1-472B-89B9-A14D8AD65229}"/>
                </a:ext>
              </a:extLst>
            </p:cNvPr>
            <p:cNvSpPr/>
            <p:nvPr/>
          </p:nvSpPr>
          <p:spPr>
            <a:xfrm>
              <a:off x="3912490" y="5445999"/>
              <a:ext cx="155223" cy="58985"/>
            </a:xfrm>
            <a:custGeom>
              <a:avLst/>
              <a:gdLst>
                <a:gd name="connsiteX0" fmla="*/ 156465 w 155222"/>
                <a:gd name="connsiteY0" fmla="*/ 44394 h 58984"/>
                <a:gd name="connsiteX1" fmla="*/ 134423 w 155222"/>
                <a:gd name="connsiteY1" fmla="*/ 33838 h 58984"/>
                <a:gd name="connsiteX2" fmla="*/ 114554 w 155222"/>
                <a:gd name="connsiteY2" fmla="*/ 24215 h 58984"/>
                <a:gd name="connsiteX3" fmla="*/ 94996 w 155222"/>
                <a:gd name="connsiteY3" fmla="*/ 14901 h 58984"/>
                <a:gd name="connsiteX4" fmla="*/ 68919 w 155222"/>
                <a:gd name="connsiteY4" fmla="*/ 6519 h 58984"/>
                <a:gd name="connsiteX5" fmla="*/ 39737 w 155222"/>
                <a:gd name="connsiteY5" fmla="*/ 0 h 58984"/>
                <a:gd name="connsiteX6" fmla="*/ 36633 w 155222"/>
                <a:gd name="connsiteY6" fmla="*/ 2173 h 58984"/>
                <a:gd name="connsiteX7" fmla="*/ 32286 w 155222"/>
                <a:gd name="connsiteY7" fmla="*/ 2173 h 58984"/>
                <a:gd name="connsiteX8" fmla="*/ 29182 w 155222"/>
                <a:gd name="connsiteY8" fmla="*/ 4346 h 58984"/>
                <a:gd name="connsiteX9" fmla="*/ 23904 w 155222"/>
                <a:gd name="connsiteY9" fmla="*/ 4346 h 58984"/>
                <a:gd name="connsiteX10" fmla="*/ 17695 w 155222"/>
                <a:gd name="connsiteY10" fmla="*/ 9624 h 58984"/>
                <a:gd name="connsiteX11" fmla="*/ 12418 w 155222"/>
                <a:gd name="connsiteY11" fmla="*/ 13660 h 58984"/>
                <a:gd name="connsiteX12" fmla="*/ 7451 w 155222"/>
                <a:gd name="connsiteY12" fmla="*/ 21110 h 58984"/>
                <a:gd name="connsiteX13" fmla="*/ 0 w 155222"/>
                <a:gd name="connsiteY13" fmla="*/ 21110 h 58984"/>
                <a:gd name="connsiteX14" fmla="*/ 3104 w 155222"/>
                <a:gd name="connsiteY14" fmla="*/ 22352 h 58984"/>
                <a:gd name="connsiteX15" fmla="*/ 10555 w 155222"/>
                <a:gd name="connsiteY15" fmla="*/ 26388 h 58984"/>
                <a:gd name="connsiteX16" fmla="*/ 16764 w 155222"/>
                <a:gd name="connsiteY16" fmla="*/ 28561 h 58984"/>
                <a:gd name="connsiteX17" fmla="*/ 22042 w 155222"/>
                <a:gd name="connsiteY17" fmla="*/ 22352 h 58984"/>
                <a:gd name="connsiteX18" fmla="*/ 25146 w 155222"/>
                <a:gd name="connsiteY18" fmla="*/ 17075 h 58984"/>
                <a:gd name="connsiteX19" fmla="*/ 31355 w 155222"/>
                <a:gd name="connsiteY19" fmla="*/ 11797 h 58984"/>
                <a:gd name="connsiteX20" fmla="*/ 58364 w 155222"/>
                <a:gd name="connsiteY20" fmla="*/ 24215 h 58984"/>
                <a:gd name="connsiteX21" fmla="*/ 83510 w 155222"/>
                <a:gd name="connsiteY21" fmla="*/ 36943 h 58984"/>
                <a:gd name="connsiteX22" fmla="*/ 110519 w 155222"/>
                <a:gd name="connsiteY22" fmla="*/ 44394 h 58984"/>
                <a:gd name="connsiteX23" fmla="*/ 112692 w 155222"/>
                <a:gd name="connsiteY23" fmla="*/ 48740 h 58984"/>
                <a:gd name="connsiteX24" fmla="*/ 112692 w 155222"/>
                <a:gd name="connsiteY24" fmla="*/ 50913 h 58984"/>
                <a:gd name="connsiteX25" fmla="*/ 112692 w 155222"/>
                <a:gd name="connsiteY25" fmla="*/ 51844 h 58984"/>
                <a:gd name="connsiteX26" fmla="*/ 112692 w 155222"/>
                <a:gd name="connsiteY26" fmla="*/ 54017 h 58984"/>
                <a:gd name="connsiteX27" fmla="*/ 112692 w 155222"/>
                <a:gd name="connsiteY27" fmla="*/ 58364 h 58984"/>
                <a:gd name="connsiteX28" fmla="*/ 110519 w 155222"/>
                <a:gd name="connsiteY28" fmla="*/ 61468 h 58984"/>
                <a:gd name="connsiteX29" fmla="*/ 124178 w 155222"/>
                <a:gd name="connsiteY29" fmla="*/ 59295 h 58984"/>
                <a:gd name="connsiteX30" fmla="*/ 136596 w 155222"/>
                <a:gd name="connsiteY30" fmla="*/ 56191 h 58984"/>
                <a:gd name="connsiteX31" fmla="*/ 146841 w 155222"/>
                <a:gd name="connsiteY31" fmla="*/ 51844 h 58984"/>
                <a:gd name="connsiteX32" fmla="*/ 156465 w 155222"/>
                <a:gd name="connsiteY32" fmla="*/ 51844 h 5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55222" h="58984">
                  <a:moveTo>
                    <a:pt x="156465" y="44394"/>
                  </a:moveTo>
                  <a:lnTo>
                    <a:pt x="134423" y="33838"/>
                  </a:lnTo>
                  <a:lnTo>
                    <a:pt x="114554" y="24215"/>
                  </a:lnTo>
                  <a:lnTo>
                    <a:pt x="94996" y="14901"/>
                  </a:lnTo>
                  <a:lnTo>
                    <a:pt x="68919" y="6519"/>
                  </a:lnTo>
                  <a:lnTo>
                    <a:pt x="39737" y="0"/>
                  </a:lnTo>
                  <a:lnTo>
                    <a:pt x="36633" y="2173"/>
                  </a:lnTo>
                  <a:lnTo>
                    <a:pt x="32286" y="2173"/>
                  </a:lnTo>
                  <a:lnTo>
                    <a:pt x="29182" y="4346"/>
                  </a:lnTo>
                  <a:lnTo>
                    <a:pt x="23904" y="4346"/>
                  </a:lnTo>
                  <a:lnTo>
                    <a:pt x="17695" y="9624"/>
                  </a:lnTo>
                  <a:lnTo>
                    <a:pt x="12418" y="13660"/>
                  </a:lnTo>
                  <a:lnTo>
                    <a:pt x="7451" y="21110"/>
                  </a:lnTo>
                  <a:lnTo>
                    <a:pt x="0" y="21110"/>
                  </a:lnTo>
                  <a:lnTo>
                    <a:pt x="3104" y="22352"/>
                  </a:lnTo>
                  <a:lnTo>
                    <a:pt x="10555" y="26388"/>
                  </a:lnTo>
                  <a:lnTo>
                    <a:pt x="16764" y="28561"/>
                  </a:lnTo>
                  <a:lnTo>
                    <a:pt x="22042" y="22352"/>
                  </a:lnTo>
                  <a:lnTo>
                    <a:pt x="25146" y="17075"/>
                  </a:lnTo>
                  <a:lnTo>
                    <a:pt x="31355" y="11797"/>
                  </a:lnTo>
                  <a:lnTo>
                    <a:pt x="58364" y="24215"/>
                  </a:lnTo>
                  <a:lnTo>
                    <a:pt x="83510" y="36943"/>
                  </a:lnTo>
                  <a:lnTo>
                    <a:pt x="110519" y="44394"/>
                  </a:lnTo>
                  <a:lnTo>
                    <a:pt x="112692" y="48740"/>
                  </a:lnTo>
                  <a:lnTo>
                    <a:pt x="112692" y="50913"/>
                  </a:lnTo>
                  <a:lnTo>
                    <a:pt x="112692" y="51844"/>
                  </a:lnTo>
                  <a:lnTo>
                    <a:pt x="112692" y="54017"/>
                  </a:lnTo>
                  <a:lnTo>
                    <a:pt x="112692" y="58364"/>
                  </a:lnTo>
                  <a:lnTo>
                    <a:pt x="110519" y="61468"/>
                  </a:lnTo>
                  <a:lnTo>
                    <a:pt x="124178" y="59295"/>
                  </a:lnTo>
                  <a:lnTo>
                    <a:pt x="136596" y="56191"/>
                  </a:lnTo>
                  <a:lnTo>
                    <a:pt x="146841" y="51844"/>
                  </a:lnTo>
                  <a:lnTo>
                    <a:pt x="156465" y="51844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1E9877EA-197D-40F7-B627-DA633256FB18}"/>
                </a:ext>
              </a:extLst>
            </p:cNvPr>
            <p:cNvSpPr/>
            <p:nvPr/>
          </p:nvSpPr>
          <p:spPr>
            <a:xfrm>
              <a:off x="4008418" y="5417438"/>
              <a:ext cx="12418" cy="24836"/>
            </a:xfrm>
            <a:custGeom>
              <a:avLst/>
              <a:gdLst>
                <a:gd name="connsiteX0" fmla="*/ 6209 w 12417"/>
                <a:gd name="connsiteY0" fmla="*/ 3104 h 24835"/>
                <a:gd name="connsiteX1" fmla="*/ 0 w 12417"/>
                <a:gd name="connsiteY1" fmla="*/ 0 h 24835"/>
                <a:gd name="connsiteX2" fmla="*/ 0 w 12417"/>
                <a:gd name="connsiteY2" fmla="*/ 7451 h 24835"/>
                <a:gd name="connsiteX3" fmla="*/ 0 w 12417"/>
                <a:gd name="connsiteY3" fmla="*/ 10555 h 24835"/>
                <a:gd name="connsiteX4" fmla="*/ 2173 w 12417"/>
                <a:gd name="connsiteY4" fmla="*/ 14901 h 24835"/>
                <a:gd name="connsiteX5" fmla="*/ 4036 w 12417"/>
                <a:gd name="connsiteY5" fmla="*/ 18006 h 24835"/>
                <a:gd name="connsiteX6" fmla="*/ 6209 w 12417"/>
                <a:gd name="connsiteY6" fmla="*/ 20179 h 24835"/>
                <a:gd name="connsiteX7" fmla="*/ 7140 w 12417"/>
                <a:gd name="connsiteY7" fmla="*/ 25457 h 24835"/>
                <a:gd name="connsiteX8" fmla="*/ 14591 w 12417"/>
                <a:gd name="connsiteY8" fmla="*/ 25457 h 24835"/>
                <a:gd name="connsiteX9" fmla="*/ 14591 w 12417"/>
                <a:gd name="connsiteY9" fmla="*/ 15833 h 24835"/>
                <a:gd name="connsiteX10" fmla="*/ 13660 w 12417"/>
                <a:gd name="connsiteY10" fmla="*/ 10555 h 24835"/>
                <a:gd name="connsiteX11" fmla="*/ 9313 w 12417"/>
                <a:gd name="connsiteY11" fmla="*/ 7451 h 24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417" h="24835">
                  <a:moveTo>
                    <a:pt x="6209" y="3104"/>
                  </a:moveTo>
                  <a:lnTo>
                    <a:pt x="0" y="0"/>
                  </a:lnTo>
                  <a:lnTo>
                    <a:pt x="0" y="7451"/>
                  </a:lnTo>
                  <a:lnTo>
                    <a:pt x="0" y="10555"/>
                  </a:lnTo>
                  <a:lnTo>
                    <a:pt x="2173" y="14901"/>
                  </a:lnTo>
                  <a:lnTo>
                    <a:pt x="4036" y="18006"/>
                  </a:lnTo>
                  <a:lnTo>
                    <a:pt x="6209" y="20179"/>
                  </a:lnTo>
                  <a:lnTo>
                    <a:pt x="7140" y="25457"/>
                  </a:lnTo>
                  <a:lnTo>
                    <a:pt x="14591" y="25457"/>
                  </a:lnTo>
                  <a:lnTo>
                    <a:pt x="14591" y="15833"/>
                  </a:lnTo>
                  <a:lnTo>
                    <a:pt x="13660" y="10555"/>
                  </a:lnTo>
                  <a:lnTo>
                    <a:pt x="9313" y="7451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B6E6EC-8BB3-4E43-897F-5377307C0A42}"/>
                </a:ext>
              </a:extLst>
            </p:cNvPr>
            <p:cNvSpPr/>
            <p:nvPr/>
          </p:nvSpPr>
          <p:spPr>
            <a:xfrm>
              <a:off x="4000036" y="5393223"/>
              <a:ext cx="27940" cy="15522"/>
            </a:xfrm>
            <a:custGeom>
              <a:avLst/>
              <a:gdLst>
                <a:gd name="connsiteX0" fmla="*/ 29182 w 27940"/>
                <a:gd name="connsiteY0" fmla="*/ 16764 h 15522"/>
                <a:gd name="connsiteX1" fmla="*/ 29182 w 27940"/>
                <a:gd name="connsiteY1" fmla="*/ 12728 h 15522"/>
                <a:gd name="connsiteX2" fmla="*/ 30113 w 27940"/>
                <a:gd name="connsiteY2" fmla="*/ 10555 h 15522"/>
                <a:gd name="connsiteX3" fmla="*/ 30113 w 27940"/>
                <a:gd name="connsiteY3" fmla="*/ 9313 h 15522"/>
                <a:gd name="connsiteX4" fmla="*/ 29182 w 27940"/>
                <a:gd name="connsiteY4" fmla="*/ 7451 h 15522"/>
                <a:gd name="connsiteX5" fmla="*/ 29182 w 27940"/>
                <a:gd name="connsiteY5" fmla="*/ 5277 h 15522"/>
                <a:gd name="connsiteX6" fmla="*/ 25146 w 27940"/>
                <a:gd name="connsiteY6" fmla="*/ 3104 h 15522"/>
                <a:gd name="connsiteX7" fmla="*/ 22973 w 27940"/>
                <a:gd name="connsiteY7" fmla="*/ 0 h 15522"/>
                <a:gd name="connsiteX8" fmla="*/ 0 w 27940"/>
                <a:gd name="connsiteY8" fmla="*/ 0 h 15522"/>
                <a:gd name="connsiteX9" fmla="*/ 0 w 27940"/>
                <a:gd name="connsiteY9" fmla="*/ 3104 h 15522"/>
                <a:gd name="connsiteX10" fmla="*/ 931 w 27940"/>
                <a:gd name="connsiteY10" fmla="*/ 7451 h 15522"/>
                <a:gd name="connsiteX11" fmla="*/ 5278 w 27940"/>
                <a:gd name="connsiteY11" fmla="*/ 9313 h 15522"/>
                <a:gd name="connsiteX12" fmla="*/ 8382 w 27940"/>
                <a:gd name="connsiteY12" fmla="*/ 9313 h 15522"/>
                <a:gd name="connsiteX13" fmla="*/ 12418 w 27940"/>
                <a:gd name="connsiteY13" fmla="*/ 10555 h 15522"/>
                <a:gd name="connsiteX14" fmla="*/ 17695 w 27940"/>
                <a:gd name="connsiteY14" fmla="*/ 10555 h 15522"/>
                <a:gd name="connsiteX15" fmla="*/ 22973 w 27940"/>
                <a:gd name="connsiteY15" fmla="*/ 12728 h 15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7940" h="15522">
                  <a:moveTo>
                    <a:pt x="29182" y="16764"/>
                  </a:moveTo>
                  <a:lnTo>
                    <a:pt x="29182" y="12728"/>
                  </a:lnTo>
                  <a:lnTo>
                    <a:pt x="30113" y="10555"/>
                  </a:lnTo>
                  <a:lnTo>
                    <a:pt x="30113" y="9313"/>
                  </a:lnTo>
                  <a:lnTo>
                    <a:pt x="29182" y="7451"/>
                  </a:lnTo>
                  <a:lnTo>
                    <a:pt x="29182" y="5277"/>
                  </a:lnTo>
                  <a:lnTo>
                    <a:pt x="25146" y="3104"/>
                  </a:lnTo>
                  <a:lnTo>
                    <a:pt x="22973" y="0"/>
                  </a:lnTo>
                  <a:lnTo>
                    <a:pt x="0" y="0"/>
                  </a:lnTo>
                  <a:lnTo>
                    <a:pt x="0" y="3104"/>
                  </a:lnTo>
                  <a:lnTo>
                    <a:pt x="931" y="7451"/>
                  </a:lnTo>
                  <a:lnTo>
                    <a:pt x="5278" y="9313"/>
                  </a:lnTo>
                  <a:lnTo>
                    <a:pt x="8382" y="9313"/>
                  </a:lnTo>
                  <a:lnTo>
                    <a:pt x="12418" y="10555"/>
                  </a:lnTo>
                  <a:lnTo>
                    <a:pt x="17695" y="10555"/>
                  </a:lnTo>
                  <a:lnTo>
                    <a:pt x="22973" y="12728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A13BDBA5-0071-4FD2-92C2-30B49141E38E}"/>
                </a:ext>
              </a:extLst>
            </p:cNvPr>
            <p:cNvSpPr/>
            <p:nvPr/>
          </p:nvSpPr>
          <p:spPr>
            <a:xfrm>
              <a:off x="5743810" y="6002628"/>
              <a:ext cx="99343" cy="207999"/>
            </a:xfrm>
            <a:custGeom>
              <a:avLst/>
              <a:gdLst>
                <a:gd name="connsiteX0" fmla="*/ 92823 w 99342"/>
                <a:gd name="connsiteY0" fmla="*/ 0 h 207998"/>
                <a:gd name="connsiteX1" fmla="*/ 83510 w 99342"/>
                <a:gd name="connsiteY1" fmla="*/ 5278 h 207998"/>
                <a:gd name="connsiteX2" fmla="*/ 72023 w 99342"/>
                <a:gd name="connsiteY2" fmla="*/ 14901 h 207998"/>
                <a:gd name="connsiteX3" fmla="*/ 59606 w 99342"/>
                <a:gd name="connsiteY3" fmla="*/ 27630 h 207998"/>
                <a:gd name="connsiteX4" fmla="*/ 49051 w 99342"/>
                <a:gd name="connsiteY4" fmla="*/ 40358 h 207998"/>
                <a:gd name="connsiteX5" fmla="*/ 37564 w 99342"/>
                <a:gd name="connsiteY5" fmla="*/ 51844 h 207998"/>
                <a:gd name="connsiteX6" fmla="*/ 32286 w 99342"/>
                <a:gd name="connsiteY6" fmla="*/ 60226 h 207998"/>
                <a:gd name="connsiteX7" fmla="*/ 12728 w 99342"/>
                <a:gd name="connsiteY7" fmla="*/ 60226 h 207998"/>
                <a:gd name="connsiteX8" fmla="*/ 12728 w 99342"/>
                <a:gd name="connsiteY8" fmla="*/ 75128 h 207998"/>
                <a:gd name="connsiteX9" fmla="*/ 14591 w 99342"/>
                <a:gd name="connsiteY9" fmla="*/ 90029 h 207998"/>
                <a:gd name="connsiteX10" fmla="*/ 15833 w 99342"/>
                <a:gd name="connsiteY10" fmla="*/ 104931 h 207998"/>
                <a:gd name="connsiteX11" fmla="*/ 15833 w 99342"/>
                <a:gd name="connsiteY11" fmla="*/ 114244 h 207998"/>
                <a:gd name="connsiteX12" fmla="*/ 10555 w 99342"/>
                <a:gd name="connsiteY12" fmla="*/ 129145 h 207998"/>
                <a:gd name="connsiteX13" fmla="*/ 5278 w 99342"/>
                <a:gd name="connsiteY13" fmla="*/ 144047 h 207998"/>
                <a:gd name="connsiteX14" fmla="*/ 0 w 99342"/>
                <a:gd name="connsiteY14" fmla="*/ 156775 h 207998"/>
                <a:gd name="connsiteX15" fmla="*/ 1242 w 99342"/>
                <a:gd name="connsiteY15" fmla="*/ 171366 h 207998"/>
                <a:gd name="connsiteX16" fmla="*/ 8382 w 99342"/>
                <a:gd name="connsiteY16" fmla="*/ 186267 h 207998"/>
                <a:gd name="connsiteX17" fmla="*/ 10555 w 99342"/>
                <a:gd name="connsiteY17" fmla="*/ 193718 h 207998"/>
                <a:gd name="connsiteX18" fmla="*/ 14591 w 99342"/>
                <a:gd name="connsiteY18" fmla="*/ 198996 h 207998"/>
                <a:gd name="connsiteX19" fmla="*/ 19869 w 99342"/>
                <a:gd name="connsiteY19" fmla="*/ 203342 h 207998"/>
                <a:gd name="connsiteX20" fmla="*/ 25146 w 99342"/>
                <a:gd name="connsiteY20" fmla="*/ 205205 h 207998"/>
                <a:gd name="connsiteX21" fmla="*/ 32286 w 99342"/>
                <a:gd name="connsiteY21" fmla="*/ 206446 h 207998"/>
                <a:gd name="connsiteX22" fmla="*/ 32286 w 99342"/>
                <a:gd name="connsiteY22" fmla="*/ 210482 h 207998"/>
                <a:gd name="connsiteX23" fmla="*/ 45015 w 99342"/>
                <a:gd name="connsiteY23" fmla="*/ 201169 h 207998"/>
                <a:gd name="connsiteX24" fmla="*/ 52155 w 99342"/>
                <a:gd name="connsiteY24" fmla="*/ 190614 h 207998"/>
                <a:gd name="connsiteX25" fmla="*/ 54328 w 99342"/>
                <a:gd name="connsiteY25" fmla="*/ 176644 h 207998"/>
                <a:gd name="connsiteX26" fmla="*/ 56501 w 99342"/>
                <a:gd name="connsiteY26" fmla="*/ 160811 h 207998"/>
                <a:gd name="connsiteX27" fmla="*/ 59606 w 99342"/>
                <a:gd name="connsiteY27" fmla="*/ 141874 h 207998"/>
                <a:gd name="connsiteX28" fmla="*/ 66746 w 99342"/>
                <a:gd name="connsiteY28" fmla="*/ 126972 h 207998"/>
                <a:gd name="connsiteX29" fmla="*/ 76059 w 99342"/>
                <a:gd name="connsiteY29" fmla="*/ 108966 h 207998"/>
                <a:gd name="connsiteX30" fmla="*/ 86614 w 99342"/>
                <a:gd name="connsiteY30" fmla="*/ 90029 h 207998"/>
                <a:gd name="connsiteX31" fmla="*/ 95928 w 99342"/>
                <a:gd name="connsiteY31" fmla="*/ 69850 h 207998"/>
                <a:gd name="connsiteX32" fmla="*/ 101205 w 99342"/>
                <a:gd name="connsiteY32" fmla="*/ 49671 h 207998"/>
                <a:gd name="connsiteX33" fmla="*/ 101205 w 99342"/>
                <a:gd name="connsiteY33" fmla="*/ 27630 h 207998"/>
                <a:gd name="connsiteX34" fmla="*/ 92823 w 99342"/>
                <a:gd name="connsiteY34" fmla="*/ 7451 h 207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99342" h="207998">
                  <a:moveTo>
                    <a:pt x="92823" y="0"/>
                  </a:moveTo>
                  <a:lnTo>
                    <a:pt x="83510" y="5278"/>
                  </a:lnTo>
                  <a:lnTo>
                    <a:pt x="72023" y="14901"/>
                  </a:lnTo>
                  <a:lnTo>
                    <a:pt x="59606" y="27630"/>
                  </a:lnTo>
                  <a:lnTo>
                    <a:pt x="49051" y="40358"/>
                  </a:lnTo>
                  <a:lnTo>
                    <a:pt x="37564" y="51844"/>
                  </a:lnTo>
                  <a:lnTo>
                    <a:pt x="32286" y="60226"/>
                  </a:lnTo>
                  <a:lnTo>
                    <a:pt x="12728" y="60226"/>
                  </a:lnTo>
                  <a:lnTo>
                    <a:pt x="12728" y="75128"/>
                  </a:lnTo>
                  <a:lnTo>
                    <a:pt x="14591" y="90029"/>
                  </a:lnTo>
                  <a:lnTo>
                    <a:pt x="15833" y="104931"/>
                  </a:lnTo>
                  <a:lnTo>
                    <a:pt x="15833" y="114244"/>
                  </a:lnTo>
                  <a:lnTo>
                    <a:pt x="10555" y="129145"/>
                  </a:lnTo>
                  <a:lnTo>
                    <a:pt x="5278" y="144047"/>
                  </a:lnTo>
                  <a:lnTo>
                    <a:pt x="0" y="156775"/>
                  </a:lnTo>
                  <a:lnTo>
                    <a:pt x="1242" y="171366"/>
                  </a:lnTo>
                  <a:lnTo>
                    <a:pt x="8382" y="186267"/>
                  </a:lnTo>
                  <a:lnTo>
                    <a:pt x="10555" y="193718"/>
                  </a:lnTo>
                  <a:lnTo>
                    <a:pt x="14591" y="198996"/>
                  </a:lnTo>
                  <a:lnTo>
                    <a:pt x="19869" y="203342"/>
                  </a:lnTo>
                  <a:lnTo>
                    <a:pt x="25146" y="205205"/>
                  </a:lnTo>
                  <a:lnTo>
                    <a:pt x="32286" y="206446"/>
                  </a:lnTo>
                  <a:lnTo>
                    <a:pt x="32286" y="210482"/>
                  </a:lnTo>
                  <a:lnTo>
                    <a:pt x="45015" y="201169"/>
                  </a:lnTo>
                  <a:lnTo>
                    <a:pt x="52155" y="190614"/>
                  </a:lnTo>
                  <a:lnTo>
                    <a:pt x="54328" y="176644"/>
                  </a:lnTo>
                  <a:lnTo>
                    <a:pt x="56501" y="160811"/>
                  </a:lnTo>
                  <a:lnTo>
                    <a:pt x="59606" y="141874"/>
                  </a:lnTo>
                  <a:lnTo>
                    <a:pt x="66746" y="126972"/>
                  </a:lnTo>
                  <a:lnTo>
                    <a:pt x="76059" y="108966"/>
                  </a:lnTo>
                  <a:lnTo>
                    <a:pt x="86614" y="90029"/>
                  </a:lnTo>
                  <a:lnTo>
                    <a:pt x="95928" y="69850"/>
                  </a:lnTo>
                  <a:lnTo>
                    <a:pt x="101205" y="49671"/>
                  </a:lnTo>
                  <a:lnTo>
                    <a:pt x="101205" y="27630"/>
                  </a:lnTo>
                  <a:lnTo>
                    <a:pt x="92823" y="7451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F653A12A-33B4-4B65-B355-4BD4940E3D3C}"/>
                </a:ext>
              </a:extLst>
            </p:cNvPr>
            <p:cNvSpPr/>
            <p:nvPr/>
          </p:nvSpPr>
          <p:spPr>
            <a:xfrm>
              <a:off x="4236596" y="6662015"/>
              <a:ext cx="74507" cy="31045"/>
            </a:xfrm>
            <a:custGeom>
              <a:avLst/>
              <a:gdLst>
                <a:gd name="connsiteX0" fmla="*/ 46877 w 74506"/>
                <a:gd name="connsiteY0" fmla="*/ 3104 h 31044"/>
                <a:gd name="connsiteX1" fmla="*/ 32286 w 74506"/>
                <a:gd name="connsiteY1" fmla="*/ 0 h 31044"/>
                <a:gd name="connsiteX2" fmla="*/ 21731 w 74506"/>
                <a:gd name="connsiteY2" fmla="*/ 5278 h 31044"/>
                <a:gd name="connsiteX3" fmla="*/ 10245 w 74506"/>
                <a:gd name="connsiteY3" fmla="*/ 10555 h 31044"/>
                <a:gd name="connsiteX4" fmla="*/ 0 w 74506"/>
                <a:gd name="connsiteY4" fmla="*/ 14591 h 31044"/>
                <a:gd name="connsiteX5" fmla="*/ 0 w 74506"/>
                <a:gd name="connsiteY5" fmla="*/ 31666 h 31044"/>
                <a:gd name="connsiteX6" fmla="*/ 12418 w 74506"/>
                <a:gd name="connsiteY6" fmla="*/ 27319 h 31044"/>
                <a:gd name="connsiteX7" fmla="*/ 21731 w 74506"/>
                <a:gd name="connsiteY7" fmla="*/ 25457 h 31044"/>
                <a:gd name="connsiteX8" fmla="*/ 30113 w 74506"/>
                <a:gd name="connsiteY8" fmla="*/ 20179 h 31044"/>
                <a:gd name="connsiteX9" fmla="*/ 39427 w 74506"/>
                <a:gd name="connsiteY9" fmla="*/ 10555 h 31044"/>
                <a:gd name="connsiteX10" fmla="*/ 42531 w 74506"/>
                <a:gd name="connsiteY10" fmla="*/ 10555 h 31044"/>
                <a:gd name="connsiteX11" fmla="*/ 41600 w 74506"/>
                <a:gd name="connsiteY11" fmla="*/ 14591 h 31044"/>
                <a:gd name="connsiteX12" fmla="*/ 39427 w 74506"/>
                <a:gd name="connsiteY12" fmla="*/ 16764 h 31044"/>
                <a:gd name="connsiteX13" fmla="*/ 39427 w 74506"/>
                <a:gd name="connsiteY13" fmla="*/ 18006 h 31044"/>
                <a:gd name="connsiteX14" fmla="*/ 37564 w 74506"/>
                <a:gd name="connsiteY14" fmla="*/ 20179 h 31044"/>
                <a:gd name="connsiteX15" fmla="*/ 34460 w 74506"/>
                <a:gd name="connsiteY15" fmla="*/ 22042 h 31044"/>
                <a:gd name="connsiteX16" fmla="*/ 32286 w 74506"/>
                <a:gd name="connsiteY16" fmla="*/ 24215 h 31044"/>
                <a:gd name="connsiteX17" fmla="*/ 32286 w 74506"/>
                <a:gd name="connsiteY17" fmla="*/ 31666 h 31044"/>
                <a:gd name="connsiteX18" fmla="*/ 46877 w 74506"/>
                <a:gd name="connsiteY18" fmla="*/ 27319 h 31044"/>
                <a:gd name="connsiteX19" fmla="*/ 59295 w 74506"/>
                <a:gd name="connsiteY19" fmla="*/ 22042 h 31044"/>
                <a:gd name="connsiteX20" fmla="*/ 71713 w 74506"/>
                <a:gd name="connsiteY20" fmla="*/ 14591 h 31044"/>
                <a:gd name="connsiteX21" fmla="*/ 76059 w 74506"/>
                <a:gd name="connsiteY21" fmla="*/ 14591 h 31044"/>
                <a:gd name="connsiteX22" fmla="*/ 63641 w 74506"/>
                <a:gd name="connsiteY22" fmla="*/ 9313 h 31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74506" h="31044">
                  <a:moveTo>
                    <a:pt x="46877" y="3104"/>
                  </a:moveTo>
                  <a:lnTo>
                    <a:pt x="32286" y="0"/>
                  </a:lnTo>
                  <a:lnTo>
                    <a:pt x="21731" y="5278"/>
                  </a:lnTo>
                  <a:lnTo>
                    <a:pt x="10245" y="10555"/>
                  </a:lnTo>
                  <a:lnTo>
                    <a:pt x="0" y="14591"/>
                  </a:lnTo>
                  <a:lnTo>
                    <a:pt x="0" y="31666"/>
                  </a:lnTo>
                  <a:lnTo>
                    <a:pt x="12418" y="27319"/>
                  </a:lnTo>
                  <a:lnTo>
                    <a:pt x="21731" y="25457"/>
                  </a:lnTo>
                  <a:lnTo>
                    <a:pt x="30113" y="20179"/>
                  </a:lnTo>
                  <a:lnTo>
                    <a:pt x="39427" y="10555"/>
                  </a:lnTo>
                  <a:lnTo>
                    <a:pt x="42531" y="10555"/>
                  </a:lnTo>
                  <a:lnTo>
                    <a:pt x="41600" y="14591"/>
                  </a:lnTo>
                  <a:lnTo>
                    <a:pt x="39427" y="16764"/>
                  </a:lnTo>
                  <a:lnTo>
                    <a:pt x="39427" y="18006"/>
                  </a:lnTo>
                  <a:lnTo>
                    <a:pt x="37564" y="20179"/>
                  </a:lnTo>
                  <a:lnTo>
                    <a:pt x="34460" y="22042"/>
                  </a:lnTo>
                  <a:lnTo>
                    <a:pt x="32286" y="24215"/>
                  </a:lnTo>
                  <a:lnTo>
                    <a:pt x="32286" y="31666"/>
                  </a:lnTo>
                  <a:lnTo>
                    <a:pt x="46877" y="27319"/>
                  </a:lnTo>
                  <a:lnTo>
                    <a:pt x="59295" y="22042"/>
                  </a:lnTo>
                  <a:lnTo>
                    <a:pt x="71713" y="14591"/>
                  </a:lnTo>
                  <a:lnTo>
                    <a:pt x="76059" y="14591"/>
                  </a:lnTo>
                  <a:lnTo>
                    <a:pt x="63641" y="9313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6DED13F5-3A37-4E21-8CF5-2C8F599CE76F}"/>
                </a:ext>
              </a:extLst>
            </p:cNvPr>
            <p:cNvSpPr/>
            <p:nvPr/>
          </p:nvSpPr>
          <p:spPr>
            <a:xfrm>
              <a:off x="4403305" y="5779417"/>
              <a:ext cx="34149" cy="31045"/>
            </a:xfrm>
            <a:custGeom>
              <a:avLst/>
              <a:gdLst>
                <a:gd name="connsiteX0" fmla="*/ 27009 w 34149"/>
                <a:gd name="connsiteY0" fmla="*/ 23283 h 31044"/>
                <a:gd name="connsiteX1" fmla="*/ 26078 w 34149"/>
                <a:gd name="connsiteY1" fmla="*/ 22042 h 31044"/>
                <a:gd name="connsiteX2" fmla="*/ 23904 w 34149"/>
                <a:gd name="connsiteY2" fmla="*/ 22042 h 31044"/>
                <a:gd name="connsiteX3" fmla="*/ 19558 w 34149"/>
                <a:gd name="connsiteY3" fmla="*/ 22042 h 31044"/>
                <a:gd name="connsiteX4" fmla="*/ 16454 w 34149"/>
                <a:gd name="connsiteY4" fmla="*/ 20179 h 31044"/>
                <a:gd name="connsiteX5" fmla="*/ 16454 w 34149"/>
                <a:gd name="connsiteY5" fmla="*/ 0 h 31044"/>
                <a:gd name="connsiteX6" fmla="*/ 12418 w 34149"/>
                <a:gd name="connsiteY6" fmla="*/ 0 h 31044"/>
                <a:gd name="connsiteX7" fmla="*/ 4967 w 34149"/>
                <a:gd name="connsiteY7" fmla="*/ 12728 h 31044"/>
                <a:gd name="connsiteX8" fmla="*/ 0 w 34149"/>
                <a:gd name="connsiteY8" fmla="*/ 12728 h 31044"/>
                <a:gd name="connsiteX9" fmla="*/ 0 w 34149"/>
                <a:gd name="connsiteY9" fmla="*/ 15833 h 31044"/>
                <a:gd name="connsiteX10" fmla="*/ 11487 w 34149"/>
                <a:gd name="connsiteY10" fmla="*/ 20179 h 31044"/>
                <a:gd name="connsiteX11" fmla="*/ 21731 w 34149"/>
                <a:gd name="connsiteY11" fmla="*/ 25457 h 31044"/>
                <a:gd name="connsiteX12" fmla="*/ 29182 w 34149"/>
                <a:gd name="connsiteY12" fmla="*/ 30734 h 31044"/>
                <a:gd name="connsiteX13" fmla="*/ 33218 w 34149"/>
                <a:gd name="connsiteY13" fmla="*/ 32907 h 31044"/>
                <a:gd name="connsiteX14" fmla="*/ 34149 w 34149"/>
                <a:gd name="connsiteY14" fmla="*/ 30734 h 31044"/>
                <a:gd name="connsiteX15" fmla="*/ 34149 w 34149"/>
                <a:gd name="connsiteY15" fmla="*/ 29492 h 31044"/>
                <a:gd name="connsiteX16" fmla="*/ 36322 w 34149"/>
                <a:gd name="connsiteY16" fmla="*/ 27319 h 31044"/>
                <a:gd name="connsiteX17" fmla="*/ 36322 w 34149"/>
                <a:gd name="connsiteY17" fmla="*/ 23283 h 31044"/>
                <a:gd name="connsiteX18" fmla="*/ 29182 w 34149"/>
                <a:gd name="connsiteY18" fmla="*/ 23283 h 31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4149" h="31044">
                  <a:moveTo>
                    <a:pt x="27009" y="23283"/>
                  </a:moveTo>
                  <a:lnTo>
                    <a:pt x="26078" y="22042"/>
                  </a:lnTo>
                  <a:lnTo>
                    <a:pt x="23904" y="22042"/>
                  </a:lnTo>
                  <a:lnTo>
                    <a:pt x="19558" y="22042"/>
                  </a:lnTo>
                  <a:lnTo>
                    <a:pt x="16454" y="20179"/>
                  </a:lnTo>
                  <a:lnTo>
                    <a:pt x="16454" y="0"/>
                  </a:lnTo>
                  <a:lnTo>
                    <a:pt x="12418" y="0"/>
                  </a:lnTo>
                  <a:lnTo>
                    <a:pt x="4967" y="12728"/>
                  </a:lnTo>
                  <a:lnTo>
                    <a:pt x="0" y="12728"/>
                  </a:lnTo>
                  <a:lnTo>
                    <a:pt x="0" y="15833"/>
                  </a:lnTo>
                  <a:lnTo>
                    <a:pt x="11487" y="20179"/>
                  </a:lnTo>
                  <a:lnTo>
                    <a:pt x="21731" y="25457"/>
                  </a:lnTo>
                  <a:lnTo>
                    <a:pt x="29182" y="30734"/>
                  </a:lnTo>
                  <a:lnTo>
                    <a:pt x="33218" y="32907"/>
                  </a:lnTo>
                  <a:lnTo>
                    <a:pt x="34149" y="30734"/>
                  </a:lnTo>
                  <a:lnTo>
                    <a:pt x="34149" y="29492"/>
                  </a:lnTo>
                  <a:lnTo>
                    <a:pt x="36322" y="27319"/>
                  </a:lnTo>
                  <a:lnTo>
                    <a:pt x="36322" y="23283"/>
                  </a:lnTo>
                  <a:lnTo>
                    <a:pt x="29182" y="23283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0CAC5537-42A7-4702-A646-E0F792394AC3}"/>
                </a:ext>
              </a:extLst>
            </p:cNvPr>
            <p:cNvSpPr/>
            <p:nvPr/>
          </p:nvSpPr>
          <p:spPr>
            <a:xfrm>
              <a:off x="4237527" y="6453395"/>
              <a:ext cx="12418" cy="18627"/>
            </a:xfrm>
            <a:custGeom>
              <a:avLst/>
              <a:gdLst>
                <a:gd name="connsiteX0" fmla="*/ 4346 w 12417"/>
                <a:gd name="connsiteY0" fmla="*/ 15833 h 18626"/>
                <a:gd name="connsiteX1" fmla="*/ 6209 w 12417"/>
                <a:gd name="connsiteY1" fmla="*/ 20179 h 18626"/>
                <a:gd name="connsiteX2" fmla="*/ 14591 w 12417"/>
                <a:gd name="connsiteY2" fmla="*/ 20179 h 18626"/>
                <a:gd name="connsiteX3" fmla="*/ 13660 w 12417"/>
                <a:gd name="connsiteY3" fmla="*/ 14901 h 18626"/>
                <a:gd name="connsiteX4" fmla="*/ 13660 w 12417"/>
                <a:gd name="connsiteY4" fmla="*/ 10555 h 18626"/>
                <a:gd name="connsiteX5" fmla="*/ 11487 w 12417"/>
                <a:gd name="connsiteY5" fmla="*/ 7451 h 18626"/>
                <a:gd name="connsiteX6" fmla="*/ 9313 w 12417"/>
                <a:gd name="connsiteY6" fmla="*/ 5277 h 18626"/>
                <a:gd name="connsiteX7" fmla="*/ 6209 w 12417"/>
                <a:gd name="connsiteY7" fmla="*/ 3104 h 18626"/>
                <a:gd name="connsiteX8" fmla="*/ 2173 w 12417"/>
                <a:gd name="connsiteY8" fmla="*/ 0 h 18626"/>
                <a:gd name="connsiteX9" fmla="*/ 2173 w 12417"/>
                <a:gd name="connsiteY9" fmla="*/ 5277 h 18626"/>
                <a:gd name="connsiteX10" fmla="*/ 0 w 12417"/>
                <a:gd name="connsiteY10" fmla="*/ 8382 h 18626"/>
                <a:gd name="connsiteX11" fmla="*/ 2173 w 12417"/>
                <a:gd name="connsiteY11" fmla="*/ 10555 h 18626"/>
                <a:gd name="connsiteX12" fmla="*/ 2173 w 12417"/>
                <a:gd name="connsiteY12" fmla="*/ 12728 h 18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417" h="18626">
                  <a:moveTo>
                    <a:pt x="4346" y="15833"/>
                  </a:moveTo>
                  <a:lnTo>
                    <a:pt x="6209" y="20179"/>
                  </a:lnTo>
                  <a:lnTo>
                    <a:pt x="14591" y="20179"/>
                  </a:lnTo>
                  <a:lnTo>
                    <a:pt x="13660" y="14901"/>
                  </a:lnTo>
                  <a:lnTo>
                    <a:pt x="13660" y="10555"/>
                  </a:lnTo>
                  <a:lnTo>
                    <a:pt x="11487" y="7451"/>
                  </a:lnTo>
                  <a:lnTo>
                    <a:pt x="9313" y="5277"/>
                  </a:lnTo>
                  <a:lnTo>
                    <a:pt x="6209" y="3104"/>
                  </a:lnTo>
                  <a:lnTo>
                    <a:pt x="2173" y="0"/>
                  </a:lnTo>
                  <a:lnTo>
                    <a:pt x="2173" y="5277"/>
                  </a:lnTo>
                  <a:lnTo>
                    <a:pt x="0" y="8382"/>
                  </a:lnTo>
                  <a:lnTo>
                    <a:pt x="2173" y="10555"/>
                  </a:lnTo>
                  <a:lnTo>
                    <a:pt x="2173" y="12728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CAE33324-A344-432A-83AA-C2197B292DC4}"/>
                </a:ext>
              </a:extLst>
            </p:cNvPr>
            <p:cNvSpPr/>
            <p:nvPr/>
          </p:nvSpPr>
          <p:spPr>
            <a:xfrm>
              <a:off x="4152155" y="6693680"/>
              <a:ext cx="58985" cy="52776"/>
            </a:xfrm>
            <a:custGeom>
              <a:avLst/>
              <a:gdLst>
                <a:gd name="connsiteX0" fmla="*/ 29182 w 58984"/>
                <a:gd name="connsiteY0" fmla="*/ 22352 h 52775"/>
                <a:gd name="connsiteX1" fmla="*/ 14591 w 58984"/>
                <a:gd name="connsiteY1" fmla="*/ 8382 h 52775"/>
                <a:gd name="connsiteX2" fmla="*/ 0 w 58984"/>
                <a:gd name="connsiteY2" fmla="*/ 0 h 52775"/>
                <a:gd name="connsiteX3" fmla="*/ 0 w 58984"/>
                <a:gd name="connsiteY3" fmla="*/ 15833 h 52775"/>
                <a:gd name="connsiteX4" fmla="*/ 4036 w 58984"/>
                <a:gd name="connsiteY4" fmla="*/ 34770 h 52775"/>
                <a:gd name="connsiteX5" fmla="*/ 7451 w 58984"/>
                <a:gd name="connsiteY5" fmla="*/ 49671 h 52775"/>
                <a:gd name="connsiteX6" fmla="*/ 14591 w 58984"/>
                <a:gd name="connsiteY6" fmla="*/ 51844 h 52775"/>
                <a:gd name="connsiteX7" fmla="*/ 27009 w 58984"/>
                <a:gd name="connsiteY7" fmla="*/ 54949 h 52775"/>
                <a:gd name="connsiteX8" fmla="*/ 41600 w 58984"/>
                <a:gd name="connsiteY8" fmla="*/ 54949 h 52775"/>
                <a:gd name="connsiteX9" fmla="*/ 50913 w 58984"/>
                <a:gd name="connsiteY9" fmla="*/ 52776 h 52775"/>
                <a:gd name="connsiteX10" fmla="*/ 60537 w 58984"/>
                <a:gd name="connsiteY10" fmla="*/ 52776 h 52775"/>
                <a:gd name="connsiteX11" fmla="*/ 60537 w 58984"/>
                <a:gd name="connsiteY11" fmla="*/ 44394 h 52775"/>
                <a:gd name="connsiteX12" fmla="*/ 43773 w 58984"/>
                <a:gd name="connsiteY12" fmla="*/ 34770 h 52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984" h="52775">
                  <a:moveTo>
                    <a:pt x="29182" y="22352"/>
                  </a:moveTo>
                  <a:lnTo>
                    <a:pt x="14591" y="8382"/>
                  </a:lnTo>
                  <a:lnTo>
                    <a:pt x="0" y="0"/>
                  </a:lnTo>
                  <a:lnTo>
                    <a:pt x="0" y="15833"/>
                  </a:lnTo>
                  <a:lnTo>
                    <a:pt x="4036" y="34770"/>
                  </a:lnTo>
                  <a:lnTo>
                    <a:pt x="7451" y="49671"/>
                  </a:lnTo>
                  <a:lnTo>
                    <a:pt x="14591" y="51844"/>
                  </a:lnTo>
                  <a:lnTo>
                    <a:pt x="27009" y="54949"/>
                  </a:lnTo>
                  <a:lnTo>
                    <a:pt x="41600" y="54949"/>
                  </a:lnTo>
                  <a:lnTo>
                    <a:pt x="50913" y="52776"/>
                  </a:lnTo>
                  <a:lnTo>
                    <a:pt x="60537" y="52776"/>
                  </a:lnTo>
                  <a:lnTo>
                    <a:pt x="60537" y="44394"/>
                  </a:lnTo>
                  <a:lnTo>
                    <a:pt x="43773" y="34770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2C608717-B9C0-4D9C-ADD2-AB577CEAE5A8}"/>
                </a:ext>
              </a:extLst>
            </p:cNvPr>
            <p:cNvSpPr/>
            <p:nvPr/>
          </p:nvSpPr>
          <p:spPr>
            <a:xfrm>
              <a:off x="4063677" y="5497843"/>
              <a:ext cx="86925" cy="34149"/>
            </a:xfrm>
            <a:custGeom>
              <a:avLst/>
              <a:gdLst>
                <a:gd name="connsiteX0" fmla="*/ 88477 w 86924"/>
                <a:gd name="connsiteY0" fmla="*/ 17075 h 34149"/>
                <a:gd name="connsiteX1" fmla="*/ 70782 w 86924"/>
                <a:gd name="connsiteY1" fmla="*/ 11797 h 34149"/>
                <a:gd name="connsiteX2" fmla="*/ 56191 w 86924"/>
                <a:gd name="connsiteY2" fmla="*/ 6519 h 34149"/>
                <a:gd name="connsiteX3" fmla="*/ 37564 w 86924"/>
                <a:gd name="connsiteY3" fmla="*/ 2173 h 34149"/>
                <a:gd name="connsiteX4" fmla="*/ 15522 w 86924"/>
                <a:gd name="connsiteY4" fmla="*/ 0 h 34149"/>
                <a:gd name="connsiteX5" fmla="*/ 17695 w 86924"/>
                <a:gd name="connsiteY5" fmla="*/ 6519 h 34149"/>
                <a:gd name="connsiteX6" fmla="*/ 19869 w 86924"/>
                <a:gd name="connsiteY6" fmla="*/ 9624 h 34149"/>
                <a:gd name="connsiteX7" fmla="*/ 21731 w 86924"/>
                <a:gd name="connsiteY7" fmla="*/ 11797 h 34149"/>
                <a:gd name="connsiteX8" fmla="*/ 24836 w 86924"/>
                <a:gd name="connsiteY8" fmla="*/ 14902 h 34149"/>
                <a:gd name="connsiteX9" fmla="*/ 29182 w 86924"/>
                <a:gd name="connsiteY9" fmla="*/ 17075 h 34149"/>
                <a:gd name="connsiteX10" fmla="*/ 22973 w 86924"/>
                <a:gd name="connsiteY10" fmla="*/ 18937 h 34149"/>
                <a:gd name="connsiteX11" fmla="*/ 15522 w 86924"/>
                <a:gd name="connsiteY11" fmla="*/ 21110 h 34149"/>
                <a:gd name="connsiteX12" fmla="*/ 9313 w 86924"/>
                <a:gd name="connsiteY12" fmla="*/ 21110 h 34149"/>
                <a:gd name="connsiteX13" fmla="*/ 0 w 86924"/>
                <a:gd name="connsiteY13" fmla="*/ 21110 h 34149"/>
                <a:gd name="connsiteX14" fmla="*/ 5278 w 86924"/>
                <a:gd name="connsiteY14" fmla="*/ 33839 h 34149"/>
                <a:gd name="connsiteX15" fmla="*/ 15522 w 86924"/>
                <a:gd name="connsiteY15" fmla="*/ 33839 h 34149"/>
                <a:gd name="connsiteX16" fmla="*/ 30113 w 86924"/>
                <a:gd name="connsiteY16" fmla="*/ 36012 h 34149"/>
                <a:gd name="connsiteX17" fmla="*/ 43773 w 86924"/>
                <a:gd name="connsiteY17" fmla="*/ 36943 h 34149"/>
                <a:gd name="connsiteX18" fmla="*/ 49050 w 86924"/>
                <a:gd name="connsiteY18" fmla="*/ 36943 h 34149"/>
                <a:gd name="connsiteX19" fmla="*/ 52155 w 86924"/>
                <a:gd name="connsiteY19" fmla="*/ 26388 h 34149"/>
                <a:gd name="connsiteX20" fmla="*/ 54018 w 86924"/>
                <a:gd name="connsiteY20" fmla="*/ 24525 h 34149"/>
                <a:gd name="connsiteX21" fmla="*/ 56191 w 86924"/>
                <a:gd name="connsiteY21" fmla="*/ 26388 h 34149"/>
                <a:gd name="connsiteX22" fmla="*/ 58364 w 86924"/>
                <a:gd name="connsiteY22" fmla="*/ 28561 h 34149"/>
                <a:gd name="connsiteX23" fmla="*/ 59295 w 86924"/>
                <a:gd name="connsiteY23" fmla="*/ 29803 h 34149"/>
                <a:gd name="connsiteX24" fmla="*/ 59295 w 86924"/>
                <a:gd name="connsiteY24" fmla="*/ 31666 h 34149"/>
                <a:gd name="connsiteX25" fmla="*/ 59295 w 86924"/>
                <a:gd name="connsiteY25" fmla="*/ 33839 h 34149"/>
                <a:gd name="connsiteX26" fmla="*/ 65504 w 86924"/>
                <a:gd name="connsiteY26" fmla="*/ 33839 h 34149"/>
                <a:gd name="connsiteX27" fmla="*/ 68609 w 86924"/>
                <a:gd name="connsiteY27" fmla="*/ 31666 h 34149"/>
                <a:gd name="connsiteX28" fmla="*/ 72955 w 86924"/>
                <a:gd name="connsiteY28" fmla="*/ 29803 h 34149"/>
                <a:gd name="connsiteX29" fmla="*/ 77922 w 86924"/>
                <a:gd name="connsiteY29" fmla="*/ 28561 h 34149"/>
                <a:gd name="connsiteX30" fmla="*/ 81337 w 86924"/>
                <a:gd name="connsiteY30" fmla="*/ 26388 h 34149"/>
                <a:gd name="connsiteX31" fmla="*/ 88477 w 86924"/>
                <a:gd name="connsiteY31" fmla="*/ 26388 h 3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86924" h="34149">
                  <a:moveTo>
                    <a:pt x="88477" y="17075"/>
                  </a:moveTo>
                  <a:lnTo>
                    <a:pt x="70782" y="11797"/>
                  </a:lnTo>
                  <a:lnTo>
                    <a:pt x="56191" y="6519"/>
                  </a:lnTo>
                  <a:lnTo>
                    <a:pt x="37564" y="2173"/>
                  </a:lnTo>
                  <a:lnTo>
                    <a:pt x="15522" y="0"/>
                  </a:lnTo>
                  <a:lnTo>
                    <a:pt x="17695" y="6519"/>
                  </a:lnTo>
                  <a:lnTo>
                    <a:pt x="19869" y="9624"/>
                  </a:lnTo>
                  <a:lnTo>
                    <a:pt x="21731" y="11797"/>
                  </a:lnTo>
                  <a:lnTo>
                    <a:pt x="24836" y="14902"/>
                  </a:lnTo>
                  <a:lnTo>
                    <a:pt x="29182" y="17075"/>
                  </a:lnTo>
                  <a:lnTo>
                    <a:pt x="22973" y="18937"/>
                  </a:lnTo>
                  <a:lnTo>
                    <a:pt x="15522" y="21110"/>
                  </a:lnTo>
                  <a:lnTo>
                    <a:pt x="9313" y="21110"/>
                  </a:lnTo>
                  <a:lnTo>
                    <a:pt x="0" y="21110"/>
                  </a:lnTo>
                  <a:lnTo>
                    <a:pt x="5278" y="33839"/>
                  </a:lnTo>
                  <a:lnTo>
                    <a:pt x="15522" y="33839"/>
                  </a:lnTo>
                  <a:lnTo>
                    <a:pt x="30113" y="36012"/>
                  </a:lnTo>
                  <a:lnTo>
                    <a:pt x="43773" y="36943"/>
                  </a:lnTo>
                  <a:lnTo>
                    <a:pt x="49050" y="36943"/>
                  </a:lnTo>
                  <a:lnTo>
                    <a:pt x="52155" y="26388"/>
                  </a:lnTo>
                  <a:lnTo>
                    <a:pt x="54018" y="24525"/>
                  </a:lnTo>
                  <a:lnTo>
                    <a:pt x="56191" y="26388"/>
                  </a:lnTo>
                  <a:lnTo>
                    <a:pt x="58364" y="28561"/>
                  </a:lnTo>
                  <a:lnTo>
                    <a:pt x="59295" y="29803"/>
                  </a:lnTo>
                  <a:lnTo>
                    <a:pt x="59295" y="31666"/>
                  </a:lnTo>
                  <a:lnTo>
                    <a:pt x="59295" y="33839"/>
                  </a:lnTo>
                  <a:lnTo>
                    <a:pt x="65504" y="33839"/>
                  </a:lnTo>
                  <a:lnTo>
                    <a:pt x="68609" y="31666"/>
                  </a:lnTo>
                  <a:lnTo>
                    <a:pt x="72955" y="29803"/>
                  </a:lnTo>
                  <a:lnTo>
                    <a:pt x="77922" y="28561"/>
                  </a:lnTo>
                  <a:lnTo>
                    <a:pt x="81337" y="26388"/>
                  </a:lnTo>
                  <a:lnTo>
                    <a:pt x="88477" y="26388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47F77436-4200-4017-AA4D-1237BFA9FC63}"/>
                </a:ext>
              </a:extLst>
            </p:cNvPr>
            <p:cNvSpPr/>
            <p:nvPr/>
          </p:nvSpPr>
          <p:spPr>
            <a:xfrm>
              <a:off x="4215796" y="5526404"/>
              <a:ext cx="34149" cy="12418"/>
            </a:xfrm>
            <a:custGeom>
              <a:avLst/>
              <a:gdLst>
                <a:gd name="connsiteX0" fmla="*/ 27940 w 34149"/>
                <a:gd name="connsiteY0" fmla="*/ 12728 h 12417"/>
                <a:gd name="connsiteX1" fmla="*/ 31045 w 34149"/>
                <a:gd name="connsiteY1" fmla="*/ 10555 h 12417"/>
                <a:gd name="connsiteX2" fmla="*/ 33218 w 34149"/>
                <a:gd name="connsiteY2" fmla="*/ 7451 h 12417"/>
                <a:gd name="connsiteX3" fmla="*/ 36322 w 34149"/>
                <a:gd name="connsiteY3" fmla="*/ 5278 h 12417"/>
                <a:gd name="connsiteX4" fmla="*/ 27940 w 34149"/>
                <a:gd name="connsiteY4" fmla="*/ 1242 h 12417"/>
                <a:gd name="connsiteX5" fmla="*/ 20800 w 34149"/>
                <a:gd name="connsiteY5" fmla="*/ 0 h 12417"/>
                <a:gd name="connsiteX6" fmla="*/ 13349 w 34149"/>
                <a:gd name="connsiteY6" fmla="*/ 0 h 12417"/>
                <a:gd name="connsiteX7" fmla="*/ 0 w 34149"/>
                <a:gd name="connsiteY7" fmla="*/ 1242 h 12417"/>
                <a:gd name="connsiteX8" fmla="*/ 0 w 34149"/>
                <a:gd name="connsiteY8" fmla="*/ 12728 h 12417"/>
                <a:gd name="connsiteX9" fmla="*/ 6209 w 34149"/>
                <a:gd name="connsiteY9" fmla="*/ 10555 h 12417"/>
                <a:gd name="connsiteX10" fmla="*/ 11487 w 34149"/>
                <a:gd name="connsiteY10" fmla="*/ 10555 h 12417"/>
                <a:gd name="connsiteX11" fmla="*/ 16454 w 34149"/>
                <a:gd name="connsiteY11" fmla="*/ 10555 h 12417"/>
                <a:gd name="connsiteX12" fmla="*/ 21731 w 34149"/>
                <a:gd name="connsiteY12" fmla="*/ 12728 h 12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4149" h="12417">
                  <a:moveTo>
                    <a:pt x="27940" y="12728"/>
                  </a:moveTo>
                  <a:lnTo>
                    <a:pt x="31045" y="10555"/>
                  </a:lnTo>
                  <a:lnTo>
                    <a:pt x="33218" y="7451"/>
                  </a:lnTo>
                  <a:lnTo>
                    <a:pt x="36322" y="5278"/>
                  </a:lnTo>
                  <a:lnTo>
                    <a:pt x="27940" y="1242"/>
                  </a:lnTo>
                  <a:lnTo>
                    <a:pt x="20800" y="0"/>
                  </a:lnTo>
                  <a:lnTo>
                    <a:pt x="13349" y="0"/>
                  </a:lnTo>
                  <a:lnTo>
                    <a:pt x="0" y="1242"/>
                  </a:lnTo>
                  <a:lnTo>
                    <a:pt x="0" y="12728"/>
                  </a:lnTo>
                  <a:lnTo>
                    <a:pt x="6209" y="10555"/>
                  </a:lnTo>
                  <a:lnTo>
                    <a:pt x="11487" y="10555"/>
                  </a:lnTo>
                  <a:lnTo>
                    <a:pt x="16454" y="10555"/>
                  </a:lnTo>
                  <a:lnTo>
                    <a:pt x="21731" y="12728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E81FBF22-FFC0-4CCE-9060-70040635A685}"/>
                </a:ext>
              </a:extLst>
            </p:cNvPr>
            <p:cNvSpPr/>
            <p:nvPr/>
          </p:nvSpPr>
          <p:spPr>
            <a:xfrm>
              <a:off x="4066782" y="5047076"/>
              <a:ext cx="12418" cy="15522"/>
            </a:xfrm>
            <a:custGeom>
              <a:avLst/>
              <a:gdLst>
                <a:gd name="connsiteX0" fmla="*/ 6209 w 12417"/>
                <a:gd name="connsiteY0" fmla="*/ 17075 h 15522"/>
                <a:gd name="connsiteX1" fmla="*/ 7140 w 12417"/>
                <a:gd name="connsiteY1" fmla="*/ 11487 h 15522"/>
                <a:gd name="connsiteX2" fmla="*/ 7140 w 12417"/>
                <a:gd name="connsiteY2" fmla="*/ 9624 h 15522"/>
                <a:gd name="connsiteX3" fmla="*/ 9313 w 12417"/>
                <a:gd name="connsiteY3" fmla="*/ 6209 h 15522"/>
                <a:gd name="connsiteX4" fmla="*/ 11487 w 12417"/>
                <a:gd name="connsiteY4" fmla="*/ 4346 h 15522"/>
                <a:gd name="connsiteX5" fmla="*/ 12418 w 12417"/>
                <a:gd name="connsiteY5" fmla="*/ 0 h 15522"/>
                <a:gd name="connsiteX6" fmla="*/ 9313 w 12417"/>
                <a:gd name="connsiteY6" fmla="*/ 0 h 15522"/>
                <a:gd name="connsiteX7" fmla="*/ 7140 w 12417"/>
                <a:gd name="connsiteY7" fmla="*/ 4346 h 15522"/>
                <a:gd name="connsiteX8" fmla="*/ 4036 w 12417"/>
                <a:gd name="connsiteY8" fmla="*/ 7451 h 15522"/>
                <a:gd name="connsiteX9" fmla="*/ 2173 w 12417"/>
                <a:gd name="connsiteY9" fmla="*/ 9624 h 15522"/>
                <a:gd name="connsiteX10" fmla="*/ 0 w 12417"/>
                <a:gd name="connsiteY10" fmla="*/ 11487 h 15522"/>
                <a:gd name="connsiteX11" fmla="*/ 0 w 12417"/>
                <a:gd name="connsiteY11" fmla="*/ 13660 h 15522"/>
                <a:gd name="connsiteX12" fmla="*/ 2173 w 12417"/>
                <a:gd name="connsiteY12" fmla="*/ 14901 h 15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417" h="15522">
                  <a:moveTo>
                    <a:pt x="6209" y="17075"/>
                  </a:moveTo>
                  <a:lnTo>
                    <a:pt x="7140" y="11487"/>
                  </a:lnTo>
                  <a:lnTo>
                    <a:pt x="7140" y="9624"/>
                  </a:lnTo>
                  <a:lnTo>
                    <a:pt x="9313" y="6209"/>
                  </a:lnTo>
                  <a:lnTo>
                    <a:pt x="11487" y="4346"/>
                  </a:lnTo>
                  <a:lnTo>
                    <a:pt x="12418" y="0"/>
                  </a:lnTo>
                  <a:lnTo>
                    <a:pt x="9313" y="0"/>
                  </a:lnTo>
                  <a:lnTo>
                    <a:pt x="7140" y="4346"/>
                  </a:lnTo>
                  <a:lnTo>
                    <a:pt x="4036" y="7451"/>
                  </a:lnTo>
                  <a:lnTo>
                    <a:pt x="2173" y="9624"/>
                  </a:lnTo>
                  <a:lnTo>
                    <a:pt x="0" y="11487"/>
                  </a:lnTo>
                  <a:lnTo>
                    <a:pt x="0" y="13660"/>
                  </a:lnTo>
                  <a:lnTo>
                    <a:pt x="2173" y="14901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EFE59D6-5DA0-4311-AE87-7F5ECED93460}"/>
                </a:ext>
              </a:extLst>
            </p:cNvPr>
            <p:cNvSpPr/>
            <p:nvPr/>
          </p:nvSpPr>
          <p:spPr>
            <a:xfrm>
              <a:off x="3707286" y="4372477"/>
              <a:ext cx="55880" cy="43462"/>
            </a:xfrm>
            <a:custGeom>
              <a:avLst/>
              <a:gdLst>
                <a:gd name="connsiteX0" fmla="*/ 16764 w 55880"/>
                <a:gd name="connsiteY0" fmla="*/ 37564 h 43462"/>
                <a:gd name="connsiteX1" fmla="*/ 23904 w 55880"/>
                <a:gd name="connsiteY1" fmla="*/ 45015 h 43462"/>
                <a:gd name="connsiteX2" fmla="*/ 32286 w 55880"/>
                <a:gd name="connsiteY2" fmla="*/ 45015 h 43462"/>
                <a:gd name="connsiteX3" fmla="*/ 38495 w 55880"/>
                <a:gd name="connsiteY3" fmla="*/ 44083 h 43462"/>
                <a:gd name="connsiteX4" fmla="*/ 43773 w 55880"/>
                <a:gd name="connsiteY4" fmla="*/ 44083 h 43462"/>
                <a:gd name="connsiteX5" fmla="*/ 46877 w 55880"/>
                <a:gd name="connsiteY5" fmla="*/ 41910 h 43462"/>
                <a:gd name="connsiteX6" fmla="*/ 51224 w 55880"/>
                <a:gd name="connsiteY6" fmla="*/ 36633 h 43462"/>
                <a:gd name="connsiteX7" fmla="*/ 56191 w 55880"/>
                <a:gd name="connsiteY7" fmla="*/ 36633 h 43462"/>
                <a:gd name="connsiteX8" fmla="*/ 41600 w 55880"/>
                <a:gd name="connsiteY8" fmla="*/ 22973 h 43462"/>
                <a:gd name="connsiteX9" fmla="*/ 27009 w 55880"/>
                <a:gd name="connsiteY9" fmla="*/ 10245 h 43462"/>
                <a:gd name="connsiteX10" fmla="*/ 10555 w 55880"/>
                <a:gd name="connsiteY10" fmla="*/ 0 h 43462"/>
                <a:gd name="connsiteX11" fmla="*/ 12418 w 55880"/>
                <a:gd name="connsiteY11" fmla="*/ 7140 h 43462"/>
                <a:gd name="connsiteX12" fmla="*/ 12418 w 55880"/>
                <a:gd name="connsiteY12" fmla="*/ 10245 h 43462"/>
                <a:gd name="connsiteX13" fmla="*/ 14591 w 55880"/>
                <a:gd name="connsiteY13" fmla="*/ 12418 h 43462"/>
                <a:gd name="connsiteX14" fmla="*/ 16764 w 55880"/>
                <a:gd name="connsiteY14" fmla="*/ 15522 h 43462"/>
                <a:gd name="connsiteX15" fmla="*/ 0 w 55880"/>
                <a:gd name="connsiteY15" fmla="*/ 25146 h 43462"/>
                <a:gd name="connsiteX16" fmla="*/ 0 w 55880"/>
                <a:gd name="connsiteY16" fmla="*/ 29182 h 43462"/>
                <a:gd name="connsiteX17" fmla="*/ 9313 w 55880"/>
                <a:gd name="connsiteY17" fmla="*/ 32286 h 43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5880" h="43462">
                  <a:moveTo>
                    <a:pt x="16764" y="37564"/>
                  </a:moveTo>
                  <a:lnTo>
                    <a:pt x="23904" y="45015"/>
                  </a:lnTo>
                  <a:lnTo>
                    <a:pt x="32286" y="45015"/>
                  </a:lnTo>
                  <a:lnTo>
                    <a:pt x="38495" y="44083"/>
                  </a:lnTo>
                  <a:lnTo>
                    <a:pt x="43773" y="44083"/>
                  </a:lnTo>
                  <a:lnTo>
                    <a:pt x="46877" y="41910"/>
                  </a:lnTo>
                  <a:lnTo>
                    <a:pt x="51224" y="36633"/>
                  </a:lnTo>
                  <a:lnTo>
                    <a:pt x="56191" y="36633"/>
                  </a:lnTo>
                  <a:lnTo>
                    <a:pt x="41600" y="22973"/>
                  </a:lnTo>
                  <a:lnTo>
                    <a:pt x="27009" y="10245"/>
                  </a:lnTo>
                  <a:lnTo>
                    <a:pt x="10555" y="0"/>
                  </a:lnTo>
                  <a:lnTo>
                    <a:pt x="12418" y="7140"/>
                  </a:lnTo>
                  <a:lnTo>
                    <a:pt x="12418" y="10245"/>
                  </a:lnTo>
                  <a:lnTo>
                    <a:pt x="14591" y="12418"/>
                  </a:lnTo>
                  <a:lnTo>
                    <a:pt x="16764" y="15522"/>
                  </a:lnTo>
                  <a:lnTo>
                    <a:pt x="0" y="25146"/>
                  </a:lnTo>
                  <a:lnTo>
                    <a:pt x="0" y="29182"/>
                  </a:lnTo>
                  <a:lnTo>
                    <a:pt x="9313" y="32286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0BA8FC70-5CBE-489C-8A16-0CDD5A9D5890}"/>
                </a:ext>
              </a:extLst>
            </p:cNvPr>
            <p:cNvSpPr/>
            <p:nvPr/>
          </p:nvSpPr>
          <p:spPr>
            <a:xfrm>
              <a:off x="3927081" y="4626422"/>
              <a:ext cx="24836" cy="21731"/>
            </a:xfrm>
            <a:custGeom>
              <a:avLst/>
              <a:gdLst>
                <a:gd name="connsiteX0" fmla="*/ 24215 w 24835"/>
                <a:gd name="connsiteY0" fmla="*/ 4346 h 21731"/>
                <a:gd name="connsiteX1" fmla="*/ 19869 w 24835"/>
                <a:gd name="connsiteY1" fmla="*/ 0 h 21731"/>
                <a:gd name="connsiteX2" fmla="*/ 14591 w 24835"/>
                <a:gd name="connsiteY2" fmla="*/ 6519 h 21731"/>
                <a:gd name="connsiteX3" fmla="*/ 7451 w 24835"/>
                <a:gd name="connsiteY3" fmla="*/ 9624 h 21731"/>
                <a:gd name="connsiteX4" fmla="*/ 0 w 24835"/>
                <a:gd name="connsiteY4" fmla="*/ 12728 h 21731"/>
                <a:gd name="connsiteX5" fmla="*/ 0 w 24835"/>
                <a:gd name="connsiteY5" fmla="*/ 17075 h 21731"/>
                <a:gd name="connsiteX6" fmla="*/ 4346 w 24835"/>
                <a:gd name="connsiteY6" fmla="*/ 17075 h 21731"/>
                <a:gd name="connsiteX7" fmla="*/ 9624 w 24835"/>
                <a:gd name="connsiteY7" fmla="*/ 20179 h 21731"/>
                <a:gd name="connsiteX8" fmla="*/ 16764 w 24835"/>
                <a:gd name="connsiteY8" fmla="*/ 22042 h 21731"/>
                <a:gd name="connsiteX9" fmla="*/ 24215 w 24835"/>
                <a:gd name="connsiteY9" fmla="*/ 24215 h 21731"/>
                <a:gd name="connsiteX10" fmla="*/ 24215 w 24835"/>
                <a:gd name="connsiteY10" fmla="*/ 20179 h 21731"/>
                <a:gd name="connsiteX11" fmla="*/ 27319 w 24835"/>
                <a:gd name="connsiteY11" fmla="*/ 20179 h 21731"/>
                <a:gd name="connsiteX12" fmla="*/ 27319 w 24835"/>
                <a:gd name="connsiteY12" fmla="*/ 14901 h 21731"/>
                <a:gd name="connsiteX13" fmla="*/ 27319 w 24835"/>
                <a:gd name="connsiteY13" fmla="*/ 11797 h 21731"/>
                <a:gd name="connsiteX14" fmla="*/ 26077 w 24835"/>
                <a:gd name="connsiteY14" fmla="*/ 7451 h 21731"/>
                <a:gd name="connsiteX15" fmla="*/ 26077 w 24835"/>
                <a:gd name="connsiteY15" fmla="*/ 6519 h 21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4835" h="21731">
                  <a:moveTo>
                    <a:pt x="24215" y="4346"/>
                  </a:moveTo>
                  <a:lnTo>
                    <a:pt x="19869" y="0"/>
                  </a:lnTo>
                  <a:lnTo>
                    <a:pt x="14591" y="6519"/>
                  </a:lnTo>
                  <a:lnTo>
                    <a:pt x="7451" y="9624"/>
                  </a:lnTo>
                  <a:lnTo>
                    <a:pt x="0" y="12728"/>
                  </a:lnTo>
                  <a:lnTo>
                    <a:pt x="0" y="17075"/>
                  </a:lnTo>
                  <a:lnTo>
                    <a:pt x="4346" y="17075"/>
                  </a:lnTo>
                  <a:lnTo>
                    <a:pt x="9624" y="20179"/>
                  </a:lnTo>
                  <a:lnTo>
                    <a:pt x="16764" y="22042"/>
                  </a:lnTo>
                  <a:lnTo>
                    <a:pt x="24215" y="24215"/>
                  </a:lnTo>
                  <a:lnTo>
                    <a:pt x="24215" y="20179"/>
                  </a:lnTo>
                  <a:lnTo>
                    <a:pt x="27319" y="20179"/>
                  </a:lnTo>
                  <a:lnTo>
                    <a:pt x="27319" y="14901"/>
                  </a:lnTo>
                  <a:lnTo>
                    <a:pt x="27319" y="11797"/>
                  </a:lnTo>
                  <a:lnTo>
                    <a:pt x="26077" y="7451"/>
                  </a:lnTo>
                  <a:lnTo>
                    <a:pt x="26077" y="6519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DEB8E193-62A5-4687-9BDC-DF35EE5F7360}"/>
                </a:ext>
              </a:extLst>
            </p:cNvPr>
            <p:cNvSpPr/>
            <p:nvPr/>
          </p:nvSpPr>
          <p:spPr>
            <a:xfrm>
              <a:off x="3587454" y="4223153"/>
              <a:ext cx="37253" cy="31045"/>
            </a:xfrm>
            <a:custGeom>
              <a:avLst/>
              <a:gdLst>
                <a:gd name="connsiteX0" fmla="*/ 19869 w 37253"/>
                <a:gd name="connsiteY0" fmla="*/ 33528 h 31044"/>
                <a:gd name="connsiteX1" fmla="*/ 25146 w 37253"/>
                <a:gd name="connsiteY1" fmla="*/ 31665 h 31044"/>
                <a:gd name="connsiteX2" fmla="*/ 30424 w 37253"/>
                <a:gd name="connsiteY2" fmla="*/ 31665 h 31044"/>
                <a:gd name="connsiteX3" fmla="*/ 34460 w 37253"/>
                <a:gd name="connsiteY3" fmla="*/ 29492 h 31044"/>
                <a:gd name="connsiteX4" fmla="*/ 39737 w 37253"/>
                <a:gd name="connsiteY4" fmla="*/ 29492 h 31044"/>
                <a:gd name="connsiteX5" fmla="*/ 39737 w 37253"/>
                <a:gd name="connsiteY5" fmla="*/ 22042 h 31044"/>
                <a:gd name="connsiteX6" fmla="*/ 37564 w 37253"/>
                <a:gd name="connsiteY6" fmla="*/ 16764 h 31044"/>
                <a:gd name="connsiteX7" fmla="*/ 37564 w 37253"/>
                <a:gd name="connsiteY7" fmla="*/ 12728 h 31044"/>
                <a:gd name="connsiteX8" fmla="*/ 36633 w 37253"/>
                <a:gd name="connsiteY8" fmla="*/ 7451 h 31044"/>
                <a:gd name="connsiteX9" fmla="*/ 30424 w 37253"/>
                <a:gd name="connsiteY9" fmla="*/ 4346 h 31044"/>
                <a:gd name="connsiteX10" fmla="*/ 22973 w 37253"/>
                <a:gd name="connsiteY10" fmla="*/ 2173 h 31044"/>
                <a:gd name="connsiteX11" fmla="*/ 15833 w 37253"/>
                <a:gd name="connsiteY11" fmla="*/ 0 h 31044"/>
                <a:gd name="connsiteX12" fmla="*/ 7451 w 37253"/>
                <a:gd name="connsiteY12" fmla="*/ 0 h 31044"/>
                <a:gd name="connsiteX13" fmla="*/ 0 w 37253"/>
                <a:gd name="connsiteY13" fmla="*/ 16764 h 31044"/>
                <a:gd name="connsiteX14" fmla="*/ 10555 w 37253"/>
                <a:gd name="connsiteY14" fmla="*/ 24215 h 31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7253" h="31044">
                  <a:moveTo>
                    <a:pt x="19869" y="33528"/>
                  </a:moveTo>
                  <a:lnTo>
                    <a:pt x="25146" y="31665"/>
                  </a:lnTo>
                  <a:lnTo>
                    <a:pt x="30424" y="31665"/>
                  </a:lnTo>
                  <a:lnTo>
                    <a:pt x="34460" y="29492"/>
                  </a:lnTo>
                  <a:lnTo>
                    <a:pt x="39737" y="29492"/>
                  </a:lnTo>
                  <a:lnTo>
                    <a:pt x="39737" y="22042"/>
                  </a:lnTo>
                  <a:lnTo>
                    <a:pt x="37564" y="16764"/>
                  </a:lnTo>
                  <a:lnTo>
                    <a:pt x="37564" y="12728"/>
                  </a:lnTo>
                  <a:lnTo>
                    <a:pt x="36633" y="7451"/>
                  </a:lnTo>
                  <a:lnTo>
                    <a:pt x="30424" y="4346"/>
                  </a:lnTo>
                  <a:lnTo>
                    <a:pt x="22973" y="2173"/>
                  </a:lnTo>
                  <a:lnTo>
                    <a:pt x="15833" y="0"/>
                  </a:lnTo>
                  <a:lnTo>
                    <a:pt x="7451" y="0"/>
                  </a:lnTo>
                  <a:lnTo>
                    <a:pt x="0" y="16764"/>
                  </a:lnTo>
                  <a:lnTo>
                    <a:pt x="10555" y="24215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664E3F6C-3D5F-4C51-85A7-BF1E9FB09155}"/>
                </a:ext>
              </a:extLst>
            </p:cNvPr>
            <p:cNvSpPr/>
            <p:nvPr/>
          </p:nvSpPr>
          <p:spPr>
            <a:xfrm>
              <a:off x="2717274" y="4696893"/>
              <a:ext cx="18627" cy="9313"/>
            </a:xfrm>
            <a:custGeom>
              <a:avLst/>
              <a:gdLst>
                <a:gd name="connsiteX0" fmla="*/ 4346 w 18626"/>
                <a:gd name="connsiteY0" fmla="*/ 3104 h 9313"/>
                <a:gd name="connsiteX1" fmla="*/ 7451 w 18626"/>
                <a:gd name="connsiteY1" fmla="*/ 5278 h 9313"/>
                <a:gd name="connsiteX2" fmla="*/ 11486 w 18626"/>
                <a:gd name="connsiteY2" fmla="*/ 8382 h 9313"/>
                <a:gd name="connsiteX3" fmla="*/ 16764 w 18626"/>
                <a:gd name="connsiteY3" fmla="*/ 10555 h 9313"/>
                <a:gd name="connsiteX4" fmla="*/ 16764 w 18626"/>
                <a:gd name="connsiteY4" fmla="*/ 7451 h 9313"/>
                <a:gd name="connsiteX5" fmla="*/ 20800 w 18626"/>
                <a:gd name="connsiteY5" fmla="*/ 7451 h 9313"/>
                <a:gd name="connsiteX6" fmla="*/ 20800 w 18626"/>
                <a:gd name="connsiteY6" fmla="*/ 0 h 9313"/>
                <a:gd name="connsiteX7" fmla="*/ 0 w 18626"/>
                <a:gd name="connsiteY7" fmla="*/ 0 h 9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626" h="9313">
                  <a:moveTo>
                    <a:pt x="4346" y="3104"/>
                  </a:moveTo>
                  <a:lnTo>
                    <a:pt x="7451" y="5278"/>
                  </a:lnTo>
                  <a:lnTo>
                    <a:pt x="11486" y="8382"/>
                  </a:lnTo>
                  <a:lnTo>
                    <a:pt x="16764" y="10555"/>
                  </a:lnTo>
                  <a:lnTo>
                    <a:pt x="16764" y="7451"/>
                  </a:lnTo>
                  <a:lnTo>
                    <a:pt x="20800" y="7451"/>
                  </a:lnTo>
                  <a:lnTo>
                    <a:pt x="2080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BB19DAAA-AA46-437B-ABA1-CCFC4078D8A5}"/>
                </a:ext>
              </a:extLst>
            </p:cNvPr>
            <p:cNvSpPr/>
            <p:nvPr/>
          </p:nvSpPr>
          <p:spPr>
            <a:xfrm>
              <a:off x="2917512" y="4768295"/>
              <a:ext cx="31045" cy="34149"/>
            </a:xfrm>
            <a:custGeom>
              <a:avLst/>
              <a:gdLst>
                <a:gd name="connsiteX0" fmla="*/ 21731 w 31044"/>
                <a:gd name="connsiteY0" fmla="*/ 3104 h 34149"/>
                <a:gd name="connsiteX1" fmla="*/ 16764 w 31044"/>
                <a:gd name="connsiteY1" fmla="*/ 5278 h 34149"/>
                <a:gd name="connsiteX2" fmla="*/ 13349 w 31044"/>
                <a:gd name="connsiteY2" fmla="*/ 7451 h 34149"/>
                <a:gd name="connsiteX3" fmla="*/ 0 w 31044"/>
                <a:gd name="connsiteY3" fmla="*/ 12728 h 34149"/>
                <a:gd name="connsiteX4" fmla="*/ 2173 w 31044"/>
                <a:gd name="connsiteY4" fmla="*/ 18006 h 34149"/>
                <a:gd name="connsiteX5" fmla="*/ 2173 w 31044"/>
                <a:gd name="connsiteY5" fmla="*/ 23283 h 34149"/>
                <a:gd name="connsiteX6" fmla="*/ 4036 w 31044"/>
                <a:gd name="connsiteY6" fmla="*/ 29492 h 34149"/>
                <a:gd name="connsiteX7" fmla="*/ 6209 w 31044"/>
                <a:gd name="connsiteY7" fmla="*/ 32597 h 34149"/>
                <a:gd name="connsiteX8" fmla="*/ 9313 w 31044"/>
                <a:gd name="connsiteY8" fmla="*/ 36943 h 34149"/>
                <a:gd name="connsiteX9" fmla="*/ 11487 w 31044"/>
                <a:gd name="connsiteY9" fmla="*/ 34770 h 34149"/>
                <a:gd name="connsiteX10" fmla="*/ 18627 w 31044"/>
                <a:gd name="connsiteY10" fmla="*/ 30424 h 34149"/>
                <a:gd name="connsiteX11" fmla="*/ 26077 w 31044"/>
                <a:gd name="connsiteY11" fmla="*/ 25146 h 34149"/>
                <a:gd name="connsiteX12" fmla="*/ 31355 w 31044"/>
                <a:gd name="connsiteY12" fmla="*/ 15833 h 34149"/>
                <a:gd name="connsiteX13" fmla="*/ 31355 w 31044"/>
                <a:gd name="connsiteY13" fmla="*/ 8382 h 34149"/>
                <a:gd name="connsiteX14" fmla="*/ 26077 w 31044"/>
                <a:gd name="connsiteY14" fmla="*/ 0 h 3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1044" h="34149">
                  <a:moveTo>
                    <a:pt x="21731" y="3104"/>
                  </a:moveTo>
                  <a:lnTo>
                    <a:pt x="16764" y="5278"/>
                  </a:lnTo>
                  <a:lnTo>
                    <a:pt x="13349" y="7451"/>
                  </a:lnTo>
                  <a:lnTo>
                    <a:pt x="0" y="12728"/>
                  </a:lnTo>
                  <a:lnTo>
                    <a:pt x="2173" y="18006"/>
                  </a:lnTo>
                  <a:lnTo>
                    <a:pt x="2173" y="23283"/>
                  </a:lnTo>
                  <a:lnTo>
                    <a:pt x="4036" y="29492"/>
                  </a:lnTo>
                  <a:lnTo>
                    <a:pt x="6209" y="32597"/>
                  </a:lnTo>
                  <a:lnTo>
                    <a:pt x="9313" y="36943"/>
                  </a:lnTo>
                  <a:lnTo>
                    <a:pt x="11487" y="34770"/>
                  </a:lnTo>
                  <a:lnTo>
                    <a:pt x="18627" y="30424"/>
                  </a:lnTo>
                  <a:lnTo>
                    <a:pt x="26077" y="25146"/>
                  </a:lnTo>
                  <a:lnTo>
                    <a:pt x="31355" y="15833"/>
                  </a:lnTo>
                  <a:lnTo>
                    <a:pt x="31355" y="8382"/>
                  </a:lnTo>
                  <a:lnTo>
                    <a:pt x="26077" y="0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82E46428-C3D6-4EF3-AE8F-6AD84337A2AA}"/>
                </a:ext>
              </a:extLst>
            </p:cNvPr>
            <p:cNvSpPr/>
            <p:nvPr/>
          </p:nvSpPr>
          <p:spPr>
            <a:xfrm>
              <a:off x="3423849" y="4239917"/>
              <a:ext cx="245252" cy="170745"/>
            </a:xfrm>
            <a:custGeom>
              <a:avLst/>
              <a:gdLst>
                <a:gd name="connsiteX0" fmla="*/ 7451 w 245252"/>
                <a:gd name="connsiteY0" fmla="*/ 86304 h 170745"/>
                <a:gd name="connsiteX1" fmla="*/ 12418 w 245252"/>
                <a:gd name="connsiteY1" fmla="*/ 96859 h 170745"/>
                <a:gd name="connsiteX2" fmla="*/ 14591 w 245252"/>
                <a:gd name="connsiteY2" fmla="*/ 108346 h 170745"/>
                <a:gd name="connsiteX3" fmla="*/ 30424 w 245252"/>
                <a:gd name="connsiteY3" fmla="*/ 108346 h 170745"/>
                <a:gd name="connsiteX4" fmla="*/ 43773 w 245252"/>
                <a:gd name="connsiteY4" fmla="*/ 108346 h 170745"/>
                <a:gd name="connsiteX5" fmla="*/ 49982 w 245252"/>
                <a:gd name="connsiteY5" fmla="*/ 108346 h 170745"/>
                <a:gd name="connsiteX6" fmla="*/ 63641 w 245252"/>
                <a:gd name="connsiteY6" fmla="*/ 110519 h 170745"/>
                <a:gd name="connsiteX7" fmla="*/ 70782 w 245252"/>
                <a:gd name="connsiteY7" fmla="*/ 111450 h 170745"/>
                <a:gd name="connsiteX8" fmla="*/ 76059 w 245252"/>
                <a:gd name="connsiteY8" fmla="*/ 115486 h 170745"/>
                <a:gd name="connsiteX9" fmla="*/ 83510 w 245252"/>
                <a:gd name="connsiteY9" fmla="*/ 120763 h 170745"/>
                <a:gd name="connsiteX10" fmla="*/ 83510 w 245252"/>
                <a:gd name="connsiteY10" fmla="*/ 125110 h 170745"/>
                <a:gd name="connsiteX11" fmla="*/ 66746 w 245252"/>
                <a:gd name="connsiteY11" fmla="*/ 126041 h 170745"/>
                <a:gd name="connsiteX12" fmla="*/ 49982 w 245252"/>
                <a:gd name="connsiteY12" fmla="*/ 128214 h 170745"/>
                <a:gd name="connsiteX13" fmla="*/ 36633 w 245252"/>
                <a:gd name="connsiteY13" fmla="*/ 132560 h 170745"/>
                <a:gd name="connsiteX14" fmla="*/ 27009 w 245252"/>
                <a:gd name="connsiteY14" fmla="*/ 140942 h 170745"/>
                <a:gd name="connsiteX15" fmla="*/ 22973 w 245252"/>
                <a:gd name="connsiteY15" fmla="*/ 140942 h 170745"/>
                <a:gd name="connsiteX16" fmla="*/ 29182 w 245252"/>
                <a:gd name="connsiteY16" fmla="*/ 152429 h 170745"/>
                <a:gd name="connsiteX17" fmla="*/ 37564 w 245252"/>
                <a:gd name="connsiteY17" fmla="*/ 157706 h 170745"/>
                <a:gd name="connsiteX18" fmla="*/ 46877 w 245252"/>
                <a:gd name="connsiteY18" fmla="*/ 159880 h 170745"/>
                <a:gd name="connsiteX19" fmla="*/ 57432 w 245252"/>
                <a:gd name="connsiteY19" fmla="*/ 161742 h 170745"/>
                <a:gd name="connsiteX20" fmla="*/ 70782 w 245252"/>
                <a:gd name="connsiteY20" fmla="*/ 164847 h 170745"/>
                <a:gd name="connsiteX21" fmla="*/ 95928 w 245252"/>
                <a:gd name="connsiteY21" fmla="*/ 172297 h 170745"/>
                <a:gd name="connsiteX22" fmla="*/ 117659 w 245252"/>
                <a:gd name="connsiteY22" fmla="*/ 172297 h 170745"/>
                <a:gd name="connsiteX23" fmla="*/ 137527 w 245252"/>
                <a:gd name="connsiteY23" fmla="*/ 169193 h 170745"/>
                <a:gd name="connsiteX24" fmla="*/ 157396 w 245252"/>
                <a:gd name="connsiteY24" fmla="*/ 162984 h 170745"/>
                <a:gd name="connsiteX25" fmla="*/ 178196 w 245252"/>
                <a:gd name="connsiteY25" fmla="*/ 159880 h 170745"/>
                <a:gd name="connsiteX26" fmla="*/ 195891 w 245252"/>
                <a:gd name="connsiteY26" fmla="*/ 161742 h 170745"/>
                <a:gd name="connsiteX27" fmla="*/ 214828 w 245252"/>
                <a:gd name="connsiteY27" fmla="*/ 169193 h 170745"/>
                <a:gd name="connsiteX28" fmla="*/ 225073 w 245252"/>
                <a:gd name="connsiteY28" fmla="*/ 169193 h 170745"/>
                <a:gd name="connsiteX29" fmla="*/ 234387 w 245252"/>
                <a:gd name="connsiteY29" fmla="*/ 167020 h 170745"/>
                <a:gd name="connsiteX30" fmla="*/ 244010 w 245252"/>
                <a:gd name="connsiteY30" fmla="*/ 164847 h 170745"/>
                <a:gd name="connsiteX31" fmla="*/ 241837 w 245252"/>
                <a:gd name="connsiteY31" fmla="*/ 159880 h 170745"/>
                <a:gd name="connsiteX32" fmla="*/ 241837 w 245252"/>
                <a:gd name="connsiteY32" fmla="*/ 157706 h 170745"/>
                <a:gd name="connsiteX33" fmla="*/ 241837 w 245252"/>
                <a:gd name="connsiteY33" fmla="*/ 154602 h 170745"/>
                <a:gd name="connsiteX34" fmla="*/ 239664 w 245252"/>
                <a:gd name="connsiteY34" fmla="*/ 154602 h 170745"/>
                <a:gd name="connsiteX35" fmla="*/ 237491 w 245252"/>
                <a:gd name="connsiteY35" fmla="*/ 152429 h 170745"/>
                <a:gd name="connsiteX36" fmla="*/ 234387 w 245252"/>
                <a:gd name="connsiteY36" fmla="*/ 148083 h 170745"/>
                <a:gd name="connsiteX37" fmla="*/ 234387 w 245252"/>
                <a:gd name="connsiteY37" fmla="*/ 140942 h 170745"/>
                <a:gd name="connsiteX38" fmla="*/ 237491 w 245252"/>
                <a:gd name="connsiteY38" fmla="*/ 142805 h 170745"/>
                <a:gd name="connsiteX39" fmla="*/ 239664 w 245252"/>
                <a:gd name="connsiteY39" fmla="*/ 144978 h 170745"/>
                <a:gd name="connsiteX40" fmla="*/ 241837 w 245252"/>
                <a:gd name="connsiteY40" fmla="*/ 147151 h 170745"/>
                <a:gd name="connsiteX41" fmla="*/ 244010 w 245252"/>
                <a:gd name="connsiteY41" fmla="*/ 148083 h 170745"/>
                <a:gd name="connsiteX42" fmla="*/ 247115 w 245252"/>
                <a:gd name="connsiteY42" fmla="*/ 148083 h 170745"/>
                <a:gd name="connsiteX43" fmla="*/ 244942 w 245252"/>
                <a:gd name="connsiteY43" fmla="*/ 132560 h 170745"/>
                <a:gd name="connsiteX44" fmla="*/ 239664 w 245252"/>
                <a:gd name="connsiteY44" fmla="*/ 122937 h 170745"/>
                <a:gd name="connsiteX45" fmla="*/ 230351 w 245252"/>
                <a:gd name="connsiteY45" fmla="*/ 115486 h 170745"/>
                <a:gd name="connsiteX46" fmla="*/ 219796 w 245252"/>
                <a:gd name="connsiteY46" fmla="*/ 113623 h 170745"/>
                <a:gd name="connsiteX47" fmla="*/ 203342 w 245252"/>
                <a:gd name="connsiteY47" fmla="*/ 111450 h 170745"/>
                <a:gd name="connsiteX48" fmla="*/ 198064 w 245252"/>
                <a:gd name="connsiteY48" fmla="*/ 83199 h 170745"/>
                <a:gd name="connsiteX49" fmla="*/ 192787 w 245252"/>
                <a:gd name="connsiteY49" fmla="*/ 54638 h 170745"/>
                <a:gd name="connsiteX50" fmla="*/ 185647 w 245252"/>
                <a:gd name="connsiteY50" fmla="*/ 32597 h 170745"/>
                <a:gd name="connsiteX51" fmla="*/ 171987 w 245252"/>
                <a:gd name="connsiteY51" fmla="*/ 14901 h 170745"/>
                <a:gd name="connsiteX52" fmla="*/ 150256 w 245252"/>
                <a:gd name="connsiteY52" fmla="*/ 0 h 170745"/>
                <a:gd name="connsiteX53" fmla="*/ 144978 w 245252"/>
                <a:gd name="connsiteY53" fmla="*/ 10555 h 170745"/>
                <a:gd name="connsiteX54" fmla="*/ 143736 w 245252"/>
                <a:gd name="connsiteY54" fmla="*/ 22042 h 170745"/>
                <a:gd name="connsiteX55" fmla="*/ 150256 w 245252"/>
                <a:gd name="connsiteY55" fmla="*/ 32597 h 170745"/>
                <a:gd name="connsiteX56" fmla="*/ 150256 w 245252"/>
                <a:gd name="connsiteY56" fmla="*/ 40048 h 170745"/>
                <a:gd name="connsiteX57" fmla="*/ 150256 w 245252"/>
                <a:gd name="connsiteY57" fmla="*/ 46256 h 170745"/>
                <a:gd name="connsiteX58" fmla="*/ 149014 w 245252"/>
                <a:gd name="connsiteY58" fmla="*/ 51534 h 170745"/>
                <a:gd name="connsiteX59" fmla="*/ 146841 w 245252"/>
                <a:gd name="connsiteY59" fmla="*/ 56812 h 170745"/>
                <a:gd name="connsiteX60" fmla="*/ 141874 w 245252"/>
                <a:gd name="connsiteY60" fmla="*/ 49361 h 170745"/>
                <a:gd name="connsiteX61" fmla="*/ 134423 w 245252"/>
                <a:gd name="connsiteY61" fmla="*/ 38806 h 170745"/>
                <a:gd name="connsiteX62" fmla="*/ 127283 w 245252"/>
                <a:gd name="connsiteY62" fmla="*/ 24215 h 170745"/>
                <a:gd name="connsiteX63" fmla="*/ 122005 w 245252"/>
                <a:gd name="connsiteY63" fmla="*/ 25457 h 170745"/>
                <a:gd name="connsiteX64" fmla="*/ 115796 w 245252"/>
                <a:gd name="connsiteY64" fmla="*/ 25457 h 170745"/>
                <a:gd name="connsiteX65" fmla="*/ 114555 w 245252"/>
                <a:gd name="connsiteY65" fmla="*/ 27319 h 170745"/>
                <a:gd name="connsiteX66" fmla="*/ 110519 w 245252"/>
                <a:gd name="connsiteY66" fmla="*/ 29492 h 170745"/>
                <a:gd name="connsiteX67" fmla="*/ 108346 w 245252"/>
                <a:gd name="connsiteY67" fmla="*/ 31666 h 170745"/>
                <a:gd name="connsiteX68" fmla="*/ 107414 w 245252"/>
                <a:gd name="connsiteY68" fmla="*/ 36943 h 170745"/>
                <a:gd name="connsiteX69" fmla="*/ 103068 w 245252"/>
                <a:gd name="connsiteY69" fmla="*/ 32597 h 170745"/>
                <a:gd name="connsiteX70" fmla="*/ 99964 w 245252"/>
                <a:gd name="connsiteY70" fmla="*/ 31666 h 170745"/>
                <a:gd name="connsiteX71" fmla="*/ 98101 w 245252"/>
                <a:gd name="connsiteY71" fmla="*/ 27319 h 170745"/>
                <a:gd name="connsiteX72" fmla="*/ 95928 w 245252"/>
                <a:gd name="connsiteY72" fmla="*/ 24215 h 170745"/>
                <a:gd name="connsiteX73" fmla="*/ 93755 w 245252"/>
                <a:gd name="connsiteY73" fmla="*/ 22042 h 170745"/>
                <a:gd name="connsiteX74" fmla="*/ 90650 w 245252"/>
                <a:gd name="connsiteY74" fmla="*/ 20179 h 170745"/>
                <a:gd name="connsiteX75" fmla="*/ 83510 w 245252"/>
                <a:gd name="connsiteY75" fmla="*/ 20179 h 170745"/>
                <a:gd name="connsiteX76" fmla="*/ 72023 w 245252"/>
                <a:gd name="connsiteY76" fmla="*/ 20179 h 170745"/>
                <a:gd name="connsiteX77" fmla="*/ 59295 w 245252"/>
                <a:gd name="connsiteY77" fmla="*/ 20179 h 170745"/>
                <a:gd name="connsiteX78" fmla="*/ 49982 w 245252"/>
                <a:gd name="connsiteY78" fmla="*/ 20179 h 170745"/>
                <a:gd name="connsiteX79" fmla="*/ 49982 w 245252"/>
                <a:gd name="connsiteY79" fmla="*/ 16764 h 170745"/>
                <a:gd name="connsiteX80" fmla="*/ 49050 w 245252"/>
                <a:gd name="connsiteY80" fmla="*/ 14901 h 170745"/>
                <a:gd name="connsiteX81" fmla="*/ 49050 w 245252"/>
                <a:gd name="connsiteY81" fmla="*/ 12728 h 170745"/>
                <a:gd name="connsiteX82" fmla="*/ 49982 w 245252"/>
                <a:gd name="connsiteY82" fmla="*/ 12728 h 170745"/>
                <a:gd name="connsiteX83" fmla="*/ 49982 w 245252"/>
                <a:gd name="connsiteY83" fmla="*/ 10555 h 170745"/>
                <a:gd name="connsiteX84" fmla="*/ 49982 w 245252"/>
                <a:gd name="connsiteY84" fmla="*/ 7451 h 170745"/>
                <a:gd name="connsiteX85" fmla="*/ 46877 w 245252"/>
                <a:gd name="connsiteY85" fmla="*/ 7451 h 170745"/>
                <a:gd name="connsiteX86" fmla="*/ 34459 w 245252"/>
                <a:gd name="connsiteY86" fmla="*/ 5278 h 170745"/>
                <a:gd name="connsiteX87" fmla="*/ 22973 w 245252"/>
                <a:gd name="connsiteY87" fmla="*/ 12728 h 170745"/>
                <a:gd name="connsiteX88" fmla="*/ 14591 w 245252"/>
                <a:gd name="connsiteY88" fmla="*/ 24215 h 170745"/>
                <a:gd name="connsiteX89" fmla="*/ 7451 w 245252"/>
                <a:gd name="connsiteY89" fmla="*/ 36943 h 170745"/>
                <a:gd name="connsiteX90" fmla="*/ 0 w 245252"/>
                <a:gd name="connsiteY90" fmla="*/ 47498 h 170745"/>
                <a:gd name="connsiteX91" fmla="*/ 0 w 245252"/>
                <a:gd name="connsiteY91" fmla="*/ 66125 h 170745"/>
                <a:gd name="connsiteX92" fmla="*/ 3104 w 245252"/>
                <a:gd name="connsiteY92" fmla="*/ 76680 h 170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245252" h="170745">
                  <a:moveTo>
                    <a:pt x="7451" y="86304"/>
                  </a:moveTo>
                  <a:lnTo>
                    <a:pt x="12418" y="96859"/>
                  </a:lnTo>
                  <a:lnTo>
                    <a:pt x="14591" y="108346"/>
                  </a:lnTo>
                  <a:lnTo>
                    <a:pt x="30424" y="108346"/>
                  </a:lnTo>
                  <a:lnTo>
                    <a:pt x="43773" y="108346"/>
                  </a:lnTo>
                  <a:lnTo>
                    <a:pt x="49982" y="108346"/>
                  </a:lnTo>
                  <a:lnTo>
                    <a:pt x="63641" y="110519"/>
                  </a:lnTo>
                  <a:lnTo>
                    <a:pt x="70782" y="111450"/>
                  </a:lnTo>
                  <a:lnTo>
                    <a:pt x="76059" y="115486"/>
                  </a:lnTo>
                  <a:lnTo>
                    <a:pt x="83510" y="120763"/>
                  </a:lnTo>
                  <a:lnTo>
                    <a:pt x="83510" y="125110"/>
                  </a:lnTo>
                  <a:lnTo>
                    <a:pt x="66746" y="126041"/>
                  </a:lnTo>
                  <a:lnTo>
                    <a:pt x="49982" y="128214"/>
                  </a:lnTo>
                  <a:lnTo>
                    <a:pt x="36633" y="132560"/>
                  </a:lnTo>
                  <a:lnTo>
                    <a:pt x="27009" y="140942"/>
                  </a:lnTo>
                  <a:lnTo>
                    <a:pt x="22973" y="140942"/>
                  </a:lnTo>
                  <a:lnTo>
                    <a:pt x="29182" y="152429"/>
                  </a:lnTo>
                  <a:lnTo>
                    <a:pt x="37564" y="157706"/>
                  </a:lnTo>
                  <a:lnTo>
                    <a:pt x="46877" y="159880"/>
                  </a:lnTo>
                  <a:lnTo>
                    <a:pt x="57432" y="161742"/>
                  </a:lnTo>
                  <a:lnTo>
                    <a:pt x="70782" y="164847"/>
                  </a:lnTo>
                  <a:lnTo>
                    <a:pt x="95928" y="172297"/>
                  </a:lnTo>
                  <a:lnTo>
                    <a:pt x="117659" y="172297"/>
                  </a:lnTo>
                  <a:lnTo>
                    <a:pt x="137527" y="169193"/>
                  </a:lnTo>
                  <a:lnTo>
                    <a:pt x="157396" y="162984"/>
                  </a:lnTo>
                  <a:lnTo>
                    <a:pt x="178196" y="159880"/>
                  </a:lnTo>
                  <a:lnTo>
                    <a:pt x="195891" y="161742"/>
                  </a:lnTo>
                  <a:lnTo>
                    <a:pt x="214828" y="169193"/>
                  </a:lnTo>
                  <a:lnTo>
                    <a:pt x="225073" y="169193"/>
                  </a:lnTo>
                  <a:lnTo>
                    <a:pt x="234387" y="167020"/>
                  </a:lnTo>
                  <a:lnTo>
                    <a:pt x="244010" y="164847"/>
                  </a:lnTo>
                  <a:lnTo>
                    <a:pt x="241837" y="159880"/>
                  </a:lnTo>
                  <a:lnTo>
                    <a:pt x="241837" y="157706"/>
                  </a:lnTo>
                  <a:lnTo>
                    <a:pt x="241837" y="154602"/>
                  </a:lnTo>
                  <a:lnTo>
                    <a:pt x="239664" y="154602"/>
                  </a:lnTo>
                  <a:lnTo>
                    <a:pt x="237491" y="152429"/>
                  </a:lnTo>
                  <a:lnTo>
                    <a:pt x="234387" y="148083"/>
                  </a:lnTo>
                  <a:lnTo>
                    <a:pt x="234387" y="140942"/>
                  </a:lnTo>
                  <a:lnTo>
                    <a:pt x="237491" y="142805"/>
                  </a:lnTo>
                  <a:lnTo>
                    <a:pt x="239664" y="144978"/>
                  </a:lnTo>
                  <a:lnTo>
                    <a:pt x="241837" y="147151"/>
                  </a:lnTo>
                  <a:lnTo>
                    <a:pt x="244010" y="148083"/>
                  </a:lnTo>
                  <a:lnTo>
                    <a:pt x="247115" y="148083"/>
                  </a:lnTo>
                  <a:lnTo>
                    <a:pt x="244942" y="132560"/>
                  </a:lnTo>
                  <a:lnTo>
                    <a:pt x="239664" y="122937"/>
                  </a:lnTo>
                  <a:lnTo>
                    <a:pt x="230351" y="115486"/>
                  </a:lnTo>
                  <a:lnTo>
                    <a:pt x="219796" y="113623"/>
                  </a:lnTo>
                  <a:lnTo>
                    <a:pt x="203342" y="111450"/>
                  </a:lnTo>
                  <a:lnTo>
                    <a:pt x="198064" y="83199"/>
                  </a:lnTo>
                  <a:lnTo>
                    <a:pt x="192787" y="54638"/>
                  </a:lnTo>
                  <a:lnTo>
                    <a:pt x="185647" y="32597"/>
                  </a:lnTo>
                  <a:lnTo>
                    <a:pt x="171987" y="14901"/>
                  </a:lnTo>
                  <a:lnTo>
                    <a:pt x="150256" y="0"/>
                  </a:lnTo>
                  <a:lnTo>
                    <a:pt x="144978" y="10555"/>
                  </a:lnTo>
                  <a:lnTo>
                    <a:pt x="143736" y="22042"/>
                  </a:lnTo>
                  <a:lnTo>
                    <a:pt x="150256" y="32597"/>
                  </a:lnTo>
                  <a:lnTo>
                    <a:pt x="150256" y="40048"/>
                  </a:lnTo>
                  <a:lnTo>
                    <a:pt x="150256" y="46256"/>
                  </a:lnTo>
                  <a:lnTo>
                    <a:pt x="149014" y="51534"/>
                  </a:lnTo>
                  <a:lnTo>
                    <a:pt x="146841" y="56812"/>
                  </a:lnTo>
                  <a:lnTo>
                    <a:pt x="141874" y="49361"/>
                  </a:lnTo>
                  <a:lnTo>
                    <a:pt x="134423" y="38806"/>
                  </a:lnTo>
                  <a:lnTo>
                    <a:pt x="127283" y="24215"/>
                  </a:lnTo>
                  <a:lnTo>
                    <a:pt x="122005" y="25457"/>
                  </a:lnTo>
                  <a:lnTo>
                    <a:pt x="115796" y="25457"/>
                  </a:lnTo>
                  <a:lnTo>
                    <a:pt x="114555" y="27319"/>
                  </a:lnTo>
                  <a:lnTo>
                    <a:pt x="110519" y="29492"/>
                  </a:lnTo>
                  <a:lnTo>
                    <a:pt x="108346" y="31666"/>
                  </a:lnTo>
                  <a:lnTo>
                    <a:pt x="107414" y="36943"/>
                  </a:lnTo>
                  <a:lnTo>
                    <a:pt x="103068" y="32597"/>
                  </a:lnTo>
                  <a:lnTo>
                    <a:pt x="99964" y="31666"/>
                  </a:lnTo>
                  <a:lnTo>
                    <a:pt x="98101" y="27319"/>
                  </a:lnTo>
                  <a:lnTo>
                    <a:pt x="95928" y="24215"/>
                  </a:lnTo>
                  <a:lnTo>
                    <a:pt x="93755" y="22042"/>
                  </a:lnTo>
                  <a:lnTo>
                    <a:pt x="90650" y="20179"/>
                  </a:lnTo>
                  <a:lnTo>
                    <a:pt x="83510" y="20179"/>
                  </a:lnTo>
                  <a:lnTo>
                    <a:pt x="72023" y="20179"/>
                  </a:lnTo>
                  <a:lnTo>
                    <a:pt x="59295" y="20179"/>
                  </a:lnTo>
                  <a:lnTo>
                    <a:pt x="49982" y="20179"/>
                  </a:lnTo>
                  <a:lnTo>
                    <a:pt x="49982" y="16764"/>
                  </a:lnTo>
                  <a:lnTo>
                    <a:pt x="49050" y="14901"/>
                  </a:lnTo>
                  <a:lnTo>
                    <a:pt x="49050" y="12728"/>
                  </a:lnTo>
                  <a:lnTo>
                    <a:pt x="49982" y="12728"/>
                  </a:lnTo>
                  <a:lnTo>
                    <a:pt x="49982" y="10555"/>
                  </a:lnTo>
                  <a:lnTo>
                    <a:pt x="49982" y="7451"/>
                  </a:lnTo>
                  <a:lnTo>
                    <a:pt x="46877" y="7451"/>
                  </a:lnTo>
                  <a:lnTo>
                    <a:pt x="34459" y="5278"/>
                  </a:lnTo>
                  <a:lnTo>
                    <a:pt x="22973" y="12728"/>
                  </a:lnTo>
                  <a:lnTo>
                    <a:pt x="14591" y="24215"/>
                  </a:lnTo>
                  <a:lnTo>
                    <a:pt x="7451" y="36943"/>
                  </a:lnTo>
                  <a:lnTo>
                    <a:pt x="0" y="47498"/>
                  </a:lnTo>
                  <a:lnTo>
                    <a:pt x="0" y="66125"/>
                  </a:lnTo>
                  <a:lnTo>
                    <a:pt x="3104" y="76680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E7BC44B9-2C4B-400F-BF9A-2FDD03526386}"/>
                </a:ext>
              </a:extLst>
            </p:cNvPr>
            <p:cNvSpPr/>
            <p:nvPr/>
          </p:nvSpPr>
          <p:spPr>
            <a:xfrm>
              <a:off x="2687161" y="4573956"/>
              <a:ext cx="37253" cy="27940"/>
            </a:xfrm>
            <a:custGeom>
              <a:avLst/>
              <a:gdLst>
                <a:gd name="connsiteX0" fmla="*/ 32286 w 37253"/>
                <a:gd name="connsiteY0" fmla="*/ 23283 h 27940"/>
                <a:gd name="connsiteX1" fmla="*/ 36322 w 37253"/>
                <a:gd name="connsiteY1" fmla="*/ 23283 h 27940"/>
                <a:gd name="connsiteX2" fmla="*/ 39737 w 37253"/>
                <a:gd name="connsiteY2" fmla="*/ 19869 h 27940"/>
                <a:gd name="connsiteX3" fmla="*/ 30113 w 37253"/>
                <a:gd name="connsiteY3" fmla="*/ 8382 h 27940"/>
                <a:gd name="connsiteX4" fmla="*/ 17695 w 37253"/>
                <a:gd name="connsiteY4" fmla="*/ 3104 h 27940"/>
                <a:gd name="connsiteX5" fmla="*/ 0 w 37253"/>
                <a:gd name="connsiteY5" fmla="*/ 0 h 27940"/>
                <a:gd name="connsiteX6" fmla="*/ 0 w 37253"/>
                <a:gd name="connsiteY6" fmla="*/ 7451 h 27940"/>
                <a:gd name="connsiteX7" fmla="*/ 0 w 37253"/>
                <a:gd name="connsiteY7" fmla="*/ 10555 h 27940"/>
                <a:gd name="connsiteX8" fmla="*/ 3104 w 37253"/>
                <a:gd name="connsiteY8" fmla="*/ 14901 h 27940"/>
                <a:gd name="connsiteX9" fmla="*/ 5278 w 37253"/>
                <a:gd name="connsiteY9" fmla="*/ 15833 h 27940"/>
                <a:gd name="connsiteX10" fmla="*/ 10555 w 37253"/>
                <a:gd name="connsiteY10" fmla="*/ 18006 h 27940"/>
                <a:gd name="connsiteX11" fmla="*/ 14591 w 37253"/>
                <a:gd name="connsiteY11" fmla="*/ 22042 h 27940"/>
                <a:gd name="connsiteX12" fmla="*/ 19869 w 37253"/>
                <a:gd name="connsiteY12" fmla="*/ 25146 h 27940"/>
                <a:gd name="connsiteX13" fmla="*/ 22973 w 37253"/>
                <a:gd name="connsiteY13" fmla="*/ 29492 h 27940"/>
                <a:gd name="connsiteX14" fmla="*/ 29182 w 37253"/>
                <a:gd name="connsiteY14" fmla="*/ 27319 h 27940"/>
                <a:gd name="connsiteX15" fmla="*/ 30113 w 37253"/>
                <a:gd name="connsiteY15" fmla="*/ 25146 h 27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53" h="27940">
                  <a:moveTo>
                    <a:pt x="32286" y="23283"/>
                  </a:moveTo>
                  <a:lnTo>
                    <a:pt x="36322" y="23283"/>
                  </a:lnTo>
                  <a:lnTo>
                    <a:pt x="39737" y="19869"/>
                  </a:lnTo>
                  <a:lnTo>
                    <a:pt x="30113" y="8382"/>
                  </a:lnTo>
                  <a:lnTo>
                    <a:pt x="17695" y="3104"/>
                  </a:lnTo>
                  <a:lnTo>
                    <a:pt x="0" y="0"/>
                  </a:lnTo>
                  <a:lnTo>
                    <a:pt x="0" y="7451"/>
                  </a:lnTo>
                  <a:lnTo>
                    <a:pt x="0" y="10555"/>
                  </a:lnTo>
                  <a:lnTo>
                    <a:pt x="3104" y="14901"/>
                  </a:lnTo>
                  <a:lnTo>
                    <a:pt x="5278" y="15833"/>
                  </a:lnTo>
                  <a:lnTo>
                    <a:pt x="10555" y="18006"/>
                  </a:lnTo>
                  <a:lnTo>
                    <a:pt x="14591" y="22042"/>
                  </a:lnTo>
                  <a:lnTo>
                    <a:pt x="19869" y="25146"/>
                  </a:lnTo>
                  <a:lnTo>
                    <a:pt x="22973" y="29492"/>
                  </a:lnTo>
                  <a:lnTo>
                    <a:pt x="29182" y="27319"/>
                  </a:lnTo>
                  <a:lnTo>
                    <a:pt x="30113" y="25146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5AA3C66A-5884-46C8-8A3C-9341EA2A2DC3}"/>
                </a:ext>
              </a:extLst>
            </p:cNvPr>
            <p:cNvSpPr/>
            <p:nvPr/>
          </p:nvSpPr>
          <p:spPr>
            <a:xfrm>
              <a:off x="3878341" y="4529873"/>
              <a:ext cx="93134" cy="86925"/>
            </a:xfrm>
            <a:custGeom>
              <a:avLst/>
              <a:gdLst>
                <a:gd name="connsiteX0" fmla="*/ 60226 w 93133"/>
                <a:gd name="connsiteY0" fmla="*/ 29492 h 86924"/>
                <a:gd name="connsiteX1" fmla="*/ 39427 w 93133"/>
                <a:gd name="connsiteY1" fmla="*/ 29492 h 86924"/>
                <a:gd name="connsiteX2" fmla="*/ 39427 w 93133"/>
                <a:gd name="connsiteY2" fmla="*/ 22042 h 86924"/>
                <a:gd name="connsiteX3" fmla="*/ 39427 w 93133"/>
                <a:gd name="connsiteY3" fmla="*/ 15833 h 86924"/>
                <a:gd name="connsiteX4" fmla="*/ 38495 w 93133"/>
                <a:gd name="connsiteY4" fmla="*/ 12728 h 86924"/>
                <a:gd name="connsiteX5" fmla="*/ 36322 w 93133"/>
                <a:gd name="connsiteY5" fmla="*/ 8382 h 86924"/>
                <a:gd name="connsiteX6" fmla="*/ 36322 w 93133"/>
                <a:gd name="connsiteY6" fmla="*/ 0 h 86924"/>
                <a:gd name="connsiteX7" fmla="*/ 24836 w 93133"/>
                <a:gd name="connsiteY7" fmla="*/ 10555 h 86924"/>
                <a:gd name="connsiteX8" fmla="*/ 17695 w 93133"/>
                <a:gd name="connsiteY8" fmla="*/ 25146 h 86924"/>
                <a:gd name="connsiteX9" fmla="*/ 10245 w 93133"/>
                <a:gd name="connsiteY9" fmla="*/ 40048 h 86924"/>
                <a:gd name="connsiteX10" fmla="*/ 0 w 93133"/>
                <a:gd name="connsiteY10" fmla="*/ 52465 h 86924"/>
                <a:gd name="connsiteX11" fmla="*/ 3104 w 93133"/>
                <a:gd name="connsiteY11" fmla="*/ 56812 h 86924"/>
                <a:gd name="connsiteX12" fmla="*/ 7140 w 93133"/>
                <a:gd name="connsiteY12" fmla="*/ 58985 h 86924"/>
                <a:gd name="connsiteX13" fmla="*/ 9313 w 93133"/>
                <a:gd name="connsiteY13" fmla="*/ 58985 h 86924"/>
                <a:gd name="connsiteX14" fmla="*/ 12418 w 93133"/>
                <a:gd name="connsiteY14" fmla="*/ 59916 h 86924"/>
                <a:gd name="connsiteX15" fmla="*/ 16454 w 93133"/>
                <a:gd name="connsiteY15" fmla="*/ 59916 h 86924"/>
                <a:gd name="connsiteX16" fmla="*/ 19558 w 93133"/>
                <a:gd name="connsiteY16" fmla="*/ 62089 h 86924"/>
                <a:gd name="connsiteX17" fmla="*/ 24836 w 93133"/>
                <a:gd name="connsiteY17" fmla="*/ 63952 h 86924"/>
                <a:gd name="connsiteX18" fmla="*/ 27009 w 93133"/>
                <a:gd name="connsiteY18" fmla="*/ 69229 h 86924"/>
                <a:gd name="connsiteX19" fmla="*/ 29182 w 93133"/>
                <a:gd name="connsiteY19" fmla="*/ 73576 h 86924"/>
                <a:gd name="connsiteX20" fmla="*/ 31045 w 93133"/>
                <a:gd name="connsiteY20" fmla="*/ 76680 h 86924"/>
                <a:gd name="connsiteX21" fmla="*/ 29182 w 93133"/>
                <a:gd name="connsiteY21" fmla="*/ 81026 h 86924"/>
                <a:gd name="connsiteX22" fmla="*/ 29182 w 93133"/>
                <a:gd name="connsiteY22" fmla="*/ 84131 h 86924"/>
                <a:gd name="connsiteX23" fmla="*/ 29182 w 93133"/>
                <a:gd name="connsiteY23" fmla="*/ 89408 h 86924"/>
                <a:gd name="connsiteX24" fmla="*/ 43773 w 93133"/>
                <a:gd name="connsiteY24" fmla="*/ 84131 h 86924"/>
                <a:gd name="connsiteX25" fmla="*/ 54018 w 93133"/>
                <a:gd name="connsiteY25" fmla="*/ 74507 h 86924"/>
                <a:gd name="connsiteX26" fmla="*/ 60226 w 93133"/>
                <a:gd name="connsiteY26" fmla="*/ 59916 h 86924"/>
                <a:gd name="connsiteX27" fmla="*/ 65504 w 93133"/>
                <a:gd name="connsiteY27" fmla="*/ 63952 h 86924"/>
                <a:gd name="connsiteX28" fmla="*/ 68608 w 93133"/>
                <a:gd name="connsiteY28" fmla="*/ 66125 h 86924"/>
                <a:gd name="connsiteX29" fmla="*/ 72955 w 93133"/>
                <a:gd name="connsiteY29" fmla="*/ 69229 h 86924"/>
                <a:gd name="connsiteX30" fmla="*/ 72955 w 93133"/>
                <a:gd name="connsiteY30" fmla="*/ 71403 h 86924"/>
                <a:gd name="connsiteX31" fmla="*/ 72955 w 93133"/>
                <a:gd name="connsiteY31" fmla="*/ 74507 h 86924"/>
                <a:gd name="connsiteX32" fmla="*/ 72955 w 93133"/>
                <a:gd name="connsiteY32" fmla="*/ 81026 h 86924"/>
                <a:gd name="connsiteX33" fmla="*/ 72955 w 93133"/>
                <a:gd name="connsiteY33" fmla="*/ 86304 h 86924"/>
                <a:gd name="connsiteX34" fmla="*/ 77922 w 93133"/>
                <a:gd name="connsiteY34" fmla="*/ 84131 h 86924"/>
                <a:gd name="connsiteX35" fmla="*/ 83199 w 93133"/>
                <a:gd name="connsiteY35" fmla="*/ 84131 h 86924"/>
                <a:gd name="connsiteX36" fmla="*/ 85373 w 93133"/>
                <a:gd name="connsiteY36" fmla="*/ 84131 h 86924"/>
                <a:gd name="connsiteX37" fmla="*/ 87546 w 93133"/>
                <a:gd name="connsiteY37" fmla="*/ 81958 h 86924"/>
                <a:gd name="connsiteX38" fmla="*/ 89408 w 93133"/>
                <a:gd name="connsiteY38" fmla="*/ 81026 h 86924"/>
                <a:gd name="connsiteX39" fmla="*/ 92513 w 93133"/>
                <a:gd name="connsiteY39" fmla="*/ 76680 h 86924"/>
                <a:gd name="connsiteX40" fmla="*/ 94686 w 93133"/>
                <a:gd name="connsiteY40" fmla="*/ 74507 h 86924"/>
                <a:gd name="connsiteX41" fmla="*/ 94686 w 93133"/>
                <a:gd name="connsiteY41" fmla="*/ 73576 h 86924"/>
                <a:gd name="connsiteX42" fmla="*/ 95617 w 93133"/>
                <a:gd name="connsiteY42" fmla="*/ 71403 h 86924"/>
                <a:gd name="connsiteX43" fmla="*/ 95617 w 93133"/>
                <a:gd name="connsiteY43" fmla="*/ 69229 h 86924"/>
                <a:gd name="connsiteX44" fmla="*/ 77922 w 93133"/>
                <a:gd name="connsiteY44" fmla="*/ 49361 h 86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93133" h="86924">
                  <a:moveTo>
                    <a:pt x="60226" y="29492"/>
                  </a:moveTo>
                  <a:lnTo>
                    <a:pt x="39427" y="29492"/>
                  </a:lnTo>
                  <a:lnTo>
                    <a:pt x="39427" y="22042"/>
                  </a:lnTo>
                  <a:lnTo>
                    <a:pt x="39427" y="15833"/>
                  </a:lnTo>
                  <a:lnTo>
                    <a:pt x="38495" y="12728"/>
                  </a:lnTo>
                  <a:lnTo>
                    <a:pt x="36322" y="8382"/>
                  </a:lnTo>
                  <a:lnTo>
                    <a:pt x="36322" y="0"/>
                  </a:lnTo>
                  <a:lnTo>
                    <a:pt x="24836" y="10555"/>
                  </a:lnTo>
                  <a:lnTo>
                    <a:pt x="17695" y="25146"/>
                  </a:lnTo>
                  <a:lnTo>
                    <a:pt x="10245" y="40048"/>
                  </a:lnTo>
                  <a:lnTo>
                    <a:pt x="0" y="52465"/>
                  </a:lnTo>
                  <a:lnTo>
                    <a:pt x="3104" y="56812"/>
                  </a:lnTo>
                  <a:lnTo>
                    <a:pt x="7140" y="58985"/>
                  </a:lnTo>
                  <a:lnTo>
                    <a:pt x="9313" y="58985"/>
                  </a:lnTo>
                  <a:lnTo>
                    <a:pt x="12418" y="59916"/>
                  </a:lnTo>
                  <a:lnTo>
                    <a:pt x="16454" y="59916"/>
                  </a:lnTo>
                  <a:lnTo>
                    <a:pt x="19558" y="62089"/>
                  </a:lnTo>
                  <a:lnTo>
                    <a:pt x="24836" y="63952"/>
                  </a:lnTo>
                  <a:lnTo>
                    <a:pt x="27009" y="69229"/>
                  </a:lnTo>
                  <a:lnTo>
                    <a:pt x="29182" y="73576"/>
                  </a:lnTo>
                  <a:lnTo>
                    <a:pt x="31045" y="76680"/>
                  </a:lnTo>
                  <a:lnTo>
                    <a:pt x="29182" y="81026"/>
                  </a:lnTo>
                  <a:lnTo>
                    <a:pt x="29182" y="84131"/>
                  </a:lnTo>
                  <a:lnTo>
                    <a:pt x="29182" y="89408"/>
                  </a:lnTo>
                  <a:lnTo>
                    <a:pt x="43773" y="84131"/>
                  </a:lnTo>
                  <a:lnTo>
                    <a:pt x="54018" y="74507"/>
                  </a:lnTo>
                  <a:lnTo>
                    <a:pt x="60226" y="59916"/>
                  </a:lnTo>
                  <a:lnTo>
                    <a:pt x="65504" y="63952"/>
                  </a:lnTo>
                  <a:lnTo>
                    <a:pt x="68608" y="66125"/>
                  </a:lnTo>
                  <a:lnTo>
                    <a:pt x="72955" y="69229"/>
                  </a:lnTo>
                  <a:lnTo>
                    <a:pt x="72955" y="71403"/>
                  </a:lnTo>
                  <a:lnTo>
                    <a:pt x="72955" y="74507"/>
                  </a:lnTo>
                  <a:lnTo>
                    <a:pt x="72955" y="81026"/>
                  </a:lnTo>
                  <a:lnTo>
                    <a:pt x="72955" y="86304"/>
                  </a:lnTo>
                  <a:lnTo>
                    <a:pt x="77922" y="84131"/>
                  </a:lnTo>
                  <a:lnTo>
                    <a:pt x="83199" y="84131"/>
                  </a:lnTo>
                  <a:lnTo>
                    <a:pt x="85373" y="84131"/>
                  </a:lnTo>
                  <a:lnTo>
                    <a:pt x="87546" y="81958"/>
                  </a:lnTo>
                  <a:lnTo>
                    <a:pt x="89408" y="81026"/>
                  </a:lnTo>
                  <a:lnTo>
                    <a:pt x="92513" y="76680"/>
                  </a:lnTo>
                  <a:lnTo>
                    <a:pt x="94686" y="74507"/>
                  </a:lnTo>
                  <a:lnTo>
                    <a:pt x="94686" y="73576"/>
                  </a:lnTo>
                  <a:lnTo>
                    <a:pt x="95617" y="71403"/>
                  </a:lnTo>
                  <a:lnTo>
                    <a:pt x="95617" y="69229"/>
                  </a:lnTo>
                  <a:lnTo>
                    <a:pt x="77922" y="49361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FAF760E3-D698-46D2-9B35-78409FE6783D}"/>
                </a:ext>
              </a:extLst>
            </p:cNvPr>
            <p:cNvSpPr/>
            <p:nvPr/>
          </p:nvSpPr>
          <p:spPr>
            <a:xfrm>
              <a:off x="4263915" y="4941524"/>
              <a:ext cx="93134" cy="111760"/>
            </a:xfrm>
            <a:custGeom>
              <a:avLst/>
              <a:gdLst>
                <a:gd name="connsiteX0" fmla="*/ 54018 w 93133"/>
                <a:gd name="connsiteY0" fmla="*/ 51534 h 111760"/>
                <a:gd name="connsiteX1" fmla="*/ 53086 w 93133"/>
                <a:gd name="connsiteY1" fmla="*/ 39116 h 111760"/>
                <a:gd name="connsiteX2" fmla="*/ 50913 w 93133"/>
                <a:gd name="connsiteY2" fmla="*/ 28561 h 111760"/>
                <a:gd name="connsiteX3" fmla="*/ 50913 w 93133"/>
                <a:gd name="connsiteY3" fmla="*/ 14901 h 111760"/>
                <a:gd name="connsiteX4" fmla="*/ 50913 w 93133"/>
                <a:gd name="connsiteY4" fmla="*/ 0 h 111760"/>
                <a:gd name="connsiteX5" fmla="*/ 39427 w 93133"/>
                <a:gd name="connsiteY5" fmla="*/ 0 h 111760"/>
                <a:gd name="connsiteX6" fmla="*/ 29182 w 93133"/>
                <a:gd name="connsiteY6" fmla="*/ 24215 h 111760"/>
                <a:gd name="connsiteX7" fmla="*/ 21731 w 93133"/>
                <a:gd name="connsiteY7" fmla="*/ 48430 h 111760"/>
                <a:gd name="connsiteX8" fmla="*/ 10245 w 93133"/>
                <a:gd name="connsiteY8" fmla="*/ 70471 h 111760"/>
                <a:gd name="connsiteX9" fmla="*/ 0 w 93133"/>
                <a:gd name="connsiteY9" fmla="*/ 85062 h 111760"/>
                <a:gd name="connsiteX10" fmla="*/ 4036 w 93133"/>
                <a:gd name="connsiteY10" fmla="*/ 88477 h 111760"/>
                <a:gd name="connsiteX11" fmla="*/ 9313 w 93133"/>
                <a:gd name="connsiteY11" fmla="*/ 90340 h 111760"/>
                <a:gd name="connsiteX12" fmla="*/ 14591 w 93133"/>
                <a:gd name="connsiteY12" fmla="*/ 90340 h 111760"/>
                <a:gd name="connsiteX13" fmla="*/ 19558 w 93133"/>
                <a:gd name="connsiteY13" fmla="*/ 92513 h 111760"/>
                <a:gd name="connsiteX14" fmla="*/ 23904 w 93133"/>
                <a:gd name="connsiteY14" fmla="*/ 92513 h 111760"/>
                <a:gd name="connsiteX15" fmla="*/ 27009 w 93133"/>
                <a:gd name="connsiteY15" fmla="*/ 92513 h 111760"/>
                <a:gd name="connsiteX16" fmla="*/ 36322 w 93133"/>
                <a:gd name="connsiteY16" fmla="*/ 92513 h 111760"/>
                <a:gd name="connsiteX17" fmla="*/ 41600 w 93133"/>
                <a:gd name="connsiteY17" fmla="*/ 92513 h 111760"/>
                <a:gd name="connsiteX18" fmla="*/ 45635 w 93133"/>
                <a:gd name="connsiteY18" fmla="*/ 94686 h 111760"/>
                <a:gd name="connsiteX19" fmla="*/ 46877 w 93133"/>
                <a:gd name="connsiteY19" fmla="*/ 95617 h 111760"/>
                <a:gd name="connsiteX20" fmla="*/ 46877 w 93133"/>
                <a:gd name="connsiteY20" fmla="*/ 97790 h 111760"/>
                <a:gd name="connsiteX21" fmla="*/ 46877 w 93133"/>
                <a:gd name="connsiteY21" fmla="*/ 103068 h 111760"/>
                <a:gd name="connsiteX22" fmla="*/ 46877 w 93133"/>
                <a:gd name="connsiteY22" fmla="*/ 108346 h 111760"/>
                <a:gd name="connsiteX23" fmla="*/ 56191 w 93133"/>
                <a:gd name="connsiteY23" fmla="*/ 103068 h 111760"/>
                <a:gd name="connsiteX24" fmla="*/ 63331 w 93133"/>
                <a:gd name="connsiteY24" fmla="*/ 95617 h 111760"/>
                <a:gd name="connsiteX25" fmla="*/ 70782 w 93133"/>
                <a:gd name="connsiteY25" fmla="*/ 88477 h 111760"/>
                <a:gd name="connsiteX26" fmla="*/ 74817 w 93133"/>
                <a:gd name="connsiteY26" fmla="*/ 88477 h 111760"/>
                <a:gd name="connsiteX27" fmla="*/ 74817 w 93133"/>
                <a:gd name="connsiteY27" fmla="*/ 92513 h 111760"/>
                <a:gd name="connsiteX28" fmla="*/ 74817 w 93133"/>
                <a:gd name="connsiteY28" fmla="*/ 95617 h 111760"/>
                <a:gd name="connsiteX29" fmla="*/ 72955 w 93133"/>
                <a:gd name="connsiteY29" fmla="*/ 97790 h 111760"/>
                <a:gd name="connsiteX30" fmla="*/ 72955 w 93133"/>
                <a:gd name="connsiteY30" fmla="*/ 99964 h 111760"/>
                <a:gd name="connsiteX31" fmla="*/ 70782 w 93133"/>
                <a:gd name="connsiteY31" fmla="*/ 100895 h 111760"/>
                <a:gd name="connsiteX32" fmla="*/ 70782 w 93133"/>
                <a:gd name="connsiteY32" fmla="*/ 108346 h 111760"/>
                <a:gd name="connsiteX33" fmla="*/ 74817 w 93133"/>
                <a:gd name="connsiteY33" fmla="*/ 107104 h 111760"/>
                <a:gd name="connsiteX34" fmla="*/ 76059 w 93133"/>
                <a:gd name="connsiteY34" fmla="*/ 107104 h 111760"/>
                <a:gd name="connsiteX35" fmla="*/ 76059 w 93133"/>
                <a:gd name="connsiteY35" fmla="*/ 105241 h 111760"/>
                <a:gd name="connsiteX36" fmla="*/ 77922 w 93133"/>
                <a:gd name="connsiteY36" fmla="*/ 105241 h 111760"/>
                <a:gd name="connsiteX37" fmla="*/ 80095 w 93133"/>
                <a:gd name="connsiteY37" fmla="*/ 100895 h 111760"/>
                <a:gd name="connsiteX38" fmla="*/ 80095 w 93133"/>
                <a:gd name="connsiteY38" fmla="*/ 103068 h 111760"/>
                <a:gd name="connsiteX39" fmla="*/ 82268 w 93133"/>
                <a:gd name="connsiteY39" fmla="*/ 105241 h 111760"/>
                <a:gd name="connsiteX40" fmla="*/ 82268 w 93133"/>
                <a:gd name="connsiteY40" fmla="*/ 107104 h 111760"/>
                <a:gd name="connsiteX41" fmla="*/ 82268 w 93133"/>
                <a:gd name="connsiteY41" fmla="*/ 108346 h 111760"/>
                <a:gd name="connsiteX42" fmla="*/ 83200 w 93133"/>
                <a:gd name="connsiteY42" fmla="*/ 112381 h 111760"/>
                <a:gd name="connsiteX43" fmla="*/ 87546 w 93133"/>
                <a:gd name="connsiteY43" fmla="*/ 112381 h 111760"/>
                <a:gd name="connsiteX44" fmla="*/ 89408 w 93133"/>
                <a:gd name="connsiteY44" fmla="*/ 99964 h 111760"/>
                <a:gd name="connsiteX45" fmla="*/ 92513 w 93133"/>
                <a:gd name="connsiteY45" fmla="*/ 87235 h 111760"/>
                <a:gd name="connsiteX46" fmla="*/ 94686 w 93133"/>
                <a:gd name="connsiteY46" fmla="*/ 75749 h 111760"/>
                <a:gd name="connsiteX47" fmla="*/ 92513 w 93133"/>
                <a:gd name="connsiteY47" fmla="*/ 73576 h 111760"/>
                <a:gd name="connsiteX48" fmla="*/ 90650 w 93133"/>
                <a:gd name="connsiteY48" fmla="*/ 73576 h 111760"/>
                <a:gd name="connsiteX49" fmla="*/ 89408 w 93133"/>
                <a:gd name="connsiteY49" fmla="*/ 73576 h 111760"/>
                <a:gd name="connsiteX50" fmla="*/ 87546 w 93133"/>
                <a:gd name="connsiteY50" fmla="*/ 73576 h 111760"/>
                <a:gd name="connsiteX51" fmla="*/ 85373 w 93133"/>
                <a:gd name="connsiteY51" fmla="*/ 73576 h 111760"/>
                <a:gd name="connsiteX52" fmla="*/ 83200 w 93133"/>
                <a:gd name="connsiteY52" fmla="*/ 72644 h 111760"/>
                <a:gd name="connsiteX53" fmla="*/ 74817 w 93133"/>
                <a:gd name="connsiteY53" fmla="*/ 72644 h 111760"/>
                <a:gd name="connsiteX54" fmla="*/ 74817 w 93133"/>
                <a:gd name="connsiteY54" fmla="*/ 51534 h 111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93133" h="111760">
                  <a:moveTo>
                    <a:pt x="54018" y="51534"/>
                  </a:moveTo>
                  <a:lnTo>
                    <a:pt x="53086" y="39116"/>
                  </a:lnTo>
                  <a:lnTo>
                    <a:pt x="50913" y="28561"/>
                  </a:lnTo>
                  <a:lnTo>
                    <a:pt x="50913" y="14901"/>
                  </a:lnTo>
                  <a:lnTo>
                    <a:pt x="50913" y="0"/>
                  </a:lnTo>
                  <a:lnTo>
                    <a:pt x="39427" y="0"/>
                  </a:lnTo>
                  <a:lnTo>
                    <a:pt x="29182" y="24215"/>
                  </a:lnTo>
                  <a:lnTo>
                    <a:pt x="21731" y="48430"/>
                  </a:lnTo>
                  <a:lnTo>
                    <a:pt x="10245" y="70471"/>
                  </a:lnTo>
                  <a:lnTo>
                    <a:pt x="0" y="85062"/>
                  </a:lnTo>
                  <a:lnTo>
                    <a:pt x="4036" y="88477"/>
                  </a:lnTo>
                  <a:lnTo>
                    <a:pt x="9313" y="90340"/>
                  </a:lnTo>
                  <a:lnTo>
                    <a:pt x="14591" y="90340"/>
                  </a:lnTo>
                  <a:lnTo>
                    <a:pt x="19558" y="92513"/>
                  </a:lnTo>
                  <a:lnTo>
                    <a:pt x="23904" y="92513"/>
                  </a:lnTo>
                  <a:lnTo>
                    <a:pt x="27009" y="92513"/>
                  </a:lnTo>
                  <a:lnTo>
                    <a:pt x="36322" y="92513"/>
                  </a:lnTo>
                  <a:lnTo>
                    <a:pt x="41600" y="92513"/>
                  </a:lnTo>
                  <a:lnTo>
                    <a:pt x="45635" y="94686"/>
                  </a:lnTo>
                  <a:lnTo>
                    <a:pt x="46877" y="95617"/>
                  </a:lnTo>
                  <a:lnTo>
                    <a:pt x="46877" y="97790"/>
                  </a:lnTo>
                  <a:lnTo>
                    <a:pt x="46877" y="103068"/>
                  </a:lnTo>
                  <a:lnTo>
                    <a:pt x="46877" y="108346"/>
                  </a:lnTo>
                  <a:lnTo>
                    <a:pt x="56191" y="103068"/>
                  </a:lnTo>
                  <a:lnTo>
                    <a:pt x="63331" y="95617"/>
                  </a:lnTo>
                  <a:lnTo>
                    <a:pt x="70782" y="88477"/>
                  </a:lnTo>
                  <a:lnTo>
                    <a:pt x="74817" y="88477"/>
                  </a:lnTo>
                  <a:lnTo>
                    <a:pt x="74817" y="92513"/>
                  </a:lnTo>
                  <a:lnTo>
                    <a:pt x="74817" y="95617"/>
                  </a:lnTo>
                  <a:lnTo>
                    <a:pt x="72955" y="97790"/>
                  </a:lnTo>
                  <a:lnTo>
                    <a:pt x="72955" y="99964"/>
                  </a:lnTo>
                  <a:lnTo>
                    <a:pt x="70782" y="100895"/>
                  </a:lnTo>
                  <a:lnTo>
                    <a:pt x="70782" y="108346"/>
                  </a:lnTo>
                  <a:lnTo>
                    <a:pt x="74817" y="107104"/>
                  </a:lnTo>
                  <a:lnTo>
                    <a:pt x="76059" y="107104"/>
                  </a:lnTo>
                  <a:lnTo>
                    <a:pt x="76059" y="105241"/>
                  </a:lnTo>
                  <a:lnTo>
                    <a:pt x="77922" y="105241"/>
                  </a:lnTo>
                  <a:lnTo>
                    <a:pt x="80095" y="100895"/>
                  </a:lnTo>
                  <a:lnTo>
                    <a:pt x="80095" y="103068"/>
                  </a:lnTo>
                  <a:lnTo>
                    <a:pt x="82268" y="105241"/>
                  </a:lnTo>
                  <a:lnTo>
                    <a:pt x="82268" y="107104"/>
                  </a:lnTo>
                  <a:lnTo>
                    <a:pt x="82268" y="108346"/>
                  </a:lnTo>
                  <a:lnTo>
                    <a:pt x="83200" y="112381"/>
                  </a:lnTo>
                  <a:lnTo>
                    <a:pt x="87546" y="112381"/>
                  </a:lnTo>
                  <a:lnTo>
                    <a:pt x="89408" y="99964"/>
                  </a:lnTo>
                  <a:lnTo>
                    <a:pt x="92513" y="87235"/>
                  </a:lnTo>
                  <a:lnTo>
                    <a:pt x="94686" y="75749"/>
                  </a:lnTo>
                  <a:lnTo>
                    <a:pt x="92513" y="73576"/>
                  </a:lnTo>
                  <a:lnTo>
                    <a:pt x="90650" y="73576"/>
                  </a:lnTo>
                  <a:lnTo>
                    <a:pt x="89408" y="73576"/>
                  </a:lnTo>
                  <a:lnTo>
                    <a:pt x="87546" y="73576"/>
                  </a:lnTo>
                  <a:lnTo>
                    <a:pt x="85373" y="73576"/>
                  </a:lnTo>
                  <a:lnTo>
                    <a:pt x="83200" y="72644"/>
                  </a:lnTo>
                  <a:lnTo>
                    <a:pt x="74817" y="72644"/>
                  </a:lnTo>
                  <a:lnTo>
                    <a:pt x="74817" y="51534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050E183E-D298-4DF2-A877-F19A486CED89}"/>
                </a:ext>
              </a:extLst>
            </p:cNvPr>
            <p:cNvSpPr/>
            <p:nvPr/>
          </p:nvSpPr>
          <p:spPr>
            <a:xfrm>
              <a:off x="4034496" y="4432083"/>
              <a:ext cx="27940" cy="40358"/>
            </a:xfrm>
            <a:custGeom>
              <a:avLst/>
              <a:gdLst>
                <a:gd name="connsiteX0" fmla="*/ 4346 w 27940"/>
                <a:gd name="connsiteY0" fmla="*/ 42221 h 40357"/>
                <a:gd name="connsiteX1" fmla="*/ 12418 w 27940"/>
                <a:gd name="connsiteY1" fmla="*/ 40979 h 40357"/>
                <a:gd name="connsiteX2" fmla="*/ 18937 w 27940"/>
                <a:gd name="connsiteY2" fmla="*/ 40979 h 40357"/>
                <a:gd name="connsiteX3" fmla="*/ 23904 w 27940"/>
                <a:gd name="connsiteY3" fmla="*/ 39116 h 40357"/>
                <a:gd name="connsiteX4" fmla="*/ 29182 w 27940"/>
                <a:gd name="connsiteY4" fmla="*/ 36943 h 40357"/>
                <a:gd name="connsiteX5" fmla="*/ 27009 w 27940"/>
                <a:gd name="connsiteY5" fmla="*/ 29492 h 40357"/>
                <a:gd name="connsiteX6" fmla="*/ 26077 w 27940"/>
                <a:gd name="connsiteY6" fmla="*/ 24215 h 40357"/>
                <a:gd name="connsiteX7" fmla="*/ 23904 w 27940"/>
                <a:gd name="connsiteY7" fmla="*/ 18937 h 40357"/>
                <a:gd name="connsiteX8" fmla="*/ 19869 w 27940"/>
                <a:gd name="connsiteY8" fmla="*/ 12728 h 40357"/>
                <a:gd name="connsiteX9" fmla="*/ 18937 w 27940"/>
                <a:gd name="connsiteY9" fmla="*/ 9624 h 40357"/>
                <a:gd name="connsiteX10" fmla="*/ 18937 w 27940"/>
                <a:gd name="connsiteY10" fmla="*/ 7451 h 40357"/>
                <a:gd name="connsiteX11" fmla="*/ 18937 w 27940"/>
                <a:gd name="connsiteY11" fmla="*/ 5278 h 40357"/>
                <a:gd name="connsiteX12" fmla="*/ 16764 w 27940"/>
                <a:gd name="connsiteY12" fmla="*/ 4346 h 40357"/>
                <a:gd name="connsiteX13" fmla="*/ 14591 w 27940"/>
                <a:gd name="connsiteY13" fmla="*/ 4346 h 40357"/>
                <a:gd name="connsiteX14" fmla="*/ 12418 w 27940"/>
                <a:gd name="connsiteY14" fmla="*/ 2173 h 40357"/>
                <a:gd name="connsiteX15" fmla="*/ 9313 w 27940"/>
                <a:gd name="connsiteY15" fmla="*/ 0 h 40357"/>
                <a:gd name="connsiteX16" fmla="*/ 5278 w 27940"/>
                <a:gd name="connsiteY16" fmla="*/ 5278 h 40357"/>
                <a:gd name="connsiteX17" fmla="*/ 4346 w 27940"/>
                <a:gd name="connsiteY17" fmla="*/ 9624 h 40357"/>
                <a:gd name="connsiteX18" fmla="*/ 0 w 27940"/>
                <a:gd name="connsiteY18" fmla="*/ 12728 h 40357"/>
                <a:gd name="connsiteX19" fmla="*/ 0 w 27940"/>
                <a:gd name="connsiteY19" fmla="*/ 24215 h 40357"/>
                <a:gd name="connsiteX20" fmla="*/ 2173 w 27940"/>
                <a:gd name="connsiteY20" fmla="*/ 33839 h 40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7940" h="40357">
                  <a:moveTo>
                    <a:pt x="4346" y="42221"/>
                  </a:moveTo>
                  <a:lnTo>
                    <a:pt x="12418" y="40979"/>
                  </a:lnTo>
                  <a:lnTo>
                    <a:pt x="18937" y="40979"/>
                  </a:lnTo>
                  <a:lnTo>
                    <a:pt x="23904" y="39116"/>
                  </a:lnTo>
                  <a:lnTo>
                    <a:pt x="29182" y="36943"/>
                  </a:lnTo>
                  <a:lnTo>
                    <a:pt x="27009" y="29492"/>
                  </a:lnTo>
                  <a:lnTo>
                    <a:pt x="26077" y="24215"/>
                  </a:lnTo>
                  <a:lnTo>
                    <a:pt x="23904" y="18937"/>
                  </a:lnTo>
                  <a:lnTo>
                    <a:pt x="19869" y="12728"/>
                  </a:lnTo>
                  <a:lnTo>
                    <a:pt x="18937" y="9624"/>
                  </a:lnTo>
                  <a:lnTo>
                    <a:pt x="18937" y="7451"/>
                  </a:lnTo>
                  <a:lnTo>
                    <a:pt x="18937" y="5278"/>
                  </a:lnTo>
                  <a:lnTo>
                    <a:pt x="16764" y="4346"/>
                  </a:lnTo>
                  <a:lnTo>
                    <a:pt x="14591" y="4346"/>
                  </a:lnTo>
                  <a:lnTo>
                    <a:pt x="12418" y="2173"/>
                  </a:lnTo>
                  <a:lnTo>
                    <a:pt x="9313" y="0"/>
                  </a:lnTo>
                  <a:lnTo>
                    <a:pt x="5278" y="5278"/>
                  </a:lnTo>
                  <a:lnTo>
                    <a:pt x="4346" y="9624"/>
                  </a:lnTo>
                  <a:lnTo>
                    <a:pt x="0" y="12728"/>
                  </a:lnTo>
                  <a:lnTo>
                    <a:pt x="0" y="24215"/>
                  </a:lnTo>
                  <a:lnTo>
                    <a:pt x="2173" y="33839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145DD1AF-FA69-4D2B-8AE4-C897599D4EC3}"/>
                </a:ext>
              </a:extLst>
            </p:cNvPr>
            <p:cNvSpPr/>
            <p:nvPr/>
          </p:nvSpPr>
          <p:spPr>
            <a:xfrm>
              <a:off x="3958436" y="4877572"/>
              <a:ext cx="15522" cy="9313"/>
            </a:xfrm>
            <a:custGeom>
              <a:avLst/>
              <a:gdLst>
                <a:gd name="connsiteX0" fmla="*/ 0 w 15522"/>
                <a:gd name="connsiteY0" fmla="*/ 11487 h 9313"/>
                <a:gd name="connsiteX1" fmla="*/ 5278 w 15522"/>
                <a:gd name="connsiteY1" fmla="*/ 11487 h 9313"/>
                <a:gd name="connsiteX2" fmla="*/ 7451 w 15522"/>
                <a:gd name="connsiteY2" fmla="*/ 9313 h 9313"/>
                <a:gd name="connsiteX3" fmla="*/ 9313 w 15522"/>
                <a:gd name="connsiteY3" fmla="*/ 9313 h 9313"/>
                <a:gd name="connsiteX4" fmla="*/ 10555 w 15522"/>
                <a:gd name="connsiteY4" fmla="*/ 9313 h 9313"/>
                <a:gd name="connsiteX5" fmla="*/ 12418 w 15522"/>
                <a:gd name="connsiteY5" fmla="*/ 7451 h 9313"/>
                <a:gd name="connsiteX6" fmla="*/ 15522 w 15522"/>
                <a:gd name="connsiteY6" fmla="*/ 7451 h 9313"/>
                <a:gd name="connsiteX7" fmla="*/ 15522 w 15522"/>
                <a:gd name="connsiteY7" fmla="*/ 0 h 9313"/>
                <a:gd name="connsiteX8" fmla="*/ 0 w 15522"/>
                <a:gd name="connsiteY8" fmla="*/ 0 h 9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522" h="9313">
                  <a:moveTo>
                    <a:pt x="0" y="11487"/>
                  </a:moveTo>
                  <a:lnTo>
                    <a:pt x="5278" y="11487"/>
                  </a:lnTo>
                  <a:lnTo>
                    <a:pt x="7451" y="9313"/>
                  </a:lnTo>
                  <a:lnTo>
                    <a:pt x="9313" y="9313"/>
                  </a:lnTo>
                  <a:lnTo>
                    <a:pt x="10555" y="9313"/>
                  </a:lnTo>
                  <a:lnTo>
                    <a:pt x="12418" y="7451"/>
                  </a:lnTo>
                  <a:lnTo>
                    <a:pt x="15522" y="7451"/>
                  </a:lnTo>
                  <a:lnTo>
                    <a:pt x="1552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290A9EA6-6190-4928-A37E-86C629CC5B6B}"/>
                </a:ext>
              </a:extLst>
            </p:cNvPr>
            <p:cNvSpPr/>
            <p:nvPr/>
          </p:nvSpPr>
          <p:spPr>
            <a:xfrm>
              <a:off x="4347115" y="4401659"/>
              <a:ext cx="40358" cy="34149"/>
            </a:xfrm>
            <a:custGeom>
              <a:avLst/>
              <a:gdLst>
                <a:gd name="connsiteX0" fmla="*/ 13660 w 40357"/>
                <a:gd name="connsiteY0" fmla="*/ 25457 h 34149"/>
                <a:gd name="connsiteX1" fmla="*/ 18937 w 40357"/>
                <a:gd name="connsiteY1" fmla="*/ 30424 h 34149"/>
                <a:gd name="connsiteX2" fmla="*/ 23904 w 40357"/>
                <a:gd name="connsiteY2" fmla="*/ 35701 h 34149"/>
                <a:gd name="connsiteX3" fmla="*/ 27009 w 40357"/>
                <a:gd name="connsiteY3" fmla="*/ 34770 h 34149"/>
                <a:gd name="connsiteX4" fmla="*/ 29182 w 40357"/>
                <a:gd name="connsiteY4" fmla="*/ 32597 h 34149"/>
                <a:gd name="connsiteX5" fmla="*/ 31355 w 40357"/>
                <a:gd name="connsiteY5" fmla="*/ 32597 h 34149"/>
                <a:gd name="connsiteX6" fmla="*/ 33528 w 40357"/>
                <a:gd name="connsiteY6" fmla="*/ 32597 h 34149"/>
                <a:gd name="connsiteX7" fmla="*/ 33528 w 40357"/>
                <a:gd name="connsiteY7" fmla="*/ 30424 h 34149"/>
                <a:gd name="connsiteX8" fmla="*/ 36633 w 40357"/>
                <a:gd name="connsiteY8" fmla="*/ 27319 h 34149"/>
                <a:gd name="connsiteX9" fmla="*/ 36633 w 40357"/>
                <a:gd name="connsiteY9" fmla="*/ 25457 h 34149"/>
                <a:gd name="connsiteX10" fmla="*/ 38495 w 40357"/>
                <a:gd name="connsiteY10" fmla="*/ 25457 h 34149"/>
                <a:gd name="connsiteX11" fmla="*/ 38495 w 40357"/>
                <a:gd name="connsiteY11" fmla="*/ 23283 h 34149"/>
                <a:gd name="connsiteX12" fmla="*/ 40668 w 40357"/>
                <a:gd name="connsiteY12" fmla="*/ 20179 h 34149"/>
                <a:gd name="connsiteX13" fmla="*/ 34459 w 40357"/>
                <a:gd name="connsiteY13" fmla="*/ 14901 h 34149"/>
                <a:gd name="connsiteX14" fmla="*/ 29182 w 40357"/>
                <a:gd name="connsiteY14" fmla="*/ 10555 h 34149"/>
                <a:gd name="connsiteX15" fmla="*/ 26077 w 40357"/>
                <a:gd name="connsiteY15" fmla="*/ 7451 h 34149"/>
                <a:gd name="connsiteX16" fmla="*/ 18937 w 40357"/>
                <a:gd name="connsiteY16" fmla="*/ 3104 h 34149"/>
                <a:gd name="connsiteX17" fmla="*/ 11487 w 40357"/>
                <a:gd name="connsiteY17" fmla="*/ 0 h 34149"/>
                <a:gd name="connsiteX18" fmla="*/ 9313 w 40357"/>
                <a:gd name="connsiteY18" fmla="*/ 1242 h 34149"/>
                <a:gd name="connsiteX19" fmla="*/ 7451 w 40357"/>
                <a:gd name="connsiteY19" fmla="*/ 3104 h 34149"/>
                <a:gd name="connsiteX20" fmla="*/ 4346 w 40357"/>
                <a:gd name="connsiteY20" fmla="*/ 3104 h 34149"/>
                <a:gd name="connsiteX21" fmla="*/ 0 w 40357"/>
                <a:gd name="connsiteY21" fmla="*/ 15833 h 34149"/>
                <a:gd name="connsiteX22" fmla="*/ 6209 w 40357"/>
                <a:gd name="connsiteY22" fmla="*/ 20179 h 3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0357" h="34149">
                  <a:moveTo>
                    <a:pt x="13660" y="25457"/>
                  </a:moveTo>
                  <a:lnTo>
                    <a:pt x="18937" y="30424"/>
                  </a:lnTo>
                  <a:lnTo>
                    <a:pt x="23904" y="35701"/>
                  </a:lnTo>
                  <a:lnTo>
                    <a:pt x="27009" y="34770"/>
                  </a:lnTo>
                  <a:lnTo>
                    <a:pt x="29182" y="32597"/>
                  </a:lnTo>
                  <a:lnTo>
                    <a:pt x="31355" y="32597"/>
                  </a:lnTo>
                  <a:lnTo>
                    <a:pt x="33528" y="32597"/>
                  </a:lnTo>
                  <a:lnTo>
                    <a:pt x="33528" y="30424"/>
                  </a:lnTo>
                  <a:lnTo>
                    <a:pt x="36633" y="27319"/>
                  </a:lnTo>
                  <a:lnTo>
                    <a:pt x="36633" y="25457"/>
                  </a:lnTo>
                  <a:lnTo>
                    <a:pt x="38495" y="25457"/>
                  </a:lnTo>
                  <a:lnTo>
                    <a:pt x="38495" y="23283"/>
                  </a:lnTo>
                  <a:lnTo>
                    <a:pt x="40668" y="20179"/>
                  </a:lnTo>
                  <a:lnTo>
                    <a:pt x="34459" y="14901"/>
                  </a:lnTo>
                  <a:lnTo>
                    <a:pt x="29182" y="10555"/>
                  </a:lnTo>
                  <a:lnTo>
                    <a:pt x="26077" y="7451"/>
                  </a:lnTo>
                  <a:lnTo>
                    <a:pt x="18937" y="3104"/>
                  </a:lnTo>
                  <a:lnTo>
                    <a:pt x="11487" y="0"/>
                  </a:lnTo>
                  <a:lnTo>
                    <a:pt x="9313" y="1242"/>
                  </a:lnTo>
                  <a:lnTo>
                    <a:pt x="7451" y="3104"/>
                  </a:lnTo>
                  <a:lnTo>
                    <a:pt x="4346" y="3104"/>
                  </a:lnTo>
                  <a:lnTo>
                    <a:pt x="0" y="15833"/>
                  </a:lnTo>
                  <a:lnTo>
                    <a:pt x="6209" y="20179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761D0CAB-94BF-4A55-8A77-16F1FC3FCFED}"/>
                </a:ext>
              </a:extLst>
            </p:cNvPr>
            <p:cNvSpPr/>
            <p:nvPr/>
          </p:nvSpPr>
          <p:spPr>
            <a:xfrm>
              <a:off x="4024251" y="4593825"/>
              <a:ext cx="12418" cy="15522"/>
            </a:xfrm>
            <a:custGeom>
              <a:avLst/>
              <a:gdLst>
                <a:gd name="connsiteX0" fmla="*/ 4967 w 12417"/>
                <a:gd name="connsiteY0" fmla="*/ 17075 h 15522"/>
                <a:gd name="connsiteX1" fmla="*/ 7140 w 12417"/>
                <a:gd name="connsiteY1" fmla="*/ 14901 h 15522"/>
                <a:gd name="connsiteX2" fmla="*/ 8072 w 12417"/>
                <a:gd name="connsiteY2" fmla="*/ 14901 h 15522"/>
                <a:gd name="connsiteX3" fmla="*/ 10245 w 12417"/>
                <a:gd name="connsiteY3" fmla="*/ 12728 h 15522"/>
                <a:gd name="connsiteX4" fmla="*/ 12418 w 12417"/>
                <a:gd name="connsiteY4" fmla="*/ 10555 h 15522"/>
                <a:gd name="connsiteX5" fmla="*/ 14591 w 12417"/>
                <a:gd name="connsiteY5" fmla="*/ 9624 h 15522"/>
                <a:gd name="connsiteX6" fmla="*/ 14591 w 12417"/>
                <a:gd name="connsiteY6" fmla="*/ 7451 h 15522"/>
                <a:gd name="connsiteX7" fmla="*/ 14591 w 12417"/>
                <a:gd name="connsiteY7" fmla="*/ 5278 h 15522"/>
                <a:gd name="connsiteX8" fmla="*/ 10245 w 12417"/>
                <a:gd name="connsiteY8" fmla="*/ 5278 h 15522"/>
                <a:gd name="connsiteX9" fmla="*/ 8072 w 12417"/>
                <a:gd name="connsiteY9" fmla="*/ 3415 h 15522"/>
                <a:gd name="connsiteX10" fmla="*/ 7140 w 12417"/>
                <a:gd name="connsiteY10" fmla="*/ 2173 h 15522"/>
                <a:gd name="connsiteX11" fmla="*/ 3104 w 12417"/>
                <a:gd name="connsiteY11" fmla="*/ 0 h 15522"/>
                <a:gd name="connsiteX12" fmla="*/ 931 w 12417"/>
                <a:gd name="connsiteY12" fmla="*/ 5278 h 15522"/>
                <a:gd name="connsiteX13" fmla="*/ 0 w 12417"/>
                <a:gd name="connsiteY13" fmla="*/ 7451 h 15522"/>
                <a:gd name="connsiteX14" fmla="*/ 0 w 12417"/>
                <a:gd name="connsiteY14" fmla="*/ 10555 h 15522"/>
                <a:gd name="connsiteX15" fmla="*/ 0 w 12417"/>
                <a:gd name="connsiteY15" fmla="*/ 17075 h 15522"/>
                <a:gd name="connsiteX16" fmla="*/ 3104 w 12417"/>
                <a:gd name="connsiteY16" fmla="*/ 17075 h 15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417" h="15522">
                  <a:moveTo>
                    <a:pt x="4967" y="17075"/>
                  </a:moveTo>
                  <a:lnTo>
                    <a:pt x="7140" y="14901"/>
                  </a:lnTo>
                  <a:lnTo>
                    <a:pt x="8072" y="14901"/>
                  </a:lnTo>
                  <a:lnTo>
                    <a:pt x="10245" y="12728"/>
                  </a:lnTo>
                  <a:lnTo>
                    <a:pt x="12418" y="10555"/>
                  </a:lnTo>
                  <a:lnTo>
                    <a:pt x="14591" y="9624"/>
                  </a:lnTo>
                  <a:lnTo>
                    <a:pt x="14591" y="7451"/>
                  </a:lnTo>
                  <a:lnTo>
                    <a:pt x="14591" y="5278"/>
                  </a:lnTo>
                  <a:lnTo>
                    <a:pt x="10245" y="5278"/>
                  </a:lnTo>
                  <a:lnTo>
                    <a:pt x="8072" y="3415"/>
                  </a:lnTo>
                  <a:lnTo>
                    <a:pt x="7140" y="2173"/>
                  </a:lnTo>
                  <a:lnTo>
                    <a:pt x="3104" y="0"/>
                  </a:lnTo>
                  <a:lnTo>
                    <a:pt x="931" y="5278"/>
                  </a:lnTo>
                  <a:lnTo>
                    <a:pt x="0" y="7451"/>
                  </a:lnTo>
                  <a:lnTo>
                    <a:pt x="0" y="10555"/>
                  </a:lnTo>
                  <a:lnTo>
                    <a:pt x="0" y="17075"/>
                  </a:lnTo>
                  <a:lnTo>
                    <a:pt x="3104" y="17075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530738E0-A941-47B4-90BB-77CEE070826A}"/>
                </a:ext>
              </a:extLst>
            </p:cNvPr>
            <p:cNvSpPr/>
            <p:nvPr/>
          </p:nvSpPr>
          <p:spPr>
            <a:xfrm>
              <a:off x="3970854" y="4639150"/>
              <a:ext cx="21731" cy="27940"/>
            </a:xfrm>
            <a:custGeom>
              <a:avLst/>
              <a:gdLst>
                <a:gd name="connsiteX0" fmla="*/ 2173 w 21731"/>
                <a:gd name="connsiteY0" fmla="*/ 13660 h 27940"/>
                <a:gd name="connsiteX1" fmla="*/ 2173 w 21731"/>
                <a:gd name="connsiteY1" fmla="*/ 14591 h 27940"/>
                <a:gd name="connsiteX2" fmla="*/ 2173 w 21731"/>
                <a:gd name="connsiteY2" fmla="*/ 16764 h 27940"/>
                <a:gd name="connsiteX3" fmla="*/ 0 w 21731"/>
                <a:gd name="connsiteY3" fmla="*/ 21110 h 27940"/>
                <a:gd name="connsiteX4" fmla="*/ 2173 w 21731"/>
                <a:gd name="connsiteY4" fmla="*/ 22042 h 27940"/>
                <a:gd name="connsiteX5" fmla="*/ 2173 w 21731"/>
                <a:gd name="connsiteY5" fmla="*/ 24215 h 27940"/>
                <a:gd name="connsiteX6" fmla="*/ 3104 w 21731"/>
                <a:gd name="connsiteY6" fmla="*/ 24215 h 27940"/>
                <a:gd name="connsiteX7" fmla="*/ 3104 w 21731"/>
                <a:gd name="connsiteY7" fmla="*/ 28251 h 27940"/>
                <a:gd name="connsiteX8" fmla="*/ 9624 w 21731"/>
                <a:gd name="connsiteY8" fmla="*/ 28251 h 27940"/>
                <a:gd name="connsiteX9" fmla="*/ 14591 w 21731"/>
                <a:gd name="connsiteY9" fmla="*/ 26388 h 27940"/>
                <a:gd name="connsiteX10" fmla="*/ 16764 w 21731"/>
                <a:gd name="connsiteY10" fmla="*/ 26388 h 27940"/>
                <a:gd name="connsiteX11" fmla="*/ 19869 w 21731"/>
                <a:gd name="connsiteY11" fmla="*/ 24215 h 27940"/>
                <a:gd name="connsiteX12" fmla="*/ 24215 w 21731"/>
                <a:gd name="connsiteY12" fmla="*/ 24215 h 27940"/>
                <a:gd name="connsiteX13" fmla="*/ 22042 w 21731"/>
                <a:gd name="connsiteY13" fmla="*/ 16764 h 27940"/>
                <a:gd name="connsiteX14" fmla="*/ 17695 w 21731"/>
                <a:gd name="connsiteY14" fmla="*/ 9313 h 27940"/>
                <a:gd name="connsiteX15" fmla="*/ 12728 w 21731"/>
                <a:gd name="connsiteY15" fmla="*/ 4346 h 27940"/>
                <a:gd name="connsiteX16" fmla="*/ 7451 w 21731"/>
                <a:gd name="connsiteY16" fmla="*/ 0 h 27940"/>
                <a:gd name="connsiteX17" fmla="*/ 3104 w 21731"/>
                <a:gd name="connsiteY17" fmla="*/ 11487 h 27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731" h="27940">
                  <a:moveTo>
                    <a:pt x="2173" y="13660"/>
                  </a:moveTo>
                  <a:lnTo>
                    <a:pt x="2173" y="14591"/>
                  </a:lnTo>
                  <a:lnTo>
                    <a:pt x="2173" y="16764"/>
                  </a:lnTo>
                  <a:lnTo>
                    <a:pt x="0" y="21110"/>
                  </a:lnTo>
                  <a:lnTo>
                    <a:pt x="2173" y="22042"/>
                  </a:lnTo>
                  <a:lnTo>
                    <a:pt x="2173" y="24215"/>
                  </a:lnTo>
                  <a:lnTo>
                    <a:pt x="3104" y="24215"/>
                  </a:lnTo>
                  <a:lnTo>
                    <a:pt x="3104" y="28251"/>
                  </a:lnTo>
                  <a:lnTo>
                    <a:pt x="9624" y="28251"/>
                  </a:lnTo>
                  <a:lnTo>
                    <a:pt x="14591" y="26388"/>
                  </a:lnTo>
                  <a:lnTo>
                    <a:pt x="16764" y="26388"/>
                  </a:lnTo>
                  <a:lnTo>
                    <a:pt x="19869" y="24215"/>
                  </a:lnTo>
                  <a:lnTo>
                    <a:pt x="24215" y="24215"/>
                  </a:lnTo>
                  <a:lnTo>
                    <a:pt x="22042" y="16764"/>
                  </a:lnTo>
                  <a:lnTo>
                    <a:pt x="17695" y="9313"/>
                  </a:lnTo>
                  <a:lnTo>
                    <a:pt x="12728" y="4346"/>
                  </a:lnTo>
                  <a:lnTo>
                    <a:pt x="7451" y="0"/>
                  </a:lnTo>
                  <a:lnTo>
                    <a:pt x="3104" y="11487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C059CDFA-C092-4D3F-B813-FF3B9EE12B99}"/>
                </a:ext>
              </a:extLst>
            </p:cNvPr>
            <p:cNvSpPr/>
            <p:nvPr/>
          </p:nvSpPr>
          <p:spPr>
            <a:xfrm>
              <a:off x="7159753" y="4855531"/>
              <a:ext cx="43462" cy="189372"/>
            </a:xfrm>
            <a:custGeom>
              <a:avLst/>
              <a:gdLst>
                <a:gd name="connsiteX0" fmla="*/ 44704 w 43462"/>
                <a:gd name="connsiteY0" fmla="*/ 130077 h 189371"/>
                <a:gd name="connsiteX1" fmla="*/ 39427 w 43462"/>
                <a:gd name="connsiteY1" fmla="*/ 108035 h 189371"/>
                <a:gd name="connsiteX2" fmla="*/ 30113 w 43462"/>
                <a:gd name="connsiteY2" fmla="*/ 88167 h 189371"/>
                <a:gd name="connsiteX3" fmla="*/ 24836 w 43462"/>
                <a:gd name="connsiteY3" fmla="*/ 70471 h 189371"/>
                <a:gd name="connsiteX4" fmla="*/ 21731 w 43462"/>
                <a:gd name="connsiteY4" fmla="*/ 51534 h 189371"/>
                <a:gd name="connsiteX5" fmla="*/ 21731 w 43462"/>
                <a:gd name="connsiteY5" fmla="*/ 35701 h 189371"/>
                <a:gd name="connsiteX6" fmla="*/ 21731 w 43462"/>
                <a:gd name="connsiteY6" fmla="*/ 18937 h 189371"/>
                <a:gd name="connsiteX7" fmla="*/ 15522 w 43462"/>
                <a:gd name="connsiteY7" fmla="*/ 6209 h 189371"/>
                <a:gd name="connsiteX8" fmla="*/ 15522 w 43462"/>
                <a:gd name="connsiteY8" fmla="*/ 4036 h 189371"/>
                <a:gd name="connsiteX9" fmla="*/ 14591 w 43462"/>
                <a:gd name="connsiteY9" fmla="*/ 4036 h 189371"/>
                <a:gd name="connsiteX10" fmla="*/ 14591 w 43462"/>
                <a:gd name="connsiteY10" fmla="*/ 2173 h 189371"/>
                <a:gd name="connsiteX11" fmla="*/ 12418 w 43462"/>
                <a:gd name="connsiteY11" fmla="*/ 0 h 189371"/>
                <a:gd name="connsiteX12" fmla="*/ 10245 w 43462"/>
                <a:gd name="connsiteY12" fmla="*/ 7451 h 189371"/>
                <a:gd name="connsiteX13" fmla="*/ 9313 w 43462"/>
                <a:gd name="connsiteY13" fmla="*/ 13660 h 189371"/>
                <a:gd name="connsiteX14" fmla="*/ 7140 w 43462"/>
                <a:gd name="connsiteY14" fmla="*/ 16764 h 189371"/>
                <a:gd name="connsiteX15" fmla="*/ 5278 w 43462"/>
                <a:gd name="connsiteY15" fmla="*/ 21110 h 189371"/>
                <a:gd name="connsiteX16" fmla="*/ 3104 w 43462"/>
                <a:gd name="connsiteY16" fmla="*/ 24215 h 189371"/>
                <a:gd name="connsiteX17" fmla="*/ 0 w 43462"/>
                <a:gd name="connsiteY17" fmla="*/ 29492 h 189371"/>
                <a:gd name="connsiteX18" fmla="*/ 0 w 43462"/>
                <a:gd name="connsiteY18" fmla="*/ 70471 h 189371"/>
                <a:gd name="connsiteX19" fmla="*/ 3104 w 43462"/>
                <a:gd name="connsiteY19" fmla="*/ 85993 h 189371"/>
                <a:gd name="connsiteX20" fmla="*/ 3104 w 43462"/>
                <a:gd name="connsiteY20" fmla="*/ 110208 h 189371"/>
                <a:gd name="connsiteX21" fmla="*/ 3104 w 43462"/>
                <a:gd name="connsiteY21" fmla="*/ 136596 h 189371"/>
                <a:gd name="connsiteX22" fmla="*/ 3104 w 43462"/>
                <a:gd name="connsiteY22" fmla="*/ 159569 h 189371"/>
                <a:gd name="connsiteX23" fmla="*/ 5278 w 43462"/>
                <a:gd name="connsiteY23" fmla="*/ 180679 h 189371"/>
                <a:gd name="connsiteX24" fmla="*/ 9313 w 43462"/>
                <a:gd name="connsiteY24" fmla="*/ 191235 h 189371"/>
                <a:gd name="connsiteX25" fmla="*/ 12418 w 43462"/>
                <a:gd name="connsiteY25" fmla="*/ 189061 h 189371"/>
                <a:gd name="connsiteX26" fmla="*/ 14591 w 43462"/>
                <a:gd name="connsiteY26" fmla="*/ 189061 h 189371"/>
                <a:gd name="connsiteX27" fmla="*/ 19869 w 43462"/>
                <a:gd name="connsiteY27" fmla="*/ 186888 h 189371"/>
                <a:gd name="connsiteX28" fmla="*/ 22973 w 43462"/>
                <a:gd name="connsiteY28" fmla="*/ 186888 h 189371"/>
                <a:gd name="connsiteX29" fmla="*/ 29182 w 43462"/>
                <a:gd name="connsiteY29" fmla="*/ 186888 h 189371"/>
                <a:gd name="connsiteX30" fmla="*/ 24836 w 43462"/>
                <a:gd name="connsiteY30" fmla="*/ 169193 h 189371"/>
                <a:gd name="connsiteX31" fmla="*/ 22973 w 43462"/>
                <a:gd name="connsiteY31" fmla="*/ 156465 h 189371"/>
                <a:gd name="connsiteX32" fmla="*/ 19869 w 43462"/>
                <a:gd name="connsiteY32" fmla="*/ 143736 h 189371"/>
                <a:gd name="connsiteX33" fmla="*/ 19869 w 43462"/>
                <a:gd name="connsiteY33" fmla="*/ 126972 h 189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43462" h="189371">
                  <a:moveTo>
                    <a:pt x="44704" y="130077"/>
                  </a:moveTo>
                  <a:lnTo>
                    <a:pt x="39427" y="108035"/>
                  </a:lnTo>
                  <a:lnTo>
                    <a:pt x="30113" y="88167"/>
                  </a:lnTo>
                  <a:lnTo>
                    <a:pt x="24836" y="70471"/>
                  </a:lnTo>
                  <a:lnTo>
                    <a:pt x="21731" y="51534"/>
                  </a:lnTo>
                  <a:lnTo>
                    <a:pt x="21731" y="35701"/>
                  </a:lnTo>
                  <a:lnTo>
                    <a:pt x="21731" y="18937"/>
                  </a:lnTo>
                  <a:lnTo>
                    <a:pt x="15522" y="6209"/>
                  </a:lnTo>
                  <a:lnTo>
                    <a:pt x="15522" y="4036"/>
                  </a:lnTo>
                  <a:lnTo>
                    <a:pt x="14591" y="4036"/>
                  </a:lnTo>
                  <a:lnTo>
                    <a:pt x="14591" y="2173"/>
                  </a:lnTo>
                  <a:lnTo>
                    <a:pt x="12418" y="0"/>
                  </a:lnTo>
                  <a:lnTo>
                    <a:pt x="10245" y="7451"/>
                  </a:lnTo>
                  <a:lnTo>
                    <a:pt x="9313" y="13660"/>
                  </a:lnTo>
                  <a:lnTo>
                    <a:pt x="7140" y="16764"/>
                  </a:lnTo>
                  <a:lnTo>
                    <a:pt x="5278" y="21110"/>
                  </a:lnTo>
                  <a:lnTo>
                    <a:pt x="3104" y="24215"/>
                  </a:lnTo>
                  <a:lnTo>
                    <a:pt x="0" y="29492"/>
                  </a:lnTo>
                  <a:lnTo>
                    <a:pt x="0" y="70471"/>
                  </a:lnTo>
                  <a:lnTo>
                    <a:pt x="3104" y="85993"/>
                  </a:lnTo>
                  <a:lnTo>
                    <a:pt x="3104" y="110208"/>
                  </a:lnTo>
                  <a:lnTo>
                    <a:pt x="3104" y="136596"/>
                  </a:lnTo>
                  <a:lnTo>
                    <a:pt x="3104" y="159569"/>
                  </a:lnTo>
                  <a:lnTo>
                    <a:pt x="5278" y="180679"/>
                  </a:lnTo>
                  <a:lnTo>
                    <a:pt x="9313" y="191235"/>
                  </a:lnTo>
                  <a:lnTo>
                    <a:pt x="12418" y="189061"/>
                  </a:lnTo>
                  <a:lnTo>
                    <a:pt x="14591" y="189061"/>
                  </a:lnTo>
                  <a:lnTo>
                    <a:pt x="19869" y="186888"/>
                  </a:lnTo>
                  <a:lnTo>
                    <a:pt x="22973" y="186888"/>
                  </a:lnTo>
                  <a:lnTo>
                    <a:pt x="29182" y="186888"/>
                  </a:lnTo>
                  <a:lnTo>
                    <a:pt x="24836" y="169193"/>
                  </a:lnTo>
                  <a:lnTo>
                    <a:pt x="22973" y="156465"/>
                  </a:lnTo>
                  <a:lnTo>
                    <a:pt x="19869" y="143736"/>
                  </a:lnTo>
                  <a:lnTo>
                    <a:pt x="19869" y="126972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37204B83-01EE-4344-BC53-AB953A776687}"/>
                </a:ext>
              </a:extLst>
            </p:cNvPr>
            <p:cNvSpPr/>
            <p:nvPr/>
          </p:nvSpPr>
          <p:spPr>
            <a:xfrm>
              <a:off x="3223922" y="4869190"/>
              <a:ext cx="34149" cy="43462"/>
            </a:xfrm>
            <a:custGeom>
              <a:avLst/>
              <a:gdLst>
                <a:gd name="connsiteX0" fmla="*/ 29182 w 34149"/>
                <a:gd name="connsiteY0" fmla="*/ 17695 h 43462"/>
                <a:gd name="connsiteX1" fmla="*/ 27009 w 34149"/>
                <a:gd name="connsiteY1" fmla="*/ 3104 h 43462"/>
                <a:gd name="connsiteX2" fmla="*/ 19558 w 34149"/>
                <a:gd name="connsiteY2" fmla="*/ 3104 h 43462"/>
                <a:gd name="connsiteX3" fmla="*/ 14591 w 34149"/>
                <a:gd name="connsiteY3" fmla="*/ 3104 h 43462"/>
                <a:gd name="connsiteX4" fmla="*/ 10245 w 34149"/>
                <a:gd name="connsiteY4" fmla="*/ 931 h 43462"/>
                <a:gd name="connsiteX5" fmla="*/ 7140 w 34149"/>
                <a:gd name="connsiteY5" fmla="*/ 0 h 43462"/>
                <a:gd name="connsiteX6" fmla="*/ 0 w 34149"/>
                <a:gd name="connsiteY6" fmla="*/ 0 h 43462"/>
                <a:gd name="connsiteX7" fmla="*/ 0 w 34149"/>
                <a:gd name="connsiteY7" fmla="*/ 5278 h 43462"/>
                <a:gd name="connsiteX8" fmla="*/ 0 w 34149"/>
                <a:gd name="connsiteY8" fmla="*/ 8382 h 43462"/>
                <a:gd name="connsiteX9" fmla="*/ 931 w 34149"/>
                <a:gd name="connsiteY9" fmla="*/ 12728 h 43462"/>
                <a:gd name="connsiteX10" fmla="*/ 3104 w 34149"/>
                <a:gd name="connsiteY10" fmla="*/ 15833 h 43462"/>
                <a:gd name="connsiteX11" fmla="*/ 7140 w 34149"/>
                <a:gd name="connsiteY11" fmla="*/ 22042 h 43462"/>
                <a:gd name="connsiteX12" fmla="*/ 10245 w 34149"/>
                <a:gd name="connsiteY12" fmla="*/ 27319 h 43462"/>
                <a:gd name="connsiteX13" fmla="*/ 14591 w 34149"/>
                <a:gd name="connsiteY13" fmla="*/ 30424 h 43462"/>
                <a:gd name="connsiteX14" fmla="*/ 19558 w 34149"/>
                <a:gd name="connsiteY14" fmla="*/ 34770 h 43462"/>
                <a:gd name="connsiteX15" fmla="*/ 22973 w 34149"/>
                <a:gd name="connsiteY15" fmla="*/ 37874 h 43462"/>
                <a:gd name="connsiteX16" fmla="*/ 27009 w 34149"/>
                <a:gd name="connsiteY16" fmla="*/ 44083 h 43462"/>
                <a:gd name="connsiteX17" fmla="*/ 34149 w 34149"/>
                <a:gd name="connsiteY17" fmla="*/ 44083 h 43462"/>
                <a:gd name="connsiteX18" fmla="*/ 32286 w 34149"/>
                <a:gd name="connsiteY18" fmla="*/ 29492 h 43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4149" h="43462">
                  <a:moveTo>
                    <a:pt x="29182" y="17695"/>
                  </a:moveTo>
                  <a:lnTo>
                    <a:pt x="27009" y="3104"/>
                  </a:lnTo>
                  <a:lnTo>
                    <a:pt x="19558" y="3104"/>
                  </a:lnTo>
                  <a:lnTo>
                    <a:pt x="14591" y="3104"/>
                  </a:lnTo>
                  <a:lnTo>
                    <a:pt x="10245" y="931"/>
                  </a:lnTo>
                  <a:lnTo>
                    <a:pt x="7140" y="0"/>
                  </a:lnTo>
                  <a:lnTo>
                    <a:pt x="0" y="0"/>
                  </a:lnTo>
                  <a:lnTo>
                    <a:pt x="0" y="5278"/>
                  </a:lnTo>
                  <a:lnTo>
                    <a:pt x="0" y="8382"/>
                  </a:lnTo>
                  <a:lnTo>
                    <a:pt x="931" y="12728"/>
                  </a:lnTo>
                  <a:lnTo>
                    <a:pt x="3104" y="15833"/>
                  </a:lnTo>
                  <a:lnTo>
                    <a:pt x="7140" y="22042"/>
                  </a:lnTo>
                  <a:lnTo>
                    <a:pt x="10245" y="27319"/>
                  </a:lnTo>
                  <a:lnTo>
                    <a:pt x="14591" y="30424"/>
                  </a:lnTo>
                  <a:lnTo>
                    <a:pt x="19558" y="34770"/>
                  </a:lnTo>
                  <a:lnTo>
                    <a:pt x="22973" y="37874"/>
                  </a:lnTo>
                  <a:lnTo>
                    <a:pt x="27009" y="44083"/>
                  </a:lnTo>
                  <a:lnTo>
                    <a:pt x="34149" y="44083"/>
                  </a:lnTo>
                  <a:lnTo>
                    <a:pt x="32286" y="29492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614ACE32-0114-41EA-866C-01A7226F9F1F}"/>
                </a:ext>
              </a:extLst>
            </p:cNvPr>
            <p:cNvSpPr/>
            <p:nvPr/>
          </p:nvSpPr>
          <p:spPr>
            <a:xfrm>
              <a:off x="5439263" y="4744081"/>
              <a:ext cx="18627" cy="18627"/>
            </a:xfrm>
            <a:custGeom>
              <a:avLst/>
              <a:gdLst>
                <a:gd name="connsiteX0" fmla="*/ 931 w 18626"/>
                <a:gd name="connsiteY0" fmla="*/ 3104 h 18626"/>
                <a:gd name="connsiteX1" fmla="*/ 0 w 18626"/>
                <a:gd name="connsiteY1" fmla="*/ 7451 h 18626"/>
                <a:gd name="connsiteX2" fmla="*/ 0 w 18626"/>
                <a:gd name="connsiteY2" fmla="*/ 9624 h 18626"/>
                <a:gd name="connsiteX3" fmla="*/ 0 w 18626"/>
                <a:gd name="connsiteY3" fmla="*/ 12728 h 18626"/>
                <a:gd name="connsiteX4" fmla="*/ 0 w 18626"/>
                <a:gd name="connsiteY4" fmla="*/ 16764 h 18626"/>
                <a:gd name="connsiteX5" fmla="*/ 931 w 18626"/>
                <a:gd name="connsiteY5" fmla="*/ 16764 h 18626"/>
                <a:gd name="connsiteX6" fmla="*/ 3104 w 18626"/>
                <a:gd name="connsiteY6" fmla="*/ 18006 h 18626"/>
                <a:gd name="connsiteX7" fmla="*/ 5278 w 18626"/>
                <a:gd name="connsiteY7" fmla="*/ 18006 h 18626"/>
                <a:gd name="connsiteX8" fmla="*/ 8382 w 18626"/>
                <a:gd name="connsiteY8" fmla="*/ 20179 h 18626"/>
                <a:gd name="connsiteX9" fmla="*/ 10555 w 18626"/>
                <a:gd name="connsiteY9" fmla="*/ 16764 h 18626"/>
                <a:gd name="connsiteX10" fmla="*/ 14591 w 18626"/>
                <a:gd name="connsiteY10" fmla="*/ 14901 h 18626"/>
                <a:gd name="connsiteX11" fmla="*/ 15522 w 18626"/>
                <a:gd name="connsiteY11" fmla="*/ 12728 h 18626"/>
                <a:gd name="connsiteX12" fmla="*/ 19869 w 18626"/>
                <a:gd name="connsiteY12" fmla="*/ 12728 h 18626"/>
                <a:gd name="connsiteX13" fmla="*/ 19869 w 18626"/>
                <a:gd name="connsiteY13" fmla="*/ 7451 h 18626"/>
                <a:gd name="connsiteX14" fmla="*/ 5278 w 18626"/>
                <a:gd name="connsiteY14" fmla="*/ 0 h 18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8626" h="18626">
                  <a:moveTo>
                    <a:pt x="931" y="3104"/>
                  </a:moveTo>
                  <a:lnTo>
                    <a:pt x="0" y="7451"/>
                  </a:lnTo>
                  <a:lnTo>
                    <a:pt x="0" y="9624"/>
                  </a:lnTo>
                  <a:lnTo>
                    <a:pt x="0" y="12728"/>
                  </a:lnTo>
                  <a:lnTo>
                    <a:pt x="0" y="16764"/>
                  </a:lnTo>
                  <a:lnTo>
                    <a:pt x="931" y="16764"/>
                  </a:lnTo>
                  <a:lnTo>
                    <a:pt x="3104" y="18006"/>
                  </a:lnTo>
                  <a:lnTo>
                    <a:pt x="5278" y="18006"/>
                  </a:lnTo>
                  <a:lnTo>
                    <a:pt x="8382" y="20179"/>
                  </a:lnTo>
                  <a:lnTo>
                    <a:pt x="10555" y="16764"/>
                  </a:lnTo>
                  <a:lnTo>
                    <a:pt x="14591" y="14901"/>
                  </a:lnTo>
                  <a:lnTo>
                    <a:pt x="15522" y="12728"/>
                  </a:lnTo>
                  <a:lnTo>
                    <a:pt x="19869" y="12728"/>
                  </a:lnTo>
                  <a:lnTo>
                    <a:pt x="19869" y="7451"/>
                  </a:lnTo>
                  <a:lnTo>
                    <a:pt x="5278" y="0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DAE995A6-7F8A-4E35-BBFB-F2ACC7B18FFD}"/>
                </a:ext>
              </a:extLst>
            </p:cNvPr>
            <p:cNvSpPr/>
            <p:nvPr/>
          </p:nvSpPr>
          <p:spPr>
            <a:xfrm>
              <a:off x="5039098" y="4734767"/>
              <a:ext cx="111760" cy="217312"/>
            </a:xfrm>
            <a:custGeom>
              <a:avLst/>
              <a:gdLst>
                <a:gd name="connsiteX0" fmla="*/ 103068 w 111760"/>
                <a:gd name="connsiteY0" fmla="*/ 141874 h 217312"/>
                <a:gd name="connsiteX1" fmla="*/ 93755 w 111760"/>
                <a:gd name="connsiteY1" fmla="*/ 122937 h 217312"/>
                <a:gd name="connsiteX2" fmla="*/ 83510 w 111760"/>
                <a:gd name="connsiteY2" fmla="*/ 106173 h 217312"/>
                <a:gd name="connsiteX3" fmla="*/ 70782 w 111760"/>
                <a:gd name="connsiteY3" fmla="*/ 92513 h 217312"/>
                <a:gd name="connsiteX4" fmla="*/ 61468 w 111760"/>
                <a:gd name="connsiteY4" fmla="*/ 78853 h 217312"/>
                <a:gd name="connsiteX5" fmla="*/ 52155 w 111760"/>
                <a:gd name="connsiteY5" fmla="*/ 70471 h 217312"/>
                <a:gd name="connsiteX6" fmla="*/ 56191 w 111760"/>
                <a:gd name="connsiteY6" fmla="*/ 63021 h 217312"/>
                <a:gd name="connsiteX7" fmla="*/ 61468 w 111760"/>
                <a:gd name="connsiteY7" fmla="*/ 53397 h 217312"/>
                <a:gd name="connsiteX8" fmla="*/ 64573 w 111760"/>
                <a:gd name="connsiteY8" fmla="*/ 41910 h 217312"/>
                <a:gd name="connsiteX9" fmla="*/ 59295 w 111760"/>
                <a:gd name="connsiteY9" fmla="*/ 29492 h 217312"/>
                <a:gd name="connsiteX10" fmla="*/ 59295 w 111760"/>
                <a:gd name="connsiteY10" fmla="*/ 22042 h 217312"/>
                <a:gd name="connsiteX11" fmla="*/ 54328 w 111760"/>
                <a:gd name="connsiteY11" fmla="*/ 22042 h 217312"/>
                <a:gd name="connsiteX12" fmla="*/ 49982 w 111760"/>
                <a:gd name="connsiteY12" fmla="*/ 24215 h 217312"/>
                <a:gd name="connsiteX13" fmla="*/ 49051 w 111760"/>
                <a:gd name="connsiteY13" fmla="*/ 26078 h 217312"/>
                <a:gd name="connsiteX14" fmla="*/ 44704 w 111760"/>
                <a:gd name="connsiteY14" fmla="*/ 29492 h 217312"/>
                <a:gd name="connsiteX15" fmla="*/ 35391 w 111760"/>
                <a:gd name="connsiteY15" fmla="*/ 29492 h 217312"/>
                <a:gd name="connsiteX16" fmla="*/ 39737 w 111760"/>
                <a:gd name="connsiteY16" fmla="*/ 24215 h 217312"/>
                <a:gd name="connsiteX17" fmla="*/ 42842 w 111760"/>
                <a:gd name="connsiteY17" fmla="*/ 18937 h 217312"/>
                <a:gd name="connsiteX18" fmla="*/ 44704 w 111760"/>
                <a:gd name="connsiteY18" fmla="*/ 12418 h 217312"/>
                <a:gd name="connsiteX19" fmla="*/ 49051 w 111760"/>
                <a:gd name="connsiteY19" fmla="*/ 5278 h 217312"/>
                <a:gd name="connsiteX20" fmla="*/ 34460 w 111760"/>
                <a:gd name="connsiteY20" fmla="*/ 2173 h 217312"/>
                <a:gd name="connsiteX21" fmla="*/ 15522 w 111760"/>
                <a:gd name="connsiteY21" fmla="*/ 0 h 217312"/>
                <a:gd name="connsiteX22" fmla="*/ 14591 w 111760"/>
                <a:gd name="connsiteY22" fmla="*/ 16764 h 217312"/>
                <a:gd name="connsiteX23" fmla="*/ 8382 w 111760"/>
                <a:gd name="connsiteY23" fmla="*/ 27319 h 217312"/>
                <a:gd name="connsiteX24" fmla="*/ 3104 w 111760"/>
                <a:gd name="connsiteY24" fmla="*/ 36633 h 217312"/>
                <a:gd name="connsiteX25" fmla="*/ 0 w 111760"/>
                <a:gd name="connsiteY25" fmla="*/ 46257 h 217312"/>
                <a:gd name="connsiteX26" fmla="*/ 931 w 111760"/>
                <a:gd name="connsiteY26" fmla="*/ 58674 h 217312"/>
                <a:gd name="connsiteX27" fmla="*/ 5278 w 111760"/>
                <a:gd name="connsiteY27" fmla="*/ 75438 h 217312"/>
                <a:gd name="connsiteX28" fmla="*/ 8382 w 111760"/>
                <a:gd name="connsiteY28" fmla="*/ 93444 h 217312"/>
                <a:gd name="connsiteX29" fmla="*/ 10555 w 111760"/>
                <a:gd name="connsiteY29" fmla="*/ 92513 h 217312"/>
                <a:gd name="connsiteX30" fmla="*/ 12418 w 111760"/>
                <a:gd name="connsiteY30" fmla="*/ 90340 h 217312"/>
                <a:gd name="connsiteX31" fmla="*/ 14591 w 111760"/>
                <a:gd name="connsiteY31" fmla="*/ 90340 h 217312"/>
                <a:gd name="connsiteX32" fmla="*/ 14591 w 111760"/>
                <a:gd name="connsiteY32" fmla="*/ 88167 h 217312"/>
                <a:gd name="connsiteX33" fmla="*/ 14591 w 111760"/>
                <a:gd name="connsiteY33" fmla="*/ 85994 h 217312"/>
                <a:gd name="connsiteX34" fmla="*/ 15522 w 111760"/>
                <a:gd name="connsiteY34" fmla="*/ 82889 h 217312"/>
                <a:gd name="connsiteX35" fmla="*/ 19869 w 111760"/>
                <a:gd name="connsiteY35" fmla="*/ 82889 h 217312"/>
                <a:gd name="connsiteX36" fmla="*/ 19869 w 111760"/>
                <a:gd name="connsiteY36" fmla="*/ 85994 h 217312"/>
                <a:gd name="connsiteX37" fmla="*/ 19869 w 111760"/>
                <a:gd name="connsiteY37" fmla="*/ 88167 h 217312"/>
                <a:gd name="connsiteX38" fmla="*/ 17695 w 111760"/>
                <a:gd name="connsiteY38" fmla="*/ 90340 h 217312"/>
                <a:gd name="connsiteX39" fmla="*/ 17695 w 111760"/>
                <a:gd name="connsiteY39" fmla="*/ 92513 h 217312"/>
                <a:gd name="connsiteX40" fmla="*/ 15522 w 111760"/>
                <a:gd name="connsiteY40" fmla="*/ 93444 h 217312"/>
                <a:gd name="connsiteX41" fmla="*/ 17695 w 111760"/>
                <a:gd name="connsiteY41" fmla="*/ 97480 h 217312"/>
                <a:gd name="connsiteX42" fmla="*/ 17695 w 111760"/>
                <a:gd name="connsiteY42" fmla="*/ 100895 h 217312"/>
                <a:gd name="connsiteX43" fmla="*/ 17695 w 111760"/>
                <a:gd name="connsiteY43" fmla="*/ 102758 h 217312"/>
                <a:gd name="connsiteX44" fmla="*/ 19869 w 111760"/>
                <a:gd name="connsiteY44" fmla="*/ 104931 h 217312"/>
                <a:gd name="connsiteX45" fmla="*/ 19869 w 111760"/>
                <a:gd name="connsiteY45" fmla="*/ 106173 h 217312"/>
                <a:gd name="connsiteX46" fmla="*/ 22973 w 111760"/>
                <a:gd name="connsiteY46" fmla="*/ 106173 h 217312"/>
                <a:gd name="connsiteX47" fmla="*/ 27009 w 111760"/>
                <a:gd name="connsiteY47" fmla="*/ 108035 h 217312"/>
                <a:gd name="connsiteX48" fmla="*/ 30113 w 111760"/>
                <a:gd name="connsiteY48" fmla="*/ 108035 h 217312"/>
                <a:gd name="connsiteX49" fmla="*/ 32286 w 111760"/>
                <a:gd name="connsiteY49" fmla="*/ 108035 h 217312"/>
                <a:gd name="connsiteX50" fmla="*/ 35391 w 111760"/>
                <a:gd name="connsiteY50" fmla="*/ 110208 h 217312"/>
                <a:gd name="connsiteX51" fmla="*/ 39737 w 111760"/>
                <a:gd name="connsiteY51" fmla="*/ 112381 h 217312"/>
                <a:gd name="connsiteX52" fmla="*/ 41600 w 111760"/>
                <a:gd name="connsiteY52" fmla="*/ 112381 h 217312"/>
                <a:gd name="connsiteX53" fmla="*/ 41600 w 111760"/>
                <a:gd name="connsiteY53" fmla="*/ 113313 h 217312"/>
                <a:gd name="connsiteX54" fmla="*/ 42842 w 111760"/>
                <a:gd name="connsiteY54" fmla="*/ 113313 h 217312"/>
                <a:gd name="connsiteX55" fmla="*/ 44704 w 111760"/>
                <a:gd name="connsiteY55" fmla="*/ 117659 h 217312"/>
                <a:gd name="connsiteX56" fmla="*/ 44704 w 111760"/>
                <a:gd name="connsiteY56" fmla="*/ 119832 h 217312"/>
                <a:gd name="connsiteX57" fmla="*/ 46877 w 111760"/>
                <a:gd name="connsiteY57" fmla="*/ 120763 h 217312"/>
                <a:gd name="connsiteX58" fmla="*/ 46877 w 111760"/>
                <a:gd name="connsiteY58" fmla="*/ 122937 h 217312"/>
                <a:gd name="connsiteX59" fmla="*/ 49051 w 111760"/>
                <a:gd name="connsiteY59" fmla="*/ 126972 h 217312"/>
                <a:gd name="connsiteX60" fmla="*/ 42842 w 111760"/>
                <a:gd name="connsiteY60" fmla="*/ 130077 h 217312"/>
                <a:gd name="connsiteX61" fmla="*/ 35391 w 111760"/>
                <a:gd name="connsiteY61" fmla="*/ 134423 h 217312"/>
                <a:gd name="connsiteX62" fmla="*/ 32286 w 111760"/>
                <a:gd name="connsiteY62" fmla="*/ 137528 h 217312"/>
                <a:gd name="connsiteX63" fmla="*/ 27009 w 111760"/>
                <a:gd name="connsiteY63" fmla="*/ 142805 h 217312"/>
                <a:gd name="connsiteX64" fmla="*/ 25146 w 111760"/>
                <a:gd name="connsiteY64" fmla="*/ 150256 h 217312"/>
                <a:gd name="connsiteX65" fmla="*/ 22973 w 111760"/>
                <a:gd name="connsiteY65" fmla="*/ 154292 h 217312"/>
                <a:gd name="connsiteX66" fmla="*/ 22973 w 111760"/>
                <a:gd name="connsiteY66" fmla="*/ 156465 h 217312"/>
                <a:gd name="connsiteX67" fmla="*/ 25146 w 111760"/>
                <a:gd name="connsiteY67" fmla="*/ 157396 h 217312"/>
                <a:gd name="connsiteX68" fmla="*/ 25146 w 111760"/>
                <a:gd name="connsiteY68" fmla="*/ 159569 h 217312"/>
                <a:gd name="connsiteX69" fmla="*/ 29182 w 111760"/>
                <a:gd name="connsiteY69" fmla="*/ 163915 h 217312"/>
                <a:gd name="connsiteX70" fmla="*/ 15522 w 111760"/>
                <a:gd name="connsiteY70" fmla="*/ 167020 h 217312"/>
                <a:gd name="connsiteX71" fmla="*/ 17695 w 111760"/>
                <a:gd name="connsiteY71" fmla="*/ 172297 h 217312"/>
                <a:gd name="connsiteX72" fmla="*/ 17695 w 111760"/>
                <a:gd name="connsiteY72" fmla="*/ 176333 h 217312"/>
                <a:gd name="connsiteX73" fmla="*/ 19869 w 111760"/>
                <a:gd name="connsiteY73" fmla="*/ 178506 h 217312"/>
                <a:gd name="connsiteX74" fmla="*/ 19869 w 111760"/>
                <a:gd name="connsiteY74" fmla="*/ 179438 h 217312"/>
                <a:gd name="connsiteX75" fmla="*/ 22973 w 111760"/>
                <a:gd name="connsiteY75" fmla="*/ 181611 h 217312"/>
                <a:gd name="connsiteX76" fmla="*/ 27009 w 111760"/>
                <a:gd name="connsiteY76" fmla="*/ 181611 h 217312"/>
                <a:gd name="connsiteX77" fmla="*/ 32286 w 111760"/>
                <a:gd name="connsiteY77" fmla="*/ 181611 h 217312"/>
                <a:gd name="connsiteX78" fmla="*/ 22973 w 111760"/>
                <a:gd name="connsiteY78" fmla="*/ 198375 h 217312"/>
                <a:gd name="connsiteX79" fmla="*/ 12418 w 111760"/>
                <a:gd name="connsiteY79" fmla="*/ 214208 h 217312"/>
                <a:gd name="connsiteX80" fmla="*/ 12418 w 111760"/>
                <a:gd name="connsiteY80" fmla="*/ 218554 h 217312"/>
                <a:gd name="connsiteX81" fmla="*/ 29182 w 111760"/>
                <a:gd name="connsiteY81" fmla="*/ 216381 h 217312"/>
                <a:gd name="connsiteX82" fmla="*/ 49051 w 111760"/>
                <a:gd name="connsiteY82" fmla="*/ 211103 h 217312"/>
                <a:gd name="connsiteX83" fmla="*/ 70782 w 111760"/>
                <a:gd name="connsiteY83" fmla="*/ 205826 h 217312"/>
                <a:gd name="connsiteX84" fmla="*/ 88477 w 111760"/>
                <a:gd name="connsiteY84" fmla="*/ 198375 h 217312"/>
                <a:gd name="connsiteX85" fmla="*/ 99964 w 111760"/>
                <a:gd name="connsiteY85" fmla="*/ 191235 h 217312"/>
                <a:gd name="connsiteX86" fmla="*/ 108346 w 111760"/>
                <a:gd name="connsiteY86" fmla="*/ 183784 h 217312"/>
                <a:gd name="connsiteX87" fmla="*/ 112692 w 111760"/>
                <a:gd name="connsiteY87" fmla="*/ 171056 h 217312"/>
                <a:gd name="connsiteX88" fmla="*/ 110519 w 111760"/>
                <a:gd name="connsiteY88" fmla="*/ 157396 h 217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111760" h="217312">
                  <a:moveTo>
                    <a:pt x="103068" y="141874"/>
                  </a:moveTo>
                  <a:lnTo>
                    <a:pt x="93755" y="122937"/>
                  </a:lnTo>
                  <a:lnTo>
                    <a:pt x="83510" y="106173"/>
                  </a:lnTo>
                  <a:lnTo>
                    <a:pt x="70782" y="92513"/>
                  </a:lnTo>
                  <a:lnTo>
                    <a:pt x="61468" y="78853"/>
                  </a:lnTo>
                  <a:lnTo>
                    <a:pt x="52155" y="70471"/>
                  </a:lnTo>
                  <a:lnTo>
                    <a:pt x="56191" y="63021"/>
                  </a:lnTo>
                  <a:lnTo>
                    <a:pt x="61468" y="53397"/>
                  </a:lnTo>
                  <a:lnTo>
                    <a:pt x="64573" y="41910"/>
                  </a:lnTo>
                  <a:lnTo>
                    <a:pt x="59295" y="29492"/>
                  </a:lnTo>
                  <a:lnTo>
                    <a:pt x="59295" y="22042"/>
                  </a:lnTo>
                  <a:lnTo>
                    <a:pt x="54328" y="22042"/>
                  </a:lnTo>
                  <a:lnTo>
                    <a:pt x="49982" y="24215"/>
                  </a:lnTo>
                  <a:lnTo>
                    <a:pt x="49051" y="26078"/>
                  </a:lnTo>
                  <a:lnTo>
                    <a:pt x="44704" y="29492"/>
                  </a:lnTo>
                  <a:lnTo>
                    <a:pt x="35391" y="29492"/>
                  </a:lnTo>
                  <a:lnTo>
                    <a:pt x="39737" y="24215"/>
                  </a:lnTo>
                  <a:lnTo>
                    <a:pt x="42842" y="18937"/>
                  </a:lnTo>
                  <a:lnTo>
                    <a:pt x="44704" y="12418"/>
                  </a:lnTo>
                  <a:lnTo>
                    <a:pt x="49051" y="5278"/>
                  </a:lnTo>
                  <a:lnTo>
                    <a:pt x="34460" y="2173"/>
                  </a:lnTo>
                  <a:lnTo>
                    <a:pt x="15522" y="0"/>
                  </a:lnTo>
                  <a:lnTo>
                    <a:pt x="14591" y="16764"/>
                  </a:lnTo>
                  <a:lnTo>
                    <a:pt x="8382" y="27319"/>
                  </a:lnTo>
                  <a:lnTo>
                    <a:pt x="3104" y="36633"/>
                  </a:lnTo>
                  <a:lnTo>
                    <a:pt x="0" y="46257"/>
                  </a:lnTo>
                  <a:lnTo>
                    <a:pt x="931" y="58674"/>
                  </a:lnTo>
                  <a:lnTo>
                    <a:pt x="5278" y="75438"/>
                  </a:lnTo>
                  <a:lnTo>
                    <a:pt x="8382" y="93444"/>
                  </a:lnTo>
                  <a:lnTo>
                    <a:pt x="10555" y="92513"/>
                  </a:lnTo>
                  <a:lnTo>
                    <a:pt x="12418" y="90340"/>
                  </a:lnTo>
                  <a:lnTo>
                    <a:pt x="14591" y="90340"/>
                  </a:lnTo>
                  <a:lnTo>
                    <a:pt x="14591" y="88167"/>
                  </a:lnTo>
                  <a:lnTo>
                    <a:pt x="14591" y="85994"/>
                  </a:lnTo>
                  <a:lnTo>
                    <a:pt x="15522" y="82889"/>
                  </a:lnTo>
                  <a:lnTo>
                    <a:pt x="19869" y="82889"/>
                  </a:lnTo>
                  <a:lnTo>
                    <a:pt x="19869" y="85994"/>
                  </a:lnTo>
                  <a:lnTo>
                    <a:pt x="19869" y="88167"/>
                  </a:lnTo>
                  <a:lnTo>
                    <a:pt x="17695" y="90340"/>
                  </a:lnTo>
                  <a:lnTo>
                    <a:pt x="17695" y="92513"/>
                  </a:lnTo>
                  <a:lnTo>
                    <a:pt x="15522" y="93444"/>
                  </a:lnTo>
                  <a:lnTo>
                    <a:pt x="17695" y="97480"/>
                  </a:lnTo>
                  <a:lnTo>
                    <a:pt x="17695" y="100895"/>
                  </a:lnTo>
                  <a:lnTo>
                    <a:pt x="17695" y="102758"/>
                  </a:lnTo>
                  <a:lnTo>
                    <a:pt x="19869" y="104931"/>
                  </a:lnTo>
                  <a:lnTo>
                    <a:pt x="19869" y="106173"/>
                  </a:lnTo>
                  <a:lnTo>
                    <a:pt x="22973" y="106173"/>
                  </a:lnTo>
                  <a:lnTo>
                    <a:pt x="27009" y="108035"/>
                  </a:lnTo>
                  <a:lnTo>
                    <a:pt x="30113" y="108035"/>
                  </a:lnTo>
                  <a:lnTo>
                    <a:pt x="32286" y="108035"/>
                  </a:lnTo>
                  <a:lnTo>
                    <a:pt x="35391" y="110208"/>
                  </a:lnTo>
                  <a:lnTo>
                    <a:pt x="39737" y="112381"/>
                  </a:lnTo>
                  <a:lnTo>
                    <a:pt x="41600" y="112381"/>
                  </a:lnTo>
                  <a:lnTo>
                    <a:pt x="41600" y="113313"/>
                  </a:lnTo>
                  <a:lnTo>
                    <a:pt x="42842" y="113313"/>
                  </a:lnTo>
                  <a:lnTo>
                    <a:pt x="44704" y="117659"/>
                  </a:lnTo>
                  <a:lnTo>
                    <a:pt x="44704" y="119832"/>
                  </a:lnTo>
                  <a:lnTo>
                    <a:pt x="46877" y="120763"/>
                  </a:lnTo>
                  <a:lnTo>
                    <a:pt x="46877" y="122937"/>
                  </a:lnTo>
                  <a:lnTo>
                    <a:pt x="49051" y="126972"/>
                  </a:lnTo>
                  <a:lnTo>
                    <a:pt x="42842" y="130077"/>
                  </a:lnTo>
                  <a:lnTo>
                    <a:pt x="35391" y="134423"/>
                  </a:lnTo>
                  <a:lnTo>
                    <a:pt x="32286" y="137528"/>
                  </a:lnTo>
                  <a:lnTo>
                    <a:pt x="27009" y="142805"/>
                  </a:lnTo>
                  <a:lnTo>
                    <a:pt x="25146" y="150256"/>
                  </a:lnTo>
                  <a:lnTo>
                    <a:pt x="22973" y="154292"/>
                  </a:lnTo>
                  <a:lnTo>
                    <a:pt x="22973" y="156465"/>
                  </a:lnTo>
                  <a:lnTo>
                    <a:pt x="25146" y="157396"/>
                  </a:lnTo>
                  <a:lnTo>
                    <a:pt x="25146" y="159569"/>
                  </a:lnTo>
                  <a:lnTo>
                    <a:pt x="29182" y="163915"/>
                  </a:lnTo>
                  <a:lnTo>
                    <a:pt x="15522" y="167020"/>
                  </a:lnTo>
                  <a:lnTo>
                    <a:pt x="17695" y="172297"/>
                  </a:lnTo>
                  <a:lnTo>
                    <a:pt x="17695" y="176333"/>
                  </a:lnTo>
                  <a:lnTo>
                    <a:pt x="19869" y="178506"/>
                  </a:lnTo>
                  <a:lnTo>
                    <a:pt x="19869" y="179438"/>
                  </a:lnTo>
                  <a:lnTo>
                    <a:pt x="22973" y="181611"/>
                  </a:lnTo>
                  <a:lnTo>
                    <a:pt x="27009" y="181611"/>
                  </a:lnTo>
                  <a:lnTo>
                    <a:pt x="32286" y="181611"/>
                  </a:lnTo>
                  <a:lnTo>
                    <a:pt x="22973" y="198375"/>
                  </a:lnTo>
                  <a:lnTo>
                    <a:pt x="12418" y="214208"/>
                  </a:lnTo>
                  <a:lnTo>
                    <a:pt x="12418" y="218554"/>
                  </a:lnTo>
                  <a:lnTo>
                    <a:pt x="29182" y="216381"/>
                  </a:lnTo>
                  <a:lnTo>
                    <a:pt x="49051" y="211103"/>
                  </a:lnTo>
                  <a:lnTo>
                    <a:pt x="70782" y="205826"/>
                  </a:lnTo>
                  <a:lnTo>
                    <a:pt x="88477" y="198375"/>
                  </a:lnTo>
                  <a:lnTo>
                    <a:pt x="99964" y="191235"/>
                  </a:lnTo>
                  <a:lnTo>
                    <a:pt x="108346" y="183784"/>
                  </a:lnTo>
                  <a:lnTo>
                    <a:pt x="112692" y="171056"/>
                  </a:lnTo>
                  <a:lnTo>
                    <a:pt x="110519" y="157396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476C1439-A019-4240-A9DA-C680F9D2E0E6}"/>
                </a:ext>
              </a:extLst>
            </p:cNvPr>
            <p:cNvSpPr/>
            <p:nvPr/>
          </p:nvSpPr>
          <p:spPr>
            <a:xfrm>
              <a:off x="5278762" y="4812379"/>
              <a:ext cx="24836" cy="34149"/>
            </a:xfrm>
            <a:custGeom>
              <a:avLst/>
              <a:gdLst>
                <a:gd name="connsiteX0" fmla="*/ 23904 w 24835"/>
                <a:gd name="connsiteY0" fmla="*/ 10555 h 34149"/>
                <a:gd name="connsiteX1" fmla="*/ 23904 w 24835"/>
                <a:gd name="connsiteY1" fmla="*/ 7451 h 34149"/>
                <a:gd name="connsiteX2" fmla="*/ 22042 w 24835"/>
                <a:gd name="connsiteY2" fmla="*/ 5278 h 34149"/>
                <a:gd name="connsiteX3" fmla="*/ 19869 w 24835"/>
                <a:gd name="connsiteY3" fmla="*/ 3104 h 34149"/>
                <a:gd name="connsiteX4" fmla="*/ 16764 w 24835"/>
                <a:gd name="connsiteY4" fmla="*/ 0 h 34149"/>
                <a:gd name="connsiteX5" fmla="*/ 9313 w 24835"/>
                <a:gd name="connsiteY5" fmla="*/ 10555 h 34149"/>
                <a:gd name="connsiteX6" fmla="*/ 2173 w 24835"/>
                <a:gd name="connsiteY6" fmla="*/ 14901 h 34149"/>
                <a:gd name="connsiteX7" fmla="*/ 0 w 24835"/>
                <a:gd name="connsiteY7" fmla="*/ 15833 h 34149"/>
                <a:gd name="connsiteX8" fmla="*/ 0 w 24835"/>
                <a:gd name="connsiteY8" fmla="*/ 18006 h 34149"/>
                <a:gd name="connsiteX9" fmla="*/ 3104 w 24835"/>
                <a:gd name="connsiteY9" fmla="*/ 23283 h 34149"/>
                <a:gd name="connsiteX10" fmla="*/ 9313 w 24835"/>
                <a:gd name="connsiteY10" fmla="*/ 35701 h 34149"/>
                <a:gd name="connsiteX11" fmla="*/ 12418 w 24835"/>
                <a:gd name="connsiteY11" fmla="*/ 35701 h 34149"/>
                <a:gd name="connsiteX12" fmla="*/ 14591 w 24835"/>
                <a:gd name="connsiteY12" fmla="*/ 34770 h 34149"/>
                <a:gd name="connsiteX13" fmla="*/ 16764 w 24835"/>
                <a:gd name="connsiteY13" fmla="*/ 34770 h 34149"/>
                <a:gd name="connsiteX14" fmla="*/ 17695 w 24835"/>
                <a:gd name="connsiteY14" fmla="*/ 34770 h 34149"/>
                <a:gd name="connsiteX15" fmla="*/ 19869 w 24835"/>
                <a:gd name="connsiteY15" fmla="*/ 32597 h 34149"/>
                <a:gd name="connsiteX16" fmla="*/ 22042 w 24835"/>
                <a:gd name="connsiteY16" fmla="*/ 30424 h 34149"/>
                <a:gd name="connsiteX17" fmla="*/ 22042 w 24835"/>
                <a:gd name="connsiteY17" fmla="*/ 28561 h 34149"/>
                <a:gd name="connsiteX18" fmla="*/ 22042 w 24835"/>
                <a:gd name="connsiteY18" fmla="*/ 27319 h 34149"/>
                <a:gd name="connsiteX19" fmla="*/ 22042 w 24835"/>
                <a:gd name="connsiteY19" fmla="*/ 25146 h 34149"/>
                <a:gd name="connsiteX20" fmla="*/ 23904 w 24835"/>
                <a:gd name="connsiteY20" fmla="*/ 23283 h 34149"/>
                <a:gd name="connsiteX21" fmla="*/ 25146 w 24835"/>
                <a:gd name="connsiteY21" fmla="*/ 19869 h 34149"/>
                <a:gd name="connsiteX22" fmla="*/ 23904 w 24835"/>
                <a:gd name="connsiteY22" fmla="*/ 14901 h 3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4835" h="34149">
                  <a:moveTo>
                    <a:pt x="23904" y="10555"/>
                  </a:moveTo>
                  <a:lnTo>
                    <a:pt x="23904" y="7451"/>
                  </a:lnTo>
                  <a:lnTo>
                    <a:pt x="22042" y="5278"/>
                  </a:lnTo>
                  <a:lnTo>
                    <a:pt x="19869" y="3104"/>
                  </a:lnTo>
                  <a:lnTo>
                    <a:pt x="16764" y="0"/>
                  </a:lnTo>
                  <a:lnTo>
                    <a:pt x="9313" y="10555"/>
                  </a:lnTo>
                  <a:lnTo>
                    <a:pt x="2173" y="14901"/>
                  </a:lnTo>
                  <a:lnTo>
                    <a:pt x="0" y="15833"/>
                  </a:lnTo>
                  <a:lnTo>
                    <a:pt x="0" y="18006"/>
                  </a:lnTo>
                  <a:lnTo>
                    <a:pt x="3104" y="23283"/>
                  </a:lnTo>
                  <a:lnTo>
                    <a:pt x="9313" y="35701"/>
                  </a:lnTo>
                  <a:lnTo>
                    <a:pt x="12418" y="35701"/>
                  </a:lnTo>
                  <a:lnTo>
                    <a:pt x="14591" y="34770"/>
                  </a:lnTo>
                  <a:lnTo>
                    <a:pt x="16764" y="34770"/>
                  </a:lnTo>
                  <a:lnTo>
                    <a:pt x="17695" y="34770"/>
                  </a:lnTo>
                  <a:lnTo>
                    <a:pt x="19869" y="32597"/>
                  </a:lnTo>
                  <a:lnTo>
                    <a:pt x="22042" y="30424"/>
                  </a:lnTo>
                  <a:lnTo>
                    <a:pt x="22042" y="28561"/>
                  </a:lnTo>
                  <a:lnTo>
                    <a:pt x="22042" y="27319"/>
                  </a:lnTo>
                  <a:lnTo>
                    <a:pt x="22042" y="25146"/>
                  </a:lnTo>
                  <a:lnTo>
                    <a:pt x="23904" y="23283"/>
                  </a:lnTo>
                  <a:lnTo>
                    <a:pt x="25146" y="19869"/>
                  </a:lnTo>
                  <a:lnTo>
                    <a:pt x="23904" y="14901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0E551D18-36EB-4993-9E51-F53395EDF199}"/>
                </a:ext>
              </a:extLst>
            </p:cNvPr>
            <p:cNvSpPr/>
            <p:nvPr/>
          </p:nvSpPr>
          <p:spPr>
            <a:xfrm>
              <a:off x="7689063" y="4320943"/>
              <a:ext cx="49671" cy="27940"/>
            </a:xfrm>
            <a:custGeom>
              <a:avLst/>
              <a:gdLst>
                <a:gd name="connsiteX0" fmla="*/ 49051 w 49671"/>
                <a:gd name="connsiteY0" fmla="*/ 12418 h 27940"/>
                <a:gd name="connsiteX1" fmla="*/ 44704 w 49671"/>
                <a:gd name="connsiteY1" fmla="*/ 10555 h 27940"/>
                <a:gd name="connsiteX2" fmla="*/ 43773 w 49671"/>
                <a:gd name="connsiteY2" fmla="*/ 10555 h 27940"/>
                <a:gd name="connsiteX3" fmla="*/ 41600 w 49671"/>
                <a:gd name="connsiteY3" fmla="*/ 10555 h 27940"/>
                <a:gd name="connsiteX4" fmla="*/ 37564 w 49671"/>
                <a:gd name="connsiteY4" fmla="*/ 10555 h 27940"/>
                <a:gd name="connsiteX5" fmla="*/ 36322 w 49671"/>
                <a:gd name="connsiteY5" fmla="*/ 10555 h 27940"/>
                <a:gd name="connsiteX6" fmla="*/ 34460 w 49671"/>
                <a:gd name="connsiteY6" fmla="*/ 9313 h 27940"/>
                <a:gd name="connsiteX7" fmla="*/ 30113 w 49671"/>
                <a:gd name="connsiteY7" fmla="*/ 9313 h 27940"/>
                <a:gd name="connsiteX8" fmla="*/ 27009 w 49671"/>
                <a:gd name="connsiteY8" fmla="*/ 5278 h 27940"/>
                <a:gd name="connsiteX9" fmla="*/ 22973 w 49671"/>
                <a:gd name="connsiteY9" fmla="*/ 0 h 27940"/>
                <a:gd name="connsiteX10" fmla="*/ 15522 w 49671"/>
                <a:gd name="connsiteY10" fmla="*/ 3104 h 27940"/>
                <a:gd name="connsiteX11" fmla="*/ 10555 w 49671"/>
                <a:gd name="connsiteY11" fmla="*/ 7451 h 27940"/>
                <a:gd name="connsiteX12" fmla="*/ 5278 w 49671"/>
                <a:gd name="connsiteY12" fmla="*/ 10555 h 27940"/>
                <a:gd name="connsiteX13" fmla="*/ 0 w 49671"/>
                <a:gd name="connsiteY13" fmla="*/ 15833 h 27940"/>
                <a:gd name="connsiteX14" fmla="*/ 0 w 49671"/>
                <a:gd name="connsiteY14" fmla="*/ 30424 h 27940"/>
                <a:gd name="connsiteX15" fmla="*/ 36322 w 49671"/>
                <a:gd name="connsiteY15" fmla="*/ 27319 h 27940"/>
                <a:gd name="connsiteX16" fmla="*/ 43773 w 49671"/>
                <a:gd name="connsiteY16" fmla="*/ 22042 h 27940"/>
                <a:gd name="connsiteX17" fmla="*/ 50913 w 49671"/>
                <a:gd name="connsiteY17" fmla="*/ 15833 h 27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9671" h="27940">
                  <a:moveTo>
                    <a:pt x="49051" y="12418"/>
                  </a:moveTo>
                  <a:lnTo>
                    <a:pt x="44704" y="10555"/>
                  </a:lnTo>
                  <a:lnTo>
                    <a:pt x="43773" y="10555"/>
                  </a:lnTo>
                  <a:lnTo>
                    <a:pt x="41600" y="10555"/>
                  </a:lnTo>
                  <a:lnTo>
                    <a:pt x="37564" y="10555"/>
                  </a:lnTo>
                  <a:lnTo>
                    <a:pt x="36322" y="10555"/>
                  </a:lnTo>
                  <a:lnTo>
                    <a:pt x="34460" y="9313"/>
                  </a:lnTo>
                  <a:lnTo>
                    <a:pt x="30113" y="9313"/>
                  </a:lnTo>
                  <a:lnTo>
                    <a:pt x="27009" y="5278"/>
                  </a:lnTo>
                  <a:lnTo>
                    <a:pt x="22973" y="0"/>
                  </a:lnTo>
                  <a:lnTo>
                    <a:pt x="15522" y="3104"/>
                  </a:lnTo>
                  <a:lnTo>
                    <a:pt x="10555" y="7451"/>
                  </a:lnTo>
                  <a:lnTo>
                    <a:pt x="5278" y="10555"/>
                  </a:lnTo>
                  <a:lnTo>
                    <a:pt x="0" y="15833"/>
                  </a:lnTo>
                  <a:lnTo>
                    <a:pt x="0" y="30424"/>
                  </a:lnTo>
                  <a:lnTo>
                    <a:pt x="36322" y="27319"/>
                  </a:lnTo>
                  <a:lnTo>
                    <a:pt x="43773" y="22042"/>
                  </a:lnTo>
                  <a:lnTo>
                    <a:pt x="50913" y="15833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6F4B2EBF-0C19-42CA-BD25-ABFA698A9B25}"/>
                </a:ext>
              </a:extLst>
            </p:cNvPr>
            <p:cNvSpPr/>
            <p:nvPr/>
          </p:nvSpPr>
          <p:spPr>
            <a:xfrm>
              <a:off x="5774854" y="4394519"/>
              <a:ext cx="15522" cy="9313"/>
            </a:xfrm>
            <a:custGeom>
              <a:avLst/>
              <a:gdLst>
                <a:gd name="connsiteX0" fmla="*/ 0 w 15522"/>
                <a:gd name="connsiteY0" fmla="*/ 931 h 9313"/>
                <a:gd name="connsiteX1" fmla="*/ 2173 w 15522"/>
                <a:gd name="connsiteY1" fmla="*/ 3104 h 9313"/>
                <a:gd name="connsiteX2" fmla="*/ 2173 w 15522"/>
                <a:gd name="connsiteY2" fmla="*/ 5278 h 9313"/>
                <a:gd name="connsiteX3" fmla="*/ 4036 w 15522"/>
                <a:gd name="connsiteY3" fmla="*/ 8382 h 9313"/>
                <a:gd name="connsiteX4" fmla="*/ 4036 w 15522"/>
                <a:gd name="connsiteY4" fmla="*/ 10245 h 9313"/>
                <a:gd name="connsiteX5" fmla="*/ 7140 w 15522"/>
                <a:gd name="connsiteY5" fmla="*/ 10245 h 9313"/>
                <a:gd name="connsiteX6" fmla="*/ 9313 w 15522"/>
                <a:gd name="connsiteY6" fmla="*/ 10245 h 9313"/>
                <a:gd name="connsiteX7" fmla="*/ 13349 w 15522"/>
                <a:gd name="connsiteY7" fmla="*/ 7140 h 9313"/>
                <a:gd name="connsiteX8" fmla="*/ 16764 w 15522"/>
                <a:gd name="connsiteY8" fmla="*/ 7140 h 9313"/>
                <a:gd name="connsiteX9" fmla="*/ 16764 w 15522"/>
                <a:gd name="connsiteY9" fmla="*/ 0 h 9313"/>
                <a:gd name="connsiteX10" fmla="*/ 0 w 15522"/>
                <a:gd name="connsiteY10" fmla="*/ 0 h 9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522" h="9313">
                  <a:moveTo>
                    <a:pt x="0" y="931"/>
                  </a:moveTo>
                  <a:lnTo>
                    <a:pt x="2173" y="3104"/>
                  </a:lnTo>
                  <a:lnTo>
                    <a:pt x="2173" y="5278"/>
                  </a:lnTo>
                  <a:lnTo>
                    <a:pt x="4036" y="8382"/>
                  </a:lnTo>
                  <a:lnTo>
                    <a:pt x="4036" y="10245"/>
                  </a:lnTo>
                  <a:lnTo>
                    <a:pt x="7140" y="10245"/>
                  </a:lnTo>
                  <a:lnTo>
                    <a:pt x="9313" y="10245"/>
                  </a:lnTo>
                  <a:lnTo>
                    <a:pt x="13349" y="7140"/>
                  </a:lnTo>
                  <a:lnTo>
                    <a:pt x="16764" y="7140"/>
                  </a:lnTo>
                  <a:lnTo>
                    <a:pt x="1676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57" name="Freeform: Shape 156">
              <a:extLst>
                <a:ext uri="{FF2B5EF4-FFF2-40B4-BE49-F238E27FC236}">
                  <a16:creationId xmlns:a16="http://schemas.microsoft.com/office/drawing/2014/main" id="{D13C045F-C5F0-4B1D-8631-576F86828A80}"/>
                </a:ext>
              </a:extLst>
            </p:cNvPr>
            <p:cNvSpPr/>
            <p:nvPr/>
          </p:nvSpPr>
          <p:spPr>
            <a:xfrm>
              <a:off x="7132744" y="4215702"/>
              <a:ext cx="55880" cy="21731"/>
            </a:xfrm>
            <a:custGeom>
              <a:avLst/>
              <a:gdLst>
                <a:gd name="connsiteX0" fmla="*/ 51844 w 55880"/>
                <a:gd name="connsiteY0" fmla="*/ 7451 h 21731"/>
                <a:gd name="connsiteX1" fmla="*/ 36322 w 55880"/>
                <a:gd name="connsiteY1" fmla="*/ 4346 h 21731"/>
                <a:gd name="connsiteX2" fmla="*/ 19558 w 55880"/>
                <a:gd name="connsiteY2" fmla="*/ 0 h 21731"/>
                <a:gd name="connsiteX3" fmla="*/ 0 w 55880"/>
                <a:gd name="connsiteY3" fmla="*/ 0 h 21731"/>
                <a:gd name="connsiteX4" fmla="*/ 0 w 55880"/>
                <a:gd name="connsiteY4" fmla="*/ 7451 h 21731"/>
                <a:gd name="connsiteX5" fmla="*/ 931 w 55880"/>
                <a:gd name="connsiteY5" fmla="*/ 13660 h 21731"/>
                <a:gd name="connsiteX6" fmla="*/ 931 w 55880"/>
                <a:gd name="connsiteY6" fmla="*/ 18937 h 21731"/>
                <a:gd name="connsiteX7" fmla="*/ 3104 w 55880"/>
                <a:gd name="connsiteY7" fmla="*/ 24215 h 21731"/>
                <a:gd name="connsiteX8" fmla="*/ 56191 w 55880"/>
                <a:gd name="connsiteY8" fmla="*/ 24215 h 21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5880" h="21731">
                  <a:moveTo>
                    <a:pt x="51844" y="7451"/>
                  </a:moveTo>
                  <a:lnTo>
                    <a:pt x="36322" y="4346"/>
                  </a:lnTo>
                  <a:lnTo>
                    <a:pt x="19558" y="0"/>
                  </a:lnTo>
                  <a:lnTo>
                    <a:pt x="0" y="0"/>
                  </a:lnTo>
                  <a:lnTo>
                    <a:pt x="0" y="7451"/>
                  </a:lnTo>
                  <a:lnTo>
                    <a:pt x="931" y="13660"/>
                  </a:lnTo>
                  <a:lnTo>
                    <a:pt x="931" y="18937"/>
                  </a:lnTo>
                  <a:lnTo>
                    <a:pt x="3104" y="24215"/>
                  </a:lnTo>
                  <a:lnTo>
                    <a:pt x="56191" y="24215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58" name="Freeform: Shape 157">
              <a:extLst>
                <a:ext uri="{FF2B5EF4-FFF2-40B4-BE49-F238E27FC236}">
                  <a16:creationId xmlns:a16="http://schemas.microsoft.com/office/drawing/2014/main" id="{0CE76D90-7C4D-490F-9E78-BCC30B2B2ADE}"/>
                </a:ext>
              </a:extLst>
            </p:cNvPr>
            <p:cNvSpPr/>
            <p:nvPr/>
          </p:nvSpPr>
          <p:spPr>
            <a:xfrm>
              <a:off x="5371586" y="4771400"/>
              <a:ext cx="18627" cy="27940"/>
            </a:xfrm>
            <a:custGeom>
              <a:avLst/>
              <a:gdLst>
                <a:gd name="connsiteX0" fmla="*/ 16454 w 18626"/>
                <a:gd name="connsiteY0" fmla="*/ 2173 h 27940"/>
                <a:gd name="connsiteX1" fmla="*/ 14591 w 18626"/>
                <a:gd name="connsiteY1" fmla="*/ 2173 h 27940"/>
                <a:gd name="connsiteX2" fmla="*/ 12418 w 18626"/>
                <a:gd name="connsiteY2" fmla="*/ 2173 h 27940"/>
                <a:gd name="connsiteX3" fmla="*/ 7140 w 18626"/>
                <a:gd name="connsiteY3" fmla="*/ 0 h 27940"/>
                <a:gd name="connsiteX4" fmla="*/ 7140 w 18626"/>
                <a:gd name="connsiteY4" fmla="*/ 5278 h 27940"/>
                <a:gd name="connsiteX5" fmla="*/ 5278 w 18626"/>
                <a:gd name="connsiteY5" fmla="*/ 9624 h 27940"/>
                <a:gd name="connsiteX6" fmla="*/ 3104 w 18626"/>
                <a:gd name="connsiteY6" fmla="*/ 12728 h 27940"/>
                <a:gd name="connsiteX7" fmla="*/ 0 w 18626"/>
                <a:gd name="connsiteY7" fmla="*/ 16764 h 27940"/>
                <a:gd name="connsiteX8" fmla="*/ 1863 w 18626"/>
                <a:gd name="connsiteY8" fmla="*/ 20179 h 27940"/>
                <a:gd name="connsiteX9" fmla="*/ 1863 w 18626"/>
                <a:gd name="connsiteY9" fmla="*/ 22042 h 27940"/>
                <a:gd name="connsiteX10" fmla="*/ 1863 w 18626"/>
                <a:gd name="connsiteY10" fmla="*/ 24215 h 27940"/>
                <a:gd name="connsiteX11" fmla="*/ 3104 w 18626"/>
                <a:gd name="connsiteY11" fmla="*/ 24215 h 27940"/>
                <a:gd name="connsiteX12" fmla="*/ 3104 w 18626"/>
                <a:gd name="connsiteY12" fmla="*/ 29492 h 27940"/>
                <a:gd name="connsiteX13" fmla="*/ 9313 w 18626"/>
                <a:gd name="connsiteY13" fmla="*/ 26388 h 27940"/>
                <a:gd name="connsiteX14" fmla="*/ 12418 w 18626"/>
                <a:gd name="connsiteY14" fmla="*/ 20179 h 27940"/>
                <a:gd name="connsiteX15" fmla="*/ 14591 w 18626"/>
                <a:gd name="connsiteY15" fmla="*/ 14901 h 27940"/>
                <a:gd name="connsiteX16" fmla="*/ 16454 w 18626"/>
                <a:gd name="connsiteY16" fmla="*/ 9624 h 27940"/>
                <a:gd name="connsiteX17" fmla="*/ 19868 w 18626"/>
                <a:gd name="connsiteY17" fmla="*/ 4346 h 27940"/>
                <a:gd name="connsiteX18" fmla="*/ 17695 w 18626"/>
                <a:gd name="connsiteY18" fmla="*/ 4346 h 27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8626" h="27940">
                  <a:moveTo>
                    <a:pt x="16454" y="2173"/>
                  </a:moveTo>
                  <a:lnTo>
                    <a:pt x="14591" y="2173"/>
                  </a:lnTo>
                  <a:lnTo>
                    <a:pt x="12418" y="2173"/>
                  </a:lnTo>
                  <a:lnTo>
                    <a:pt x="7140" y="0"/>
                  </a:lnTo>
                  <a:lnTo>
                    <a:pt x="7140" y="5278"/>
                  </a:lnTo>
                  <a:lnTo>
                    <a:pt x="5278" y="9624"/>
                  </a:lnTo>
                  <a:lnTo>
                    <a:pt x="3104" y="12728"/>
                  </a:lnTo>
                  <a:lnTo>
                    <a:pt x="0" y="16764"/>
                  </a:lnTo>
                  <a:lnTo>
                    <a:pt x="1863" y="20179"/>
                  </a:lnTo>
                  <a:lnTo>
                    <a:pt x="1863" y="22042"/>
                  </a:lnTo>
                  <a:lnTo>
                    <a:pt x="1863" y="24215"/>
                  </a:lnTo>
                  <a:lnTo>
                    <a:pt x="3104" y="24215"/>
                  </a:lnTo>
                  <a:lnTo>
                    <a:pt x="3104" y="29492"/>
                  </a:lnTo>
                  <a:lnTo>
                    <a:pt x="9313" y="26388"/>
                  </a:lnTo>
                  <a:lnTo>
                    <a:pt x="12418" y="20179"/>
                  </a:lnTo>
                  <a:lnTo>
                    <a:pt x="14591" y="14901"/>
                  </a:lnTo>
                  <a:lnTo>
                    <a:pt x="16454" y="9624"/>
                  </a:lnTo>
                  <a:lnTo>
                    <a:pt x="19868" y="4346"/>
                  </a:lnTo>
                  <a:lnTo>
                    <a:pt x="17695" y="4346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EB254A86-3EB1-4A55-9B05-9CC2D35C2F40}"/>
                </a:ext>
              </a:extLst>
            </p:cNvPr>
            <p:cNvSpPr/>
            <p:nvPr/>
          </p:nvSpPr>
          <p:spPr>
            <a:xfrm>
              <a:off x="4983839" y="4840940"/>
              <a:ext cx="52776" cy="80716"/>
            </a:xfrm>
            <a:custGeom>
              <a:avLst/>
              <a:gdLst>
                <a:gd name="connsiteX0" fmla="*/ 34460 w 52775"/>
                <a:gd name="connsiteY0" fmla="*/ 1863 h 80715"/>
                <a:gd name="connsiteX1" fmla="*/ 23904 w 52775"/>
                <a:gd name="connsiteY1" fmla="*/ 7140 h 80715"/>
                <a:gd name="connsiteX2" fmla="*/ 14591 w 52775"/>
                <a:gd name="connsiteY2" fmla="*/ 14591 h 80715"/>
                <a:gd name="connsiteX3" fmla="*/ 4346 w 52775"/>
                <a:gd name="connsiteY3" fmla="*/ 23904 h 80715"/>
                <a:gd name="connsiteX4" fmla="*/ 5278 w 52775"/>
                <a:gd name="connsiteY4" fmla="*/ 42841 h 80715"/>
                <a:gd name="connsiteX5" fmla="*/ 5278 w 52775"/>
                <a:gd name="connsiteY5" fmla="*/ 58674 h 80715"/>
                <a:gd name="connsiteX6" fmla="*/ 0 w 52775"/>
                <a:gd name="connsiteY6" fmla="*/ 72334 h 80715"/>
                <a:gd name="connsiteX7" fmla="*/ 0 w 52775"/>
                <a:gd name="connsiteY7" fmla="*/ 80716 h 80715"/>
                <a:gd name="connsiteX8" fmla="*/ 19869 w 52775"/>
                <a:gd name="connsiteY8" fmla="*/ 79785 h 80715"/>
                <a:gd name="connsiteX9" fmla="*/ 33528 w 52775"/>
                <a:gd name="connsiteY9" fmla="*/ 75438 h 80715"/>
                <a:gd name="connsiteX10" fmla="*/ 48119 w 52775"/>
                <a:gd name="connsiteY10" fmla="*/ 67988 h 80715"/>
                <a:gd name="connsiteX11" fmla="*/ 53086 w 52775"/>
                <a:gd name="connsiteY11" fmla="*/ 44083 h 80715"/>
                <a:gd name="connsiteX12" fmla="*/ 55259 w 52775"/>
                <a:gd name="connsiteY12" fmla="*/ 22042 h 80715"/>
                <a:gd name="connsiteX13" fmla="*/ 51224 w 52775"/>
                <a:gd name="connsiteY13" fmla="*/ 0 h 80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775" h="80715">
                  <a:moveTo>
                    <a:pt x="34460" y="1863"/>
                  </a:moveTo>
                  <a:lnTo>
                    <a:pt x="23904" y="7140"/>
                  </a:lnTo>
                  <a:lnTo>
                    <a:pt x="14591" y="14591"/>
                  </a:lnTo>
                  <a:lnTo>
                    <a:pt x="4346" y="23904"/>
                  </a:lnTo>
                  <a:lnTo>
                    <a:pt x="5278" y="42841"/>
                  </a:lnTo>
                  <a:lnTo>
                    <a:pt x="5278" y="58674"/>
                  </a:lnTo>
                  <a:lnTo>
                    <a:pt x="0" y="72334"/>
                  </a:lnTo>
                  <a:lnTo>
                    <a:pt x="0" y="80716"/>
                  </a:lnTo>
                  <a:lnTo>
                    <a:pt x="19869" y="79785"/>
                  </a:lnTo>
                  <a:lnTo>
                    <a:pt x="33528" y="75438"/>
                  </a:lnTo>
                  <a:lnTo>
                    <a:pt x="48119" y="67988"/>
                  </a:lnTo>
                  <a:lnTo>
                    <a:pt x="53086" y="44083"/>
                  </a:lnTo>
                  <a:lnTo>
                    <a:pt x="55259" y="22042"/>
                  </a:lnTo>
                  <a:lnTo>
                    <a:pt x="51224" y="0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89BDAA05-3E21-49C6-9BCB-D15620422EF7}"/>
                </a:ext>
              </a:extLst>
            </p:cNvPr>
            <p:cNvSpPr/>
            <p:nvPr/>
          </p:nvSpPr>
          <p:spPr>
            <a:xfrm>
              <a:off x="4217969" y="4962635"/>
              <a:ext cx="31045" cy="18627"/>
            </a:xfrm>
            <a:custGeom>
              <a:avLst/>
              <a:gdLst>
                <a:gd name="connsiteX0" fmla="*/ 0 w 31044"/>
                <a:gd name="connsiteY0" fmla="*/ 0 h 18626"/>
                <a:gd name="connsiteX1" fmla="*/ 4036 w 31044"/>
                <a:gd name="connsiteY1" fmla="*/ 5278 h 18626"/>
                <a:gd name="connsiteX2" fmla="*/ 6209 w 31044"/>
                <a:gd name="connsiteY2" fmla="*/ 8382 h 18626"/>
                <a:gd name="connsiteX3" fmla="*/ 7140 w 31044"/>
                <a:gd name="connsiteY3" fmla="*/ 12728 h 18626"/>
                <a:gd name="connsiteX4" fmla="*/ 9313 w 31044"/>
                <a:gd name="connsiteY4" fmla="*/ 14591 h 18626"/>
                <a:gd name="connsiteX5" fmla="*/ 13660 w 31044"/>
                <a:gd name="connsiteY5" fmla="*/ 19869 h 18626"/>
                <a:gd name="connsiteX6" fmla="*/ 18627 w 31044"/>
                <a:gd name="connsiteY6" fmla="*/ 18006 h 18626"/>
                <a:gd name="connsiteX7" fmla="*/ 21731 w 31044"/>
                <a:gd name="connsiteY7" fmla="*/ 18006 h 18626"/>
                <a:gd name="connsiteX8" fmla="*/ 26077 w 31044"/>
                <a:gd name="connsiteY8" fmla="*/ 18006 h 18626"/>
                <a:gd name="connsiteX9" fmla="*/ 29182 w 31044"/>
                <a:gd name="connsiteY9" fmla="*/ 15833 h 18626"/>
                <a:gd name="connsiteX10" fmla="*/ 33218 w 31044"/>
                <a:gd name="connsiteY10" fmla="*/ 15833 h 18626"/>
                <a:gd name="connsiteX11" fmla="*/ 33218 w 31044"/>
                <a:gd name="connsiteY11" fmla="*/ 7451 h 18626"/>
                <a:gd name="connsiteX12" fmla="*/ 21731 w 31044"/>
                <a:gd name="connsiteY12" fmla="*/ 3104 h 18626"/>
                <a:gd name="connsiteX13" fmla="*/ 13660 w 31044"/>
                <a:gd name="connsiteY13" fmla="*/ 931 h 18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1044" h="18626">
                  <a:moveTo>
                    <a:pt x="0" y="0"/>
                  </a:moveTo>
                  <a:lnTo>
                    <a:pt x="4036" y="5278"/>
                  </a:lnTo>
                  <a:lnTo>
                    <a:pt x="6209" y="8382"/>
                  </a:lnTo>
                  <a:lnTo>
                    <a:pt x="7140" y="12728"/>
                  </a:lnTo>
                  <a:lnTo>
                    <a:pt x="9313" y="14591"/>
                  </a:lnTo>
                  <a:lnTo>
                    <a:pt x="13660" y="19869"/>
                  </a:lnTo>
                  <a:lnTo>
                    <a:pt x="18627" y="18006"/>
                  </a:lnTo>
                  <a:lnTo>
                    <a:pt x="21731" y="18006"/>
                  </a:lnTo>
                  <a:lnTo>
                    <a:pt x="26077" y="18006"/>
                  </a:lnTo>
                  <a:lnTo>
                    <a:pt x="29182" y="15833"/>
                  </a:lnTo>
                  <a:lnTo>
                    <a:pt x="33218" y="15833"/>
                  </a:lnTo>
                  <a:lnTo>
                    <a:pt x="33218" y="7451"/>
                  </a:lnTo>
                  <a:lnTo>
                    <a:pt x="21731" y="3104"/>
                  </a:lnTo>
                  <a:lnTo>
                    <a:pt x="13660" y="931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B6263E18-82F0-4272-B87D-991D68E36818}"/>
                </a:ext>
              </a:extLst>
            </p:cNvPr>
            <p:cNvSpPr/>
            <p:nvPr/>
          </p:nvSpPr>
          <p:spPr>
            <a:xfrm>
              <a:off x="4778634" y="4498518"/>
              <a:ext cx="158327" cy="117969"/>
            </a:xfrm>
            <a:custGeom>
              <a:avLst/>
              <a:gdLst>
                <a:gd name="connsiteX0" fmla="*/ 156154 w 158327"/>
                <a:gd name="connsiteY0" fmla="*/ 29182 h 117969"/>
                <a:gd name="connsiteX1" fmla="*/ 156154 w 158327"/>
                <a:gd name="connsiteY1" fmla="*/ 23904 h 117969"/>
                <a:gd name="connsiteX2" fmla="*/ 156154 w 158327"/>
                <a:gd name="connsiteY2" fmla="*/ 16764 h 117969"/>
                <a:gd name="connsiteX3" fmla="*/ 154292 w 158327"/>
                <a:gd name="connsiteY3" fmla="*/ 12418 h 117969"/>
                <a:gd name="connsiteX4" fmla="*/ 154292 w 158327"/>
                <a:gd name="connsiteY4" fmla="*/ 9313 h 117969"/>
                <a:gd name="connsiteX5" fmla="*/ 153050 w 158327"/>
                <a:gd name="connsiteY5" fmla="*/ 7140 h 117969"/>
                <a:gd name="connsiteX6" fmla="*/ 151187 w 158327"/>
                <a:gd name="connsiteY6" fmla="*/ 4036 h 117969"/>
                <a:gd name="connsiteX7" fmla="*/ 149014 w 158327"/>
                <a:gd name="connsiteY7" fmla="*/ 0 h 117969"/>
                <a:gd name="connsiteX8" fmla="*/ 134423 w 158327"/>
                <a:gd name="connsiteY8" fmla="*/ 1863 h 117969"/>
                <a:gd name="connsiteX9" fmla="*/ 126972 w 158327"/>
                <a:gd name="connsiteY9" fmla="*/ 7140 h 117969"/>
                <a:gd name="connsiteX10" fmla="*/ 119832 w 158327"/>
                <a:gd name="connsiteY10" fmla="*/ 12418 h 117969"/>
                <a:gd name="connsiteX11" fmla="*/ 114554 w 158327"/>
                <a:gd name="connsiteY11" fmla="*/ 18937 h 117969"/>
                <a:gd name="connsiteX12" fmla="*/ 105241 w 158327"/>
                <a:gd name="connsiteY12" fmla="*/ 23904 h 117969"/>
                <a:gd name="connsiteX13" fmla="*/ 102137 w 158327"/>
                <a:gd name="connsiteY13" fmla="*/ 23904 h 117969"/>
                <a:gd name="connsiteX14" fmla="*/ 99964 w 158327"/>
                <a:gd name="connsiteY14" fmla="*/ 23904 h 117969"/>
                <a:gd name="connsiteX15" fmla="*/ 97790 w 158327"/>
                <a:gd name="connsiteY15" fmla="*/ 23904 h 117969"/>
                <a:gd name="connsiteX16" fmla="*/ 97790 w 158327"/>
                <a:gd name="connsiteY16" fmla="*/ 22042 h 117969"/>
                <a:gd name="connsiteX17" fmla="*/ 94686 w 158327"/>
                <a:gd name="connsiteY17" fmla="*/ 19869 h 117969"/>
                <a:gd name="connsiteX18" fmla="*/ 92823 w 158327"/>
                <a:gd name="connsiteY18" fmla="*/ 14591 h 117969"/>
                <a:gd name="connsiteX19" fmla="*/ 78232 w 158327"/>
                <a:gd name="connsiteY19" fmla="*/ 19869 h 117969"/>
                <a:gd name="connsiteX20" fmla="*/ 67677 w 158327"/>
                <a:gd name="connsiteY20" fmla="*/ 27319 h 117969"/>
                <a:gd name="connsiteX21" fmla="*/ 56191 w 158327"/>
                <a:gd name="connsiteY21" fmla="*/ 36633 h 117969"/>
                <a:gd name="connsiteX22" fmla="*/ 53086 w 158327"/>
                <a:gd name="connsiteY22" fmla="*/ 29182 h 117969"/>
                <a:gd name="connsiteX23" fmla="*/ 49050 w 158327"/>
                <a:gd name="connsiteY23" fmla="*/ 26077 h 117969"/>
                <a:gd name="connsiteX24" fmla="*/ 45946 w 158327"/>
                <a:gd name="connsiteY24" fmla="*/ 19869 h 117969"/>
                <a:gd name="connsiteX25" fmla="*/ 39427 w 158327"/>
                <a:gd name="connsiteY25" fmla="*/ 14591 h 117969"/>
                <a:gd name="connsiteX26" fmla="*/ 24836 w 158327"/>
                <a:gd name="connsiteY26" fmla="*/ 18937 h 117969"/>
                <a:gd name="connsiteX27" fmla="*/ 16764 w 158327"/>
                <a:gd name="connsiteY27" fmla="*/ 22042 h 117969"/>
                <a:gd name="connsiteX28" fmla="*/ 9313 w 158327"/>
                <a:gd name="connsiteY28" fmla="*/ 29182 h 117969"/>
                <a:gd name="connsiteX29" fmla="*/ 0 w 158327"/>
                <a:gd name="connsiteY29" fmla="*/ 36633 h 117969"/>
                <a:gd name="connsiteX30" fmla="*/ 5278 w 158327"/>
                <a:gd name="connsiteY30" fmla="*/ 47188 h 117969"/>
                <a:gd name="connsiteX31" fmla="*/ 32286 w 158327"/>
                <a:gd name="connsiteY31" fmla="*/ 47188 h 117969"/>
                <a:gd name="connsiteX32" fmla="*/ 32286 w 158327"/>
                <a:gd name="connsiteY32" fmla="*/ 60847 h 117969"/>
                <a:gd name="connsiteX33" fmla="*/ 27009 w 158327"/>
                <a:gd name="connsiteY33" fmla="*/ 60847 h 117969"/>
                <a:gd name="connsiteX34" fmla="*/ 21731 w 158327"/>
                <a:gd name="connsiteY34" fmla="*/ 60847 h 117969"/>
                <a:gd name="connsiteX35" fmla="*/ 19868 w 158327"/>
                <a:gd name="connsiteY35" fmla="*/ 61779 h 117969"/>
                <a:gd name="connsiteX36" fmla="*/ 17695 w 158327"/>
                <a:gd name="connsiteY36" fmla="*/ 61779 h 117969"/>
                <a:gd name="connsiteX37" fmla="*/ 16764 w 158327"/>
                <a:gd name="connsiteY37" fmla="*/ 63952 h 117969"/>
                <a:gd name="connsiteX38" fmla="*/ 12418 w 158327"/>
                <a:gd name="connsiteY38" fmla="*/ 68298 h 117969"/>
                <a:gd name="connsiteX39" fmla="*/ 9313 w 158327"/>
                <a:gd name="connsiteY39" fmla="*/ 68298 h 117969"/>
                <a:gd name="connsiteX40" fmla="*/ 14591 w 158327"/>
                <a:gd name="connsiteY40" fmla="*/ 71403 h 117969"/>
                <a:gd name="connsiteX41" fmla="*/ 19868 w 158327"/>
                <a:gd name="connsiteY41" fmla="*/ 75438 h 117969"/>
                <a:gd name="connsiteX42" fmla="*/ 27009 w 158327"/>
                <a:gd name="connsiteY42" fmla="*/ 76680 h 117969"/>
                <a:gd name="connsiteX43" fmla="*/ 32286 w 158327"/>
                <a:gd name="connsiteY43" fmla="*/ 80716 h 117969"/>
                <a:gd name="connsiteX44" fmla="*/ 31355 w 158327"/>
                <a:gd name="connsiteY44" fmla="*/ 83820 h 117969"/>
                <a:gd name="connsiteX45" fmla="*/ 31355 w 158327"/>
                <a:gd name="connsiteY45" fmla="*/ 85993 h 117969"/>
                <a:gd name="connsiteX46" fmla="*/ 29182 w 158327"/>
                <a:gd name="connsiteY46" fmla="*/ 88167 h 117969"/>
                <a:gd name="connsiteX47" fmla="*/ 27009 w 158327"/>
                <a:gd name="connsiteY47" fmla="*/ 90340 h 117969"/>
                <a:gd name="connsiteX48" fmla="*/ 24836 w 158327"/>
                <a:gd name="connsiteY48" fmla="*/ 91271 h 117969"/>
                <a:gd name="connsiteX49" fmla="*/ 29182 w 158327"/>
                <a:gd name="connsiteY49" fmla="*/ 95307 h 117969"/>
                <a:gd name="connsiteX50" fmla="*/ 38495 w 158327"/>
                <a:gd name="connsiteY50" fmla="*/ 100584 h 117969"/>
                <a:gd name="connsiteX51" fmla="*/ 49050 w 158327"/>
                <a:gd name="connsiteY51" fmla="*/ 105862 h 117969"/>
                <a:gd name="connsiteX52" fmla="*/ 61468 w 158327"/>
                <a:gd name="connsiteY52" fmla="*/ 113313 h 117969"/>
                <a:gd name="connsiteX53" fmla="*/ 70782 w 158327"/>
                <a:gd name="connsiteY53" fmla="*/ 117659 h 117969"/>
                <a:gd name="connsiteX54" fmla="*/ 76059 w 158327"/>
                <a:gd name="connsiteY54" fmla="*/ 120763 h 117969"/>
                <a:gd name="connsiteX55" fmla="*/ 94686 w 158327"/>
                <a:gd name="connsiteY55" fmla="*/ 105862 h 117969"/>
                <a:gd name="connsiteX56" fmla="*/ 116728 w 158327"/>
                <a:gd name="connsiteY56" fmla="*/ 95307 h 117969"/>
                <a:gd name="connsiteX57" fmla="*/ 139701 w 158327"/>
                <a:gd name="connsiteY57" fmla="*/ 85993 h 117969"/>
                <a:gd name="connsiteX58" fmla="*/ 160501 w 158327"/>
                <a:gd name="connsiteY58" fmla="*/ 75438 h 117969"/>
                <a:gd name="connsiteX59" fmla="*/ 160501 w 158327"/>
                <a:gd name="connsiteY59" fmla="*/ 60847 h 117969"/>
                <a:gd name="connsiteX60" fmla="*/ 158327 w 158327"/>
                <a:gd name="connsiteY60" fmla="*/ 44083 h 117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158327" h="117969">
                  <a:moveTo>
                    <a:pt x="156154" y="29182"/>
                  </a:moveTo>
                  <a:lnTo>
                    <a:pt x="156154" y="23904"/>
                  </a:lnTo>
                  <a:lnTo>
                    <a:pt x="156154" y="16764"/>
                  </a:lnTo>
                  <a:lnTo>
                    <a:pt x="154292" y="12418"/>
                  </a:lnTo>
                  <a:lnTo>
                    <a:pt x="154292" y="9313"/>
                  </a:lnTo>
                  <a:lnTo>
                    <a:pt x="153050" y="7140"/>
                  </a:lnTo>
                  <a:lnTo>
                    <a:pt x="151187" y="4036"/>
                  </a:lnTo>
                  <a:lnTo>
                    <a:pt x="149014" y="0"/>
                  </a:lnTo>
                  <a:lnTo>
                    <a:pt x="134423" y="1863"/>
                  </a:lnTo>
                  <a:lnTo>
                    <a:pt x="126972" y="7140"/>
                  </a:lnTo>
                  <a:lnTo>
                    <a:pt x="119832" y="12418"/>
                  </a:lnTo>
                  <a:lnTo>
                    <a:pt x="114554" y="18937"/>
                  </a:lnTo>
                  <a:lnTo>
                    <a:pt x="105241" y="23904"/>
                  </a:lnTo>
                  <a:lnTo>
                    <a:pt x="102137" y="23904"/>
                  </a:lnTo>
                  <a:lnTo>
                    <a:pt x="99964" y="23904"/>
                  </a:lnTo>
                  <a:lnTo>
                    <a:pt x="97790" y="23904"/>
                  </a:lnTo>
                  <a:lnTo>
                    <a:pt x="97790" y="22042"/>
                  </a:lnTo>
                  <a:lnTo>
                    <a:pt x="94686" y="19869"/>
                  </a:lnTo>
                  <a:lnTo>
                    <a:pt x="92823" y="14591"/>
                  </a:lnTo>
                  <a:lnTo>
                    <a:pt x="78232" y="19869"/>
                  </a:lnTo>
                  <a:lnTo>
                    <a:pt x="67677" y="27319"/>
                  </a:lnTo>
                  <a:lnTo>
                    <a:pt x="56191" y="36633"/>
                  </a:lnTo>
                  <a:lnTo>
                    <a:pt x="53086" y="29182"/>
                  </a:lnTo>
                  <a:lnTo>
                    <a:pt x="49050" y="26077"/>
                  </a:lnTo>
                  <a:lnTo>
                    <a:pt x="45946" y="19869"/>
                  </a:lnTo>
                  <a:lnTo>
                    <a:pt x="39427" y="14591"/>
                  </a:lnTo>
                  <a:lnTo>
                    <a:pt x="24836" y="18937"/>
                  </a:lnTo>
                  <a:lnTo>
                    <a:pt x="16764" y="22042"/>
                  </a:lnTo>
                  <a:lnTo>
                    <a:pt x="9313" y="29182"/>
                  </a:lnTo>
                  <a:lnTo>
                    <a:pt x="0" y="36633"/>
                  </a:lnTo>
                  <a:lnTo>
                    <a:pt x="5278" y="47188"/>
                  </a:lnTo>
                  <a:lnTo>
                    <a:pt x="32286" y="47188"/>
                  </a:lnTo>
                  <a:lnTo>
                    <a:pt x="32286" y="60847"/>
                  </a:lnTo>
                  <a:lnTo>
                    <a:pt x="27009" y="60847"/>
                  </a:lnTo>
                  <a:lnTo>
                    <a:pt x="21731" y="60847"/>
                  </a:lnTo>
                  <a:lnTo>
                    <a:pt x="19868" y="61779"/>
                  </a:lnTo>
                  <a:lnTo>
                    <a:pt x="17695" y="61779"/>
                  </a:lnTo>
                  <a:lnTo>
                    <a:pt x="16764" y="63952"/>
                  </a:lnTo>
                  <a:lnTo>
                    <a:pt x="12418" y="68298"/>
                  </a:lnTo>
                  <a:lnTo>
                    <a:pt x="9313" y="68298"/>
                  </a:lnTo>
                  <a:lnTo>
                    <a:pt x="14591" y="71403"/>
                  </a:lnTo>
                  <a:lnTo>
                    <a:pt x="19868" y="75438"/>
                  </a:lnTo>
                  <a:lnTo>
                    <a:pt x="27009" y="76680"/>
                  </a:lnTo>
                  <a:lnTo>
                    <a:pt x="32286" y="80716"/>
                  </a:lnTo>
                  <a:lnTo>
                    <a:pt x="31355" y="83820"/>
                  </a:lnTo>
                  <a:lnTo>
                    <a:pt x="31355" y="85993"/>
                  </a:lnTo>
                  <a:lnTo>
                    <a:pt x="29182" y="88167"/>
                  </a:lnTo>
                  <a:lnTo>
                    <a:pt x="27009" y="90340"/>
                  </a:lnTo>
                  <a:lnTo>
                    <a:pt x="24836" y="91271"/>
                  </a:lnTo>
                  <a:lnTo>
                    <a:pt x="29182" y="95307"/>
                  </a:lnTo>
                  <a:lnTo>
                    <a:pt x="38495" y="100584"/>
                  </a:lnTo>
                  <a:lnTo>
                    <a:pt x="49050" y="105862"/>
                  </a:lnTo>
                  <a:lnTo>
                    <a:pt x="61468" y="113313"/>
                  </a:lnTo>
                  <a:lnTo>
                    <a:pt x="70782" y="117659"/>
                  </a:lnTo>
                  <a:lnTo>
                    <a:pt x="76059" y="120763"/>
                  </a:lnTo>
                  <a:lnTo>
                    <a:pt x="94686" y="105862"/>
                  </a:lnTo>
                  <a:lnTo>
                    <a:pt x="116728" y="95307"/>
                  </a:lnTo>
                  <a:lnTo>
                    <a:pt x="139701" y="85993"/>
                  </a:lnTo>
                  <a:lnTo>
                    <a:pt x="160501" y="75438"/>
                  </a:lnTo>
                  <a:lnTo>
                    <a:pt x="160501" y="60847"/>
                  </a:lnTo>
                  <a:lnTo>
                    <a:pt x="158327" y="44083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</p:grpSp>
      <p:sp>
        <p:nvSpPr>
          <p:cNvPr id="48" name="Text Placeholder 1">
            <a:extLst>
              <a:ext uri="{FF2B5EF4-FFF2-40B4-BE49-F238E27FC236}">
                <a16:creationId xmlns:a16="http://schemas.microsoft.com/office/drawing/2014/main" id="{A3E5E81C-CFD4-498E-BC98-51CE7A741E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6914" y="-176167"/>
            <a:ext cx="11835086" cy="1632046"/>
          </a:xfrm>
        </p:spPr>
        <p:txBody>
          <a:bodyPr/>
          <a:lstStyle/>
          <a:p>
            <a:r>
              <a:rPr lang="en-US" sz="4400"/>
              <a:t>CEPI Centralized Laboratory Network</a:t>
            </a:r>
          </a:p>
          <a:p>
            <a:r>
              <a:rPr lang="en-US" sz="2800"/>
              <a:t>2020-21 achievements in number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A1FFE71-0056-4E38-AADA-5CDDA12CDF68}"/>
              </a:ext>
            </a:extLst>
          </p:cNvPr>
          <p:cNvGrpSpPr/>
          <p:nvPr/>
        </p:nvGrpSpPr>
        <p:grpSpPr>
          <a:xfrm>
            <a:off x="1882318" y="2853757"/>
            <a:ext cx="2641323" cy="3582928"/>
            <a:chOff x="801424" y="3030253"/>
            <a:chExt cx="2641323" cy="3582928"/>
          </a:xfrm>
        </p:grpSpPr>
        <p:sp>
          <p:nvSpPr>
            <p:cNvPr id="24" name="Arc 23">
              <a:extLst>
                <a:ext uri="{FF2B5EF4-FFF2-40B4-BE49-F238E27FC236}">
                  <a16:creationId xmlns:a16="http://schemas.microsoft.com/office/drawing/2014/main" id="{1DDDC3D8-14E4-4794-98F5-08892810ADE6}"/>
                </a:ext>
              </a:extLst>
            </p:cNvPr>
            <p:cNvSpPr/>
            <p:nvPr/>
          </p:nvSpPr>
          <p:spPr>
            <a:xfrm rot="5400000">
              <a:off x="1112033" y="3030252"/>
              <a:ext cx="1977794" cy="1977795"/>
            </a:xfrm>
            <a:prstGeom prst="arc">
              <a:avLst>
                <a:gd name="adj1" fmla="val 6266444"/>
                <a:gd name="adj2" fmla="val 16268714"/>
              </a:avLst>
            </a:prstGeom>
            <a:ln w="165100">
              <a:solidFill>
                <a:schemeClr val="accent6"/>
              </a:solidFill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3F11085A-C057-4C75-98D4-8218C39CB5A3}"/>
                </a:ext>
              </a:extLst>
            </p:cNvPr>
            <p:cNvSpPr/>
            <p:nvPr/>
          </p:nvSpPr>
          <p:spPr>
            <a:xfrm>
              <a:off x="1480136" y="3415553"/>
              <a:ext cx="1241586" cy="1241587"/>
            </a:xfrm>
            <a:prstGeom prst="ellipse">
              <a:avLst/>
            </a:prstGeom>
            <a:solidFill>
              <a:schemeClr val="accent6"/>
            </a:solidFill>
            <a:ln w="63500">
              <a:noFill/>
            </a:ln>
            <a:effectLst>
              <a:innerShdw blurRad="101600" dist="88900" dir="13500000">
                <a:prstClr val="black">
                  <a:alpha val="56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 pitchFamily="34" charset="0"/>
              </a:endParaRPr>
            </a:p>
          </p:txBody>
        </p:sp>
        <p:sp>
          <p:nvSpPr>
            <p:cNvPr id="27" name="Chevron 5">
              <a:extLst>
                <a:ext uri="{FF2B5EF4-FFF2-40B4-BE49-F238E27FC236}">
                  <a16:creationId xmlns:a16="http://schemas.microsoft.com/office/drawing/2014/main" id="{E7982E48-CA31-41B1-83E2-6A0BBEBD9C7F}"/>
                </a:ext>
              </a:extLst>
            </p:cNvPr>
            <p:cNvSpPr/>
            <p:nvPr/>
          </p:nvSpPr>
          <p:spPr>
            <a:xfrm rot="5400000">
              <a:off x="1979145" y="4795869"/>
              <a:ext cx="324213" cy="451954"/>
            </a:xfrm>
            <a:prstGeom prst="chevron">
              <a:avLst>
                <a:gd name="adj" fmla="val 42574"/>
              </a:avLst>
            </a:prstGeom>
            <a:solidFill>
              <a:schemeClr val="accent6"/>
            </a:solidFill>
            <a:ln w="63500">
              <a:noFill/>
            </a:ln>
            <a:effectLst>
              <a:innerShdw blurRad="63500" dist="50800" dir="81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 pitchFamily="34" charset="0"/>
              </a:endParaRPr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2993096A-AF0B-421E-850C-AE8B9D7EE21B}"/>
                </a:ext>
              </a:extLst>
            </p:cNvPr>
            <p:cNvGrpSpPr/>
            <p:nvPr/>
          </p:nvGrpSpPr>
          <p:grpSpPr>
            <a:xfrm>
              <a:off x="801424" y="5336772"/>
              <a:ext cx="2641323" cy="1276409"/>
              <a:chOff x="2771922" y="4298401"/>
              <a:chExt cx="3339539" cy="1276409"/>
            </a:xfrm>
          </p:grpSpPr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5AE0DCE1-5B82-44ED-A2ED-341197E84AFB}"/>
                  </a:ext>
                </a:extLst>
              </p:cNvPr>
              <p:cNvSpPr txBox="1"/>
              <p:nvPr/>
            </p:nvSpPr>
            <p:spPr>
              <a:xfrm>
                <a:off x="2771922" y="4559147"/>
                <a:ext cx="3339539" cy="10156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Arial"/>
                    <a:cs typeface="Arial" pitchFamily="34" charset="0"/>
                  </a:rPr>
                  <a:t>S,RBD,N ELISA assay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Arial"/>
                    <a:cs typeface="Arial" pitchFamily="34" charset="0"/>
                  </a:rPr>
                  <a:t>Pseudo virus neutralization assay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Arial"/>
                    <a:cs typeface="Arial" pitchFamily="34" charset="0"/>
                  </a:rPr>
                  <a:t>Wild type virus neutralization assay (including variants)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Arial"/>
                    <a:cs typeface="Arial" pitchFamily="34" charset="0"/>
                  </a:rPr>
                  <a:t>IFNy</a:t>
                </a:r>
                <a:r>
                  <a:rPr kumimoji="0" lang="en-US" altLang="ko-K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Arial"/>
                    <a:cs typeface="Arial" pitchFamily="34" charset="0"/>
                  </a:rPr>
                  <a:t>, IL-5 ELISPOT</a:t>
                </a:r>
                <a:r>
                  <a:rPr kumimoji="0" lang="en-US" altLang="ko-K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Arial" pitchFamily="34" charset="0"/>
                  </a:rPr>
                  <a:t> </a:t>
                </a:r>
                <a:r>
                  <a:rPr kumimoji="0" lang="en-US" altLang="ko-K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Arial"/>
                    <a:cs typeface="Arial" pitchFamily="34" charset="0"/>
                  </a:rPr>
                  <a:t>assay</a:t>
                </a:r>
                <a:endParaRPr kumimoji="0" lang="ko-KR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722969D0-DBA0-4464-A1C2-610D4AD025AC}"/>
                  </a:ext>
                </a:extLst>
              </p:cNvPr>
              <p:cNvSpPr txBox="1"/>
              <p:nvPr/>
            </p:nvSpPr>
            <p:spPr>
              <a:xfrm>
                <a:off x="2894888" y="4298401"/>
                <a:ext cx="3093604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63070A">
                        <a:lumMod val="75000"/>
                      </a:srgbClr>
                    </a:solidFill>
                    <a:effectLst/>
                    <a:uLnTx/>
                    <a:uFillTx/>
                    <a:latin typeface="Arial"/>
                    <a:cs typeface="Arial" pitchFamily="34" charset="0"/>
                  </a:rPr>
                  <a:t>Available Covid-19 assays</a:t>
                </a:r>
                <a:endParaRPr kumimoji="0" lang="ko-KR" alt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63070A">
                      <a:lumMod val="75000"/>
                    </a:srgbClr>
                  </a:solidFill>
                  <a:effectLst/>
                  <a:uLnTx/>
                  <a:uFillTx/>
                  <a:latin typeface="Arial"/>
                  <a:cs typeface="Arial" pitchFamily="34" charset="0"/>
                </a:endParaRPr>
              </a:p>
            </p:txBody>
          </p:sp>
        </p:grp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C87F08EC-B9D6-4D36-BE00-FBCDA2141FAF}"/>
                </a:ext>
              </a:extLst>
            </p:cNvPr>
            <p:cNvSpPr txBox="1"/>
            <p:nvPr/>
          </p:nvSpPr>
          <p:spPr>
            <a:xfrm>
              <a:off x="1704331" y="3726760"/>
              <a:ext cx="745399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3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cs typeface="Arial" pitchFamily="34" charset="0"/>
                </a:rPr>
                <a:t>6</a:t>
              </a:r>
              <a:endParaRPr kumimoji="0" lang="ko-KR" altLang="en-US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FB014BE-3D02-4803-A09D-6E52DE08AF3C}"/>
              </a:ext>
            </a:extLst>
          </p:cNvPr>
          <p:cNvGrpSpPr/>
          <p:nvPr/>
        </p:nvGrpSpPr>
        <p:grpSpPr>
          <a:xfrm>
            <a:off x="3279579" y="1573574"/>
            <a:ext cx="3706080" cy="3257977"/>
            <a:chOff x="2198685" y="1750070"/>
            <a:chExt cx="3706080" cy="3257977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58031B59-3C1F-4393-AC5E-2748A0BA3BD1}"/>
                </a:ext>
              </a:extLst>
            </p:cNvPr>
            <p:cNvGrpSpPr/>
            <p:nvPr/>
          </p:nvGrpSpPr>
          <p:grpSpPr>
            <a:xfrm>
              <a:off x="2198685" y="1750070"/>
              <a:ext cx="3706080" cy="1275826"/>
              <a:chOff x="2028780" y="4358523"/>
              <a:chExt cx="4685758" cy="1275826"/>
            </a:xfrm>
          </p:grpSpPr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0AFD1CEB-3C96-4AEB-9E86-A173618D4023}"/>
                  </a:ext>
                </a:extLst>
              </p:cNvPr>
              <p:cNvSpPr txBox="1"/>
              <p:nvPr/>
            </p:nvSpPr>
            <p:spPr>
              <a:xfrm>
                <a:off x="2028780" y="4618686"/>
                <a:ext cx="4685758" cy="10156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2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Arial"/>
                    <a:cs typeface="Arial" pitchFamily="34" charset="0"/>
                  </a:rPr>
                  <a:t>Nexelis</a:t>
                </a:r>
                <a:r>
                  <a:rPr kumimoji="0" lang="en-US" altLang="ko-KR" sz="12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Arial"/>
                    <a:cs typeface="Arial" pitchFamily="34" charset="0"/>
                  </a:rPr>
                  <a:t> (Canada), Q2 Solutions (US and China),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2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Arial"/>
                    <a:cs typeface="Arial" pitchFamily="34" charset="0"/>
                  </a:rPr>
                  <a:t>UK HAS (UK), NIBSC (UK),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2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Arial"/>
                    <a:cs typeface="Arial" pitchFamily="34" charset="0"/>
                  </a:rPr>
                  <a:t>VisMederi</a:t>
                </a:r>
                <a:r>
                  <a:rPr kumimoji="0" lang="en-US" altLang="ko-KR" sz="12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Arial"/>
                    <a:cs typeface="Arial" pitchFamily="34" charset="0"/>
                  </a:rPr>
                  <a:t> (Italy),  </a:t>
                </a:r>
                <a:r>
                  <a:rPr kumimoji="0" lang="en-US" altLang="ko-KR" sz="12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Arial"/>
                    <a:cs typeface="Arial" pitchFamily="34" charset="0"/>
                  </a:rPr>
                  <a:t>Viroclinics</a:t>
                </a:r>
                <a:r>
                  <a:rPr kumimoji="0" lang="en-US" altLang="ko-KR" sz="12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Arial"/>
                    <a:cs typeface="Arial" pitchFamily="34" charset="0"/>
                  </a:rPr>
                  <a:t> (The Netherlands),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2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Arial"/>
                    <a:cs typeface="Arial" pitchFamily="34" charset="0"/>
                  </a:rPr>
                  <a:t>icddr,b</a:t>
                </a:r>
                <a:r>
                  <a:rPr kumimoji="0" lang="en-US" altLang="ko-KR" sz="12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Arial"/>
                    <a:cs typeface="Arial" pitchFamily="34" charset="0"/>
                  </a:rPr>
                  <a:t> (Bangladesh),THSTI (India), UNAM (Mexico)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2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Arial" pitchFamily="34" charset="0"/>
                  </a:rPr>
                  <a:t>. </a:t>
                </a:r>
                <a:endParaRPr kumimoji="0" lang="ko-KR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C078463B-C070-45A5-BC1E-06AD43AA5A4C}"/>
                  </a:ext>
                </a:extLst>
              </p:cNvPr>
              <p:cNvSpPr txBox="1"/>
              <p:nvPr/>
            </p:nvSpPr>
            <p:spPr>
              <a:xfrm>
                <a:off x="2938267" y="4358523"/>
                <a:ext cx="2872047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8E1F0B"/>
                    </a:solidFill>
                    <a:effectLst/>
                    <a:uLnTx/>
                    <a:uFillTx/>
                    <a:latin typeface="Arial"/>
                    <a:cs typeface="Arial" pitchFamily="34" charset="0"/>
                  </a:rPr>
                  <a:t>Laboratories worldwide</a:t>
                </a:r>
                <a:endParaRPr kumimoji="0" lang="ko-KR" alt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8E1F0B"/>
                  </a:solidFill>
                  <a:effectLst/>
                  <a:uLnTx/>
                  <a:uFillTx/>
                  <a:latin typeface="Arial"/>
                  <a:cs typeface="Arial" pitchFamily="34" charset="0"/>
                </a:endParaRPr>
              </a:p>
            </p:txBody>
          </p:sp>
        </p:grpSp>
        <p:sp>
          <p:nvSpPr>
            <p:cNvPr id="23" name="Arc 22">
              <a:extLst>
                <a:ext uri="{FF2B5EF4-FFF2-40B4-BE49-F238E27FC236}">
                  <a16:creationId xmlns:a16="http://schemas.microsoft.com/office/drawing/2014/main" id="{D8F1D78C-7D21-46D0-8FC2-0F5380C1FEF7}"/>
                </a:ext>
              </a:extLst>
            </p:cNvPr>
            <p:cNvSpPr/>
            <p:nvPr/>
          </p:nvSpPr>
          <p:spPr>
            <a:xfrm rot="5400000" flipH="1">
              <a:off x="3094870" y="3030252"/>
              <a:ext cx="1977794" cy="1977795"/>
            </a:xfrm>
            <a:prstGeom prst="arc">
              <a:avLst>
                <a:gd name="adj1" fmla="val 5478932"/>
                <a:gd name="adj2" fmla="val 16110077"/>
              </a:avLst>
            </a:prstGeom>
            <a:ln w="165100">
              <a:solidFill>
                <a:schemeClr val="accent1"/>
              </a:solidFill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1084BC68-539D-41B9-878A-357D76CF5AA5}"/>
                </a:ext>
              </a:extLst>
            </p:cNvPr>
            <p:cNvSpPr/>
            <p:nvPr/>
          </p:nvSpPr>
          <p:spPr>
            <a:xfrm>
              <a:off x="3462973" y="3415553"/>
              <a:ext cx="1241586" cy="1241587"/>
            </a:xfrm>
            <a:prstGeom prst="ellipse">
              <a:avLst/>
            </a:prstGeom>
            <a:solidFill>
              <a:schemeClr val="accent1"/>
            </a:solidFill>
            <a:ln w="63500">
              <a:noFill/>
            </a:ln>
            <a:effectLst>
              <a:innerShdw blurRad="101600" dist="88900" dir="13500000">
                <a:prstClr val="black">
                  <a:alpha val="56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 pitchFamily="34" charset="0"/>
              </a:endParaRPr>
            </a:p>
          </p:txBody>
        </p:sp>
        <p:sp>
          <p:nvSpPr>
            <p:cNvPr id="28" name="Chevron 91">
              <a:extLst>
                <a:ext uri="{FF2B5EF4-FFF2-40B4-BE49-F238E27FC236}">
                  <a16:creationId xmlns:a16="http://schemas.microsoft.com/office/drawing/2014/main" id="{95E9C360-BF9E-4579-95F9-AE97F867D0F1}"/>
                </a:ext>
              </a:extLst>
            </p:cNvPr>
            <p:cNvSpPr/>
            <p:nvPr/>
          </p:nvSpPr>
          <p:spPr>
            <a:xfrm rot="5400000" flipH="1">
              <a:off x="3926340" y="2861426"/>
              <a:ext cx="324213" cy="451954"/>
            </a:xfrm>
            <a:prstGeom prst="chevron">
              <a:avLst>
                <a:gd name="adj" fmla="val 42574"/>
              </a:avLst>
            </a:prstGeom>
            <a:solidFill>
              <a:schemeClr val="accent1"/>
            </a:solidFill>
            <a:ln w="63500">
              <a:noFill/>
            </a:ln>
            <a:effectLst>
              <a:innerShdw blurRad="63500" dist="50800" dir="27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 pitchFamily="34" charset="0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35590D4B-C244-4DBE-817F-68CBE4E59159}"/>
                </a:ext>
              </a:extLst>
            </p:cNvPr>
            <p:cNvSpPr txBox="1"/>
            <p:nvPr/>
          </p:nvSpPr>
          <p:spPr>
            <a:xfrm>
              <a:off x="3687964" y="3715752"/>
              <a:ext cx="745399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3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cs typeface="Arial" pitchFamily="34" charset="0"/>
                </a:rPr>
                <a:t>10</a:t>
              </a:r>
              <a:endParaRPr kumimoji="0" lang="ko-KR" altLang="en-US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13BEEB1-8EC4-4596-93A3-5E180442EF5F}"/>
              </a:ext>
            </a:extLst>
          </p:cNvPr>
          <p:cNvGrpSpPr/>
          <p:nvPr/>
        </p:nvGrpSpPr>
        <p:grpSpPr>
          <a:xfrm>
            <a:off x="6046896" y="2870953"/>
            <a:ext cx="2271572" cy="2821291"/>
            <a:chOff x="4966002" y="3047449"/>
            <a:chExt cx="2271572" cy="2821291"/>
          </a:xfrm>
        </p:grpSpPr>
        <p:sp>
          <p:nvSpPr>
            <p:cNvPr id="4" name="Arc 3">
              <a:extLst>
                <a:ext uri="{FF2B5EF4-FFF2-40B4-BE49-F238E27FC236}">
                  <a16:creationId xmlns:a16="http://schemas.microsoft.com/office/drawing/2014/main" id="{3FAE4B10-22B3-44C6-87F1-24D5F59B3413}"/>
                </a:ext>
              </a:extLst>
            </p:cNvPr>
            <p:cNvSpPr/>
            <p:nvPr/>
          </p:nvSpPr>
          <p:spPr>
            <a:xfrm rot="5400000">
              <a:off x="5079953" y="3047448"/>
              <a:ext cx="1977794" cy="1977795"/>
            </a:xfrm>
            <a:prstGeom prst="arc">
              <a:avLst>
                <a:gd name="adj1" fmla="val 5710672"/>
                <a:gd name="adj2" fmla="val 15912259"/>
              </a:avLst>
            </a:prstGeom>
            <a:ln w="165100">
              <a:solidFill>
                <a:schemeClr val="accent2"/>
              </a:solidFill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26712849-2551-40F8-8975-0690A2525B17}"/>
                </a:ext>
              </a:extLst>
            </p:cNvPr>
            <p:cNvSpPr/>
            <p:nvPr/>
          </p:nvSpPr>
          <p:spPr>
            <a:xfrm>
              <a:off x="5440185" y="3415552"/>
              <a:ext cx="1241586" cy="1241587"/>
            </a:xfrm>
            <a:prstGeom prst="ellipse">
              <a:avLst/>
            </a:prstGeom>
            <a:solidFill>
              <a:schemeClr val="accent2"/>
            </a:solidFill>
            <a:ln w="63500">
              <a:noFill/>
            </a:ln>
            <a:effectLst>
              <a:innerShdw blurRad="101600" dist="88900" dir="13500000">
                <a:prstClr val="black">
                  <a:alpha val="56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 pitchFamily="34" charset="0"/>
              </a:endParaRPr>
            </a:p>
          </p:txBody>
        </p:sp>
        <p:sp>
          <p:nvSpPr>
            <p:cNvPr id="11" name="Chevron 67">
              <a:extLst>
                <a:ext uri="{FF2B5EF4-FFF2-40B4-BE49-F238E27FC236}">
                  <a16:creationId xmlns:a16="http://schemas.microsoft.com/office/drawing/2014/main" id="{0D544AE6-57D4-45DD-B1A9-AEB262743CF8}"/>
                </a:ext>
              </a:extLst>
            </p:cNvPr>
            <p:cNvSpPr/>
            <p:nvPr/>
          </p:nvSpPr>
          <p:spPr>
            <a:xfrm rot="5400000">
              <a:off x="5930452" y="4813184"/>
              <a:ext cx="324213" cy="451954"/>
            </a:xfrm>
            <a:prstGeom prst="chevron">
              <a:avLst>
                <a:gd name="adj" fmla="val 42574"/>
              </a:avLst>
            </a:prstGeom>
            <a:solidFill>
              <a:schemeClr val="accent2"/>
            </a:solidFill>
            <a:ln w="63500">
              <a:noFill/>
            </a:ln>
            <a:effectLst>
              <a:innerShdw blurRad="63500" dist="50800" dir="81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 pitchFamily="34" charset="0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7694FC96-1B24-424B-A83A-B76427F95592}"/>
                </a:ext>
              </a:extLst>
            </p:cNvPr>
            <p:cNvSpPr txBox="1"/>
            <p:nvPr/>
          </p:nvSpPr>
          <p:spPr>
            <a:xfrm>
              <a:off x="4966002" y="5345520"/>
              <a:ext cx="227157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1" i="0" u="none" strike="noStrike" kern="1200" cap="none" spc="0" normalizeH="0" baseline="0" noProof="0">
                  <a:ln>
                    <a:noFill/>
                  </a:ln>
                  <a:solidFill>
                    <a:srgbClr val="DB6D25"/>
                  </a:solidFill>
                  <a:effectLst/>
                  <a:uLnTx/>
                  <a:uFillTx/>
                  <a:latin typeface="Arial"/>
                  <a:cs typeface="Arial" pitchFamily="34" charset="0"/>
                </a:rPr>
                <a:t>Covid-19 Vaccine developers engaged</a:t>
              </a:r>
              <a:endPara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DB6D25"/>
                </a:solidFill>
                <a:effectLst/>
                <a:uLnTx/>
                <a:uFillTx/>
                <a:latin typeface="Arial"/>
                <a:cs typeface="Arial" pitchFamily="34" charset="0"/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1915BE4D-87D3-47F0-960E-F7F2BECFF549}"/>
                </a:ext>
              </a:extLst>
            </p:cNvPr>
            <p:cNvSpPr txBox="1"/>
            <p:nvPr/>
          </p:nvSpPr>
          <p:spPr>
            <a:xfrm>
              <a:off x="5696255" y="3743957"/>
              <a:ext cx="745399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cs typeface="Arial" pitchFamily="34" charset="0"/>
                </a:rPr>
                <a:t>35</a:t>
              </a:r>
              <a:endParaRPr kumimoji="0" lang="ko-KR" alt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32B8320-9BD1-4CA8-88F8-EC3E1F6BB47F}"/>
              </a:ext>
            </a:extLst>
          </p:cNvPr>
          <p:cNvGrpSpPr/>
          <p:nvPr/>
        </p:nvGrpSpPr>
        <p:grpSpPr>
          <a:xfrm>
            <a:off x="7987089" y="1727463"/>
            <a:ext cx="2230884" cy="3104087"/>
            <a:chOff x="6906195" y="1903959"/>
            <a:chExt cx="2230884" cy="3104087"/>
          </a:xfrm>
        </p:grpSpPr>
        <p:sp>
          <p:nvSpPr>
            <p:cNvPr id="5" name="Arc 4">
              <a:extLst>
                <a:ext uri="{FF2B5EF4-FFF2-40B4-BE49-F238E27FC236}">
                  <a16:creationId xmlns:a16="http://schemas.microsoft.com/office/drawing/2014/main" id="{73C87454-24A0-4706-BAC5-30AAF7AD4A92}"/>
                </a:ext>
              </a:extLst>
            </p:cNvPr>
            <p:cNvSpPr/>
            <p:nvPr/>
          </p:nvSpPr>
          <p:spPr>
            <a:xfrm rot="5400000" flipH="1">
              <a:off x="7086310" y="3030251"/>
              <a:ext cx="1977794" cy="1977795"/>
            </a:xfrm>
            <a:prstGeom prst="arc">
              <a:avLst>
                <a:gd name="adj1" fmla="val 5478932"/>
                <a:gd name="adj2" fmla="val 16740799"/>
              </a:avLst>
            </a:prstGeom>
            <a:ln w="165100">
              <a:solidFill>
                <a:schemeClr val="accent3"/>
              </a:solidFill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E1C6C93D-A6F9-4401-8432-57EE4232B6F6}"/>
                </a:ext>
              </a:extLst>
            </p:cNvPr>
            <p:cNvSpPr/>
            <p:nvPr/>
          </p:nvSpPr>
          <p:spPr>
            <a:xfrm>
              <a:off x="7454413" y="3415552"/>
              <a:ext cx="1241586" cy="1241587"/>
            </a:xfrm>
            <a:prstGeom prst="ellipse">
              <a:avLst/>
            </a:prstGeom>
            <a:solidFill>
              <a:schemeClr val="accent3"/>
            </a:solidFill>
            <a:ln w="63500">
              <a:noFill/>
            </a:ln>
            <a:effectLst>
              <a:innerShdw blurRad="101600" dist="88900" dir="13500000">
                <a:prstClr val="black">
                  <a:alpha val="56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 pitchFamily="34" charset="0"/>
              </a:endParaRPr>
            </a:p>
          </p:txBody>
        </p:sp>
        <p:sp>
          <p:nvSpPr>
            <p:cNvPr id="12" name="Chevron 91">
              <a:extLst>
                <a:ext uri="{FF2B5EF4-FFF2-40B4-BE49-F238E27FC236}">
                  <a16:creationId xmlns:a16="http://schemas.microsoft.com/office/drawing/2014/main" id="{3CDA0F03-009A-4023-93DA-8DA87C40EF58}"/>
                </a:ext>
              </a:extLst>
            </p:cNvPr>
            <p:cNvSpPr/>
            <p:nvPr/>
          </p:nvSpPr>
          <p:spPr>
            <a:xfrm rot="5400000" flipH="1">
              <a:off x="7917780" y="2861425"/>
              <a:ext cx="324213" cy="451954"/>
            </a:xfrm>
            <a:prstGeom prst="chevron">
              <a:avLst>
                <a:gd name="adj" fmla="val 42574"/>
              </a:avLst>
            </a:prstGeom>
            <a:solidFill>
              <a:schemeClr val="accent3">
                <a:alpha val="98000"/>
              </a:schemeClr>
            </a:solidFill>
            <a:ln>
              <a:noFill/>
            </a:ln>
            <a:effectLst>
              <a:innerShdw blurRad="63500" dist="50800" dir="27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D20E46D1-81B9-4AA7-BC28-F0175F49688F}"/>
                </a:ext>
              </a:extLst>
            </p:cNvPr>
            <p:cNvSpPr txBox="1"/>
            <p:nvPr/>
          </p:nvSpPr>
          <p:spPr>
            <a:xfrm>
              <a:off x="6906195" y="1903959"/>
              <a:ext cx="223088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1" i="0" u="none" strike="noStrike" kern="1200" cap="none" spc="0" normalizeH="0" baseline="0" noProof="0">
                  <a:ln>
                    <a:noFill/>
                  </a:ln>
                  <a:solidFill>
                    <a:srgbClr val="FFB03B"/>
                  </a:solidFill>
                  <a:effectLst/>
                  <a:uLnTx/>
                  <a:uFillTx/>
                  <a:latin typeface="Arial"/>
                  <a:cs typeface="Arial" pitchFamily="34" charset="0"/>
                </a:rPr>
                <a:t>Samples requested for analysis</a:t>
              </a:r>
              <a:endPara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FFB03B"/>
                </a:solidFill>
                <a:effectLst/>
                <a:uLnTx/>
                <a:uFillTx/>
                <a:latin typeface="Arial"/>
                <a:cs typeface="Arial" pitchFamily="34" charset="0"/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D8DF5C27-902D-4875-8ADA-B3BA0E757DB1}"/>
                </a:ext>
              </a:extLst>
            </p:cNvPr>
            <p:cNvSpPr txBox="1"/>
            <p:nvPr/>
          </p:nvSpPr>
          <p:spPr>
            <a:xfrm>
              <a:off x="7365842" y="3743957"/>
              <a:ext cx="150823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3200" b="1">
                  <a:solidFill>
                    <a:prstClr val="white"/>
                  </a:solidFill>
                  <a:latin typeface="Arial"/>
                  <a:cs typeface="Arial" pitchFamily="34" charset="0"/>
                </a:rPr>
                <a:t>21</a:t>
              </a:r>
              <a:r>
                <a:rPr kumimoji="0" lang="en-US" altLang="ko-KR" sz="3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cs typeface="Arial" pitchFamily="34" charset="0"/>
                </a:rPr>
                <a:t>K</a:t>
              </a:r>
              <a:endParaRPr kumimoji="0" lang="ko-KR" alt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 pitchFamily="34" charset="0"/>
              </a:endParaRP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F287E74F-F893-43D4-BEE2-671BFA6ED971}"/>
              </a:ext>
            </a:extLst>
          </p:cNvPr>
          <p:cNvSpPr/>
          <p:nvPr/>
        </p:nvSpPr>
        <p:spPr>
          <a:xfrm>
            <a:off x="5119001" y="6304549"/>
            <a:ext cx="1922228" cy="49331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B1BFD65C-D075-479D-A544-2DDC71BC1CCD}"/>
              </a:ext>
            </a:extLst>
          </p:cNvPr>
          <p:cNvSpPr txBox="1"/>
          <p:nvPr/>
        </p:nvSpPr>
        <p:spPr>
          <a:xfrm>
            <a:off x="6069066" y="5622230"/>
            <a:ext cx="22389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In 4 continents among CEPI-funded and non CEPI-funded developers</a:t>
            </a: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Arial" pitchFamily="34" charset="0"/>
            </a:endParaRP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CF470FDC-ABDE-4E5C-A10D-45BEA5F2CD57}"/>
              </a:ext>
            </a:extLst>
          </p:cNvPr>
          <p:cNvSpPr txBox="1"/>
          <p:nvPr/>
        </p:nvSpPr>
        <p:spPr>
          <a:xfrm>
            <a:off x="8137761" y="2172091"/>
            <a:ext cx="19370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 pitchFamily="34" charset="0"/>
              </a:rPr>
              <a:t>From Preclinical and Clinical studies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Arial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D9926B6-3B03-4585-AF96-17B3B83AB566}"/>
              </a:ext>
            </a:extLst>
          </p:cNvPr>
          <p:cNvSpPr txBox="1"/>
          <p:nvPr/>
        </p:nvSpPr>
        <p:spPr>
          <a:xfrm>
            <a:off x="10217" y="6488668"/>
            <a:ext cx="1882318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70123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Q6dl7zimnSQrWJ0U77U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EPI Colour Palette">
      <a:dk1>
        <a:srgbClr val="00244F"/>
      </a:dk1>
      <a:lt1>
        <a:sysClr val="window" lastClr="FFFFFF"/>
      </a:lt1>
      <a:dk2>
        <a:srgbClr val="00244F"/>
      </a:dk2>
      <a:lt2>
        <a:srgbClr val="BBC5D2"/>
      </a:lt2>
      <a:accent1>
        <a:srgbClr val="FF5F58"/>
      </a:accent1>
      <a:accent2>
        <a:srgbClr val="FF4137"/>
      </a:accent2>
      <a:accent3>
        <a:srgbClr val="FF281D"/>
      </a:accent3>
      <a:accent4>
        <a:srgbClr val="F20C00"/>
      </a:accent4>
      <a:accent5>
        <a:srgbClr val="A2B0C2"/>
      </a:accent5>
      <a:accent6>
        <a:srgbClr val="8698B0"/>
      </a:accent6>
      <a:hlink>
        <a:srgbClr val="0563C1"/>
      </a:hlink>
      <a:folHlink>
        <a:srgbClr val="954F72"/>
      </a:folHlink>
    </a:clrScheme>
    <a:fontScheme name="CEPI Fonts">
      <a:majorFont>
        <a:latin typeface="Euclid CEPI Medium"/>
        <a:ea typeface=""/>
        <a:cs typeface=""/>
      </a:majorFont>
      <a:minorFont>
        <a:latin typeface="Merriweath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CEPI_Powerpoint Presentation_Template" id="{5F4D4CB0-1A9A-42D2-9A56-8BA1198071CE}" vid="{F574E14F-2B3B-491F-BCD3-F83C473552DC}"/>
    </a:ext>
  </a:extLst>
</a:theme>
</file>

<file path=ppt/theme/theme2.xml><?xml version="1.0" encoding="utf-8"?>
<a:theme xmlns:a="http://schemas.openxmlformats.org/drawingml/2006/main" name="1_Office Theme">
  <a:themeElements>
    <a:clrScheme name="CEPI Colour Palette">
      <a:dk1>
        <a:srgbClr val="00244F"/>
      </a:dk1>
      <a:lt1>
        <a:sysClr val="window" lastClr="FFFFFF"/>
      </a:lt1>
      <a:dk2>
        <a:srgbClr val="00244F"/>
      </a:dk2>
      <a:lt2>
        <a:srgbClr val="BBC5D2"/>
      </a:lt2>
      <a:accent1>
        <a:srgbClr val="FF5F58"/>
      </a:accent1>
      <a:accent2>
        <a:srgbClr val="FF4137"/>
      </a:accent2>
      <a:accent3>
        <a:srgbClr val="FF281D"/>
      </a:accent3>
      <a:accent4>
        <a:srgbClr val="F20C00"/>
      </a:accent4>
      <a:accent5>
        <a:srgbClr val="A2B0C2"/>
      </a:accent5>
      <a:accent6>
        <a:srgbClr val="8698B0"/>
      </a:accent6>
      <a:hlink>
        <a:srgbClr val="0563C1"/>
      </a:hlink>
      <a:folHlink>
        <a:srgbClr val="954F72"/>
      </a:folHlink>
    </a:clrScheme>
    <a:fontScheme name="CEPI Fonts">
      <a:majorFont>
        <a:latin typeface="Euclid CEPI Medium"/>
        <a:ea typeface=""/>
        <a:cs typeface=""/>
      </a:majorFont>
      <a:minorFont>
        <a:latin typeface="Merriweath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CEPI_Powerpoint Presentation_Template" id="{5F4D4CB0-1A9A-42D2-9A56-8BA1198071CE}" vid="{F574E14F-2B3B-491F-BCD3-F83C473552DC}"/>
    </a:ext>
  </a:extLst>
</a:theme>
</file>

<file path=ppt/theme/theme3.xml><?xml version="1.0" encoding="utf-8"?>
<a:theme xmlns:a="http://schemas.openxmlformats.org/drawingml/2006/main" name="1_Contents Slide Master">
  <a:themeElements>
    <a:clrScheme name="ALLPPT-COLOR 10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E1F0B"/>
      </a:accent1>
      <a:accent2>
        <a:srgbClr val="DB6D25"/>
      </a:accent2>
      <a:accent3>
        <a:srgbClr val="FFB03B"/>
      </a:accent3>
      <a:accent4>
        <a:srgbClr val="FFCE4B"/>
      </a:accent4>
      <a:accent5>
        <a:srgbClr val="FCE68A"/>
      </a:accent5>
      <a:accent6>
        <a:srgbClr val="63070A"/>
      </a:accent6>
      <a:hlink>
        <a:srgbClr val="FFFFFF"/>
      </a:hlink>
      <a:folHlink>
        <a:srgbClr val="FFFFFF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ALLPPT-COLOR 102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8E1F0B"/>
    </a:accent1>
    <a:accent2>
      <a:srgbClr val="DB6D25"/>
    </a:accent2>
    <a:accent3>
      <a:srgbClr val="FFB03B"/>
    </a:accent3>
    <a:accent4>
      <a:srgbClr val="FFCE4B"/>
    </a:accent4>
    <a:accent5>
      <a:srgbClr val="FCE68A"/>
    </a:accent5>
    <a:accent6>
      <a:srgbClr val="63070A"/>
    </a:accent6>
    <a:hlink>
      <a:srgbClr val="FFFFFF"/>
    </a:hlink>
    <a:folHlink>
      <a:srgbClr val="FFFFFF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84D3EED97A2F469D88C003A1032952" ma:contentTypeVersion="12" ma:contentTypeDescription="Create a new document." ma:contentTypeScope="" ma:versionID="31f23dcd805cd42ee9d71a10b58ba1d5">
  <xsd:schema xmlns:xsd="http://www.w3.org/2001/XMLSchema" xmlns:xs="http://www.w3.org/2001/XMLSchema" xmlns:p="http://schemas.microsoft.com/office/2006/metadata/properties" xmlns:ns2="e293039f-1bc6-4de1-938c-643590511593" xmlns:ns3="25f00bc1-7882-4621-b603-214e07bfe836" targetNamespace="http://schemas.microsoft.com/office/2006/metadata/properties" ma:root="true" ma:fieldsID="d99c9507e8ee46aee74c18985b60fe37" ns2:_="" ns3:_="">
    <xsd:import namespace="e293039f-1bc6-4de1-938c-643590511593"/>
    <xsd:import namespace="25f00bc1-7882-4621-b603-214e07bfe83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93039f-1bc6-4de1-938c-64359051159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5f00bc1-7882-4621-b603-214e07bfe836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25f00bc1-7882-4621-b603-214e07bfe836">
      <UserInfo>
        <DisplayName>Sonja Henne</DisplayName>
        <AccountId>216</AccountId>
        <AccountType/>
      </UserInfo>
      <UserInfo>
        <DisplayName>Valentina Bernasconi</DisplayName>
        <AccountId>47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A4149E9B-ADBC-4D88-BCE5-BD8FE874E427}">
  <ds:schemaRefs>
    <ds:schemaRef ds:uri="25f00bc1-7882-4621-b603-214e07bfe836"/>
    <ds:schemaRef ds:uri="e293039f-1bc6-4de1-938c-64359051159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D62E7536-6E44-43BB-8FCF-22A87F3B7B9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7D015B9-00C6-46C3-929A-E112C57735AB}">
  <ds:schemaRefs>
    <ds:schemaRef ds:uri="http://purl.org/dc/terms/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25f00bc1-7882-4621-b603-214e07bfe836"/>
    <ds:schemaRef ds:uri="e293039f-1bc6-4de1-938c-643590511593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EPI_Powerpoint Presentation_Template</Template>
  <TotalTime>18</TotalTime>
  <Words>1191</Words>
  <Application>Microsoft Office PowerPoint</Application>
  <PresentationFormat>Widescreen</PresentationFormat>
  <Paragraphs>183</Paragraphs>
  <Slides>3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48" baseType="lpstr">
      <vt:lpstr>Arial</vt:lpstr>
      <vt:lpstr>Arial Bold</vt:lpstr>
      <vt:lpstr>Arial Unicode MS</vt:lpstr>
      <vt:lpstr>Brush Script MT</vt:lpstr>
      <vt:lpstr>Calibri</vt:lpstr>
      <vt:lpstr>Euclid CEPI Medium</vt:lpstr>
      <vt:lpstr>Georgia</vt:lpstr>
      <vt:lpstr>Georgia Regular</vt:lpstr>
      <vt:lpstr>Merriweather</vt:lpstr>
      <vt:lpstr>Merriweather Light</vt:lpstr>
      <vt:lpstr>MS Mincho</vt:lpstr>
      <vt:lpstr>Symbol</vt:lpstr>
      <vt:lpstr>Times New Roman</vt:lpstr>
      <vt:lpstr>Office Theme</vt:lpstr>
      <vt:lpstr>1_Office Theme</vt:lpstr>
      <vt:lpstr>1_Contents Slide Master</vt:lpstr>
      <vt:lpstr>think-cell Slide</vt:lpstr>
      <vt:lpstr>Expanding the CEPI Centralized Laboratory Network</vt:lpstr>
      <vt:lpstr>Agenda</vt:lpstr>
      <vt:lpstr>Instructions</vt:lpstr>
      <vt:lpstr>Introduction</vt:lpstr>
      <vt:lpstr>Background</vt:lpstr>
      <vt:lpstr>COVID-19 pandemic and the need to standardize vaccine immune response measurement</vt:lpstr>
      <vt:lpstr>CEPI Centralized Laboratory Network</vt:lpstr>
      <vt:lpstr>Objectives of the Network</vt:lpstr>
      <vt:lpstr>PowerPoint Presentation</vt:lpstr>
      <vt:lpstr>PowerPoint Presentation</vt:lpstr>
      <vt:lpstr>CEPI’s aspiration for the future: transform the R&amp;D for preparedness and response – CEPI 2.0</vt:lpstr>
      <vt:lpstr>Future plans for the CL Network</vt:lpstr>
      <vt:lpstr>New Call for Proposal (CfP)</vt:lpstr>
      <vt:lpstr>Join the CEPI CL Network</vt:lpstr>
      <vt:lpstr>Scope 1: Expand the CL Network to target South America, Africa and Oceania regions  </vt:lpstr>
      <vt:lpstr>Scope 2: Develop assays for CEPI priority pathogens and support CEPI 2.0 objective</vt:lpstr>
      <vt:lpstr>PowerPoint Presentation</vt:lpstr>
      <vt:lpstr>Eligibility criteria</vt:lpstr>
      <vt:lpstr>Evaluation criteria</vt:lpstr>
      <vt:lpstr>CEPI support to laboratories</vt:lpstr>
      <vt:lpstr>Application template</vt:lpstr>
      <vt:lpstr>Application template: scope</vt:lpstr>
      <vt:lpstr>Application template: applicant</vt:lpstr>
      <vt:lpstr>Application template: capacity (1)</vt:lpstr>
      <vt:lpstr>Application template: capacity (2)</vt:lpstr>
      <vt:lpstr>Application template: quality</vt:lpstr>
      <vt:lpstr>Application template: budget</vt:lpstr>
      <vt:lpstr>Resources</vt:lpstr>
      <vt:lpstr>Q&amp;A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 over two lines</dc:title>
  <dc:creator>Raimonda Viburiene</dc:creator>
  <cp:lastModifiedBy>Juxhin Alia</cp:lastModifiedBy>
  <cp:revision>2</cp:revision>
  <cp:lastPrinted>2019-01-10T12:16:00Z</cp:lastPrinted>
  <dcterms:created xsi:type="dcterms:W3CDTF">2021-10-21T13:21:59Z</dcterms:created>
  <dcterms:modified xsi:type="dcterms:W3CDTF">2021-12-13T16:33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5917025-a8ec-4cda-875c-cb94c48daac9_Enabled">
    <vt:lpwstr>true</vt:lpwstr>
  </property>
  <property fmtid="{D5CDD505-2E9C-101B-9397-08002B2CF9AE}" pid="3" name="MSIP_Label_85917025-a8ec-4cda-875c-cb94c48daac9_SetDate">
    <vt:lpwstr>2021-10-21T13:22:00Z</vt:lpwstr>
  </property>
  <property fmtid="{D5CDD505-2E9C-101B-9397-08002B2CF9AE}" pid="4" name="MSIP_Label_85917025-a8ec-4cda-875c-cb94c48daac9_Method">
    <vt:lpwstr>Standard</vt:lpwstr>
  </property>
  <property fmtid="{D5CDD505-2E9C-101B-9397-08002B2CF9AE}" pid="5" name="MSIP_Label_85917025-a8ec-4cda-875c-cb94c48daac9_Name">
    <vt:lpwstr>Internal</vt:lpwstr>
  </property>
  <property fmtid="{D5CDD505-2E9C-101B-9397-08002B2CF9AE}" pid="6" name="MSIP_Label_85917025-a8ec-4cda-875c-cb94c48daac9_SiteId">
    <vt:lpwstr>80bdb1d3-debd-4f2d-9316-510b9ecdab02</vt:lpwstr>
  </property>
  <property fmtid="{D5CDD505-2E9C-101B-9397-08002B2CF9AE}" pid="7" name="MSIP_Label_85917025-a8ec-4cda-875c-cb94c48daac9_ActionId">
    <vt:lpwstr>c699d04e-a31e-4d40-8a89-4784d8c1d28f</vt:lpwstr>
  </property>
  <property fmtid="{D5CDD505-2E9C-101B-9397-08002B2CF9AE}" pid="8" name="MSIP_Label_85917025-a8ec-4cda-875c-cb94c48daac9_ContentBits">
    <vt:lpwstr>2</vt:lpwstr>
  </property>
  <property fmtid="{D5CDD505-2E9C-101B-9397-08002B2CF9AE}" pid="9" name="ClassificationContentMarkingFooterLocations">
    <vt:lpwstr>Office Theme:5</vt:lpwstr>
  </property>
  <property fmtid="{D5CDD505-2E9C-101B-9397-08002B2CF9AE}" pid="10" name="ClassificationContentMarkingFooterText">
    <vt:lpwstr>Sensitivity: CEPI Internal</vt:lpwstr>
  </property>
  <property fmtid="{D5CDD505-2E9C-101B-9397-08002B2CF9AE}" pid="11" name="ContentTypeId">
    <vt:lpwstr>0x0101003184D3EED97A2F469D88C003A1032952</vt:lpwstr>
  </property>
</Properties>
</file>